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1"/>
  </p:notesMasterIdLst>
  <p:sldIdLst>
    <p:sldId id="275" r:id="rId5"/>
    <p:sldId id="256" r:id="rId6"/>
    <p:sldId id="264" r:id="rId7"/>
    <p:sldId id="257" r:id="rId8"/>
    <p:sldId id="265" r:id="rId9"/>
    <p:sldId id="263" r:id="rId10"/>
    <p:sldId id="268" r:id="rId11"/>
    <p:sldId id="269" r:id="rId12"/>
    <p:sldId id="278" r:id="rId13"/>
    <p:sldId id="270" r:id="rId14"/>
    <p:sldId id="266" r:id="rId15"/>
    <p:sldId id="276" r:id="rId16"/>
    <p:sldId id="271" r:id="rId17"/>
    <p:sldId id="260" r:id="rId18"/>
    <p:sldId id="272" r:id="rId19"/>
    <p:sldId id="274"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5BE245A2-3FEE-4C5B-9F2A-44AD480A7B01}">
          <p14:sldIdLst>
            <p14:sldId id="275"/>
            <p14:sldId id="256"/>
            <p14:sldId id="264"/>
            <p14:sldId id="257"/>
            <p14:sldId id="265"/>
            <p14:sldId id="263"/>
            <p14:sldId id="268"/>
            <p14:sldId id="269"/>
            <p14:sldId id="278"/>
            <p14:sldId id="270"/>
            <p14:sldId id="266"/>
            <p14:sldId id="276"/>
            <p14:sldId id="271"/>
            <p14:sldId id="260"/>
            <p14:sldId id="272"/>
          </p14:sldIdLst>
        </p14:section>
        <p14:section name="Backup" id="{9AA3A496-F2E9-4515-A1F2-B30F54C18965}">
          <p14:sldIdLst>
            <p14:sldId id="27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F5AC47-94BC-4763-85F2-873E46A07A06}" v="211" dt="2025-01-17T08:43:57.48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6327"/>
  </p:normalViewPr>
  <p:slideViewPr>
    <p:cSldViewPr snapToGrid="0">
      <p:cViewPr varScale="1">
        <p:scale>
          <a:sx n="120" d="100"/>
          <a:sy n="120" d="100"/>
        </p:scale>
        <p:origin x="330"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ering, Floriane Annalena (K-TV/1)" userId="cb3a6d99-feb7-4b8b-940c-af2d4fff6274" providerId="ADAL" clId="{57F5AC47-94BC-4763-85F2-873E46A07A06}"/>
    <pc:docChg chg="undo redo custSel addSld delSld modSld sldOrd addSection modSection">
      <pc:chgData name="Doering, Floriane Annalena (K-TV/1)" userId="cb3a6d99-feb7-4b8b-940c-af2d4fff6274" providerId="ADAL" clId="{57F5AC47-94BC-4763-85F2-873E46A07A06}" dt="2025-01-17T08:44:23.146" v="2481" actId="20577"/>
      <pc:docMkLst>
        <pc:docMk/>
      </pc:docMkLst>
      <pc:sldChg chg="addSp delSp modSp mod">
        <pc:chgData name="Doering, Floriane Annalena (K-TV/1)" userId="cb3a6d99-feb7-4b8b-940c-af2d4fff6274" providerId="ADAL" clId="{57F5AC47-94BC-4763-85F2-873E46A07A06}" dt="2025-01-17T08:44:23.146" v="2481" actId="20577"/>
        <pc:sldMkLst>
          <pc:docMk/>
          <pc:sldMk cId="731117008" sldId="256"/>
        </pc:sldMkLst>
        <pc:spChg chg="mod">
          <ac:chgData name="Doering, Floriane Annalena (K-TV/1)" userId="cb3a6d99-feb7-4b8b-940c-af2d4fff6274" providerId="ADAL" clId="{57F5AC47-94BC-4763-85F2-873E46A07A06}" dt="2025-01-16T16:24:18.749" v="2047" actId="20577"/>
          <ac:spMkLst>
            <pc:docMk/>
            <pc:sldMk cId="731117008" sldId="256"/>
            <ac:spMk id="2" creationId="{5229AD17-D7F7-BD9C-0626-0B72316B28CB}"/>
          </ac:spMkLst>
        </pc:spChg>
        <pc:spChg chg="mod">
          <ac:chgData name="Doering, Floriane Annalena (K-TV/1)" userId="cb3a6d99-feb7-4b8b-940c-af2d4fff6274" providerId="ADAL" clId="{57F5AC47-94BC-4763-85F2-873E46A07A06}" dt="2025-01-16T16:24:06.179" v="2035" actId="20577"/>
          <ac:spMkLst>
            <pc:docMk/>
            <pc:sldMk cId="731117008" sldId="256"/>
            <ac:spMk id="3" creationId="{0BBBDD1E-205F-143A-8152-DE8421F2B754}"/>
          </ac:spMkLst>
        </pc:spChg>
        <pc:spChg chg="mod">
          <ac:chgData name="Doering, Floriane Annalena (K-TV/1)" userId="cb3a6d99-feb7-4b8b-940c-af2d4fff6274" providerId="ADAL" clId="{57F5AC47-94BC-4763-85F2-873E46A07A06}" dt="2025-01-16T15:05:48.061" v="565" actId="20577"/>
          <ac:spMkLst>
            <pc:docMk/>
            <pc:sldMk cId="731117008" sldId="256"/>
            <ac:spMk id="6" creationId="{D4233773-00AD-8A4C-A3FA-42196336DB08}"/>
          </ac:spMkLst>
        </pc:spChg>
        <pc:spChg chg="mod">
          <ac:chgData name="Doering, Floriane Annalena (K-TV/1)" userId="cb3a6d99-feb7-4b8b-940c-af2d4fff6274" providerId="ADAL" clId="{57F5AC47-94BC-4763-85F2-873E46A07A06}" dt="2025-01-16T15:09:14.465" v="681" actId="20577"/>
          <ac:spMkLst>
            <pc:docMk/>
            <pc:sldMk cId="731117008" sldId="256"/>
            <ac:spMk id="8" creationId="{60A09392-3071-61D5-EAA9-AE195BEC268F}"/>
          </ac:spMkLst>
        </pc:spChg>
        <pc:spChg chg="mod">
          <ac:chgData name="Doering, Floriane Annalena (K-TV/1)" userId="cb3a6d99-feb7-4b8b-940c-af2d4fff6274" providerId="ADAL" clId="{57F5AC47-94BC-4763-85F2-873E46A07A06}" dt="2025-01-16T16:24:31.607" v="2052" actId="20577"/>
          <ac:spMkLst>
            <pc:docMk/>
            <pc:sldMk cId="731117008" sldId="256"/>
            <ac:spMk id="10" creationId="{1BA8E950-83EB-E5D5-5397-B71150B3978C}"/>
          </ac:spMkLst>
        </pc:spChg>
        <pc:spChg chg="mod">
          <ac:chgData name="Doering, Floriane Annalena (K-TV/1)" userId="cb3a6d99-feb7-4b8b-940c-af2d4fff6274" providerId="ADAL" clId="{57F5AC47-94BC-4763-85F2-873E46A07A06}" dt="2025-01-16T08:19:31.914" v="65" actId="20577"/>
          <ac:spMkLst>
            <pc:docMk/>
            <pc:sldMk cId="731117008" sldId="256"/>
            <ac:spMk id="12" creationId="{53D8E275-E95B-8668-9BAC-1885CE207704}"/>
          </ac:spMkLst>
        </pc:spChg>
        <pc:spChg chg="add mod">
          <ac:chgData name="Doering, Floriane Annalena (K-TV/1)" userId="cb3a6d99-feb7-4b8b-940c-af2d4fff6274" providerId="ADAL" clId="{57F5AC47-94BC-4763-85F2-873E46A07A06}" dt="2025-01-17T08:44:06.997" v="2462" actId="20577"/>
          <ac:spMkLst>
            <pc:docMk/>
            <pc:sldMk cId="731117008" sldId="256"/>
            <ac:spMk id="13" creationId="{97154FE8-D5F7-26C4-6FAA-95C9CEC66D0B}"/>
          </ac:spMkLst>
        </pc:spChg>
        <pc:spChg chg="del">
          <ac:chgData name="Doering, Floriane Annalena (K-TV/1)" userId="cb3a6d99-feb7-4b8b-940c-af2d4fff6274" providerId="ADAL" clId="{57F5AC47-94BC-4763-85F2-873E46A07A06}" dt="2025-01-16T16:24:27.350" v="2049" actId="478"/>
          <ac:spMkLst>
            <pc:docMk/>
            <pc:sldMk cId="731117008" sldId="256"/>
            <ac:spMk id="13" creationId="{E57EC202-6DC7-3853-23E7-F2ADFFD32881}"/>
          </ac:spMkLst>
        </pc:spChg>
        <pc:spChg chg="del">
          <ac:chgData name="Doering, Floriane Annalena (K-TV/1)" userId="cb3a6d99-feb7-4b8b-940c-af2d4fff6274" providerId="ADAL" clId="{57F5AC47-94BC-4763-85F2-873E46A07A06}" dt="2025-01-16T16:24:26.022" v="2048" actId="478"/>
          <ac:spMkLst>
            <pc:docMk/>
            <pc:sldMk cId="731117008" sldId="256"/>
            <ac:spMk id="14" creationId="{A98B8772-CE1A-41A8-EC0F-35C9BE0D8991}"/>
          </ac:spMkLst>
        </pc:spChg>
        <pc:spChg chg="add mod">
          <ac:chgData name="Doering, Floriane Annalena (K-TV/1)" userId="cb3a6d99-feb7-4b8b-940c-af2d4fff6274" providerId="ADAL" clId="{57F5AC47-94BC-4763-85F2-873E46A07A06}" dt="2025-01-17T08:44:23.146" v="2481" actId="20577"/>
          <ac:spMkLst>
            <pc:docMk/>
            <pc:sldMk cId="731117008" sldId="256"/>
            <ac:spMk id="14" creationId="{ECEC2E92-04FD-C2C5-FABC-C3AB23241B0D}"/>
          </ac:spMkLst>
        </pc:spChg>
        <pc:spChg chg="mod">
          <ac:chgData name="Doering, Floriane Annalena (K-TV/1)" userId="cb3a6d99-feb7-4b8b-940c-af2d4fff6274" providerId="ADAL" clId="{57F5AC47-94BC-4763-85F2-873E46A07A06}" dt="2025-01-16T16:23:31.757" v="2019" actId="948"/>
          <ac:spMkLst>
            <pc:docMk/>
            <pc:sldMk cId="731117008" sldId="256"/>
            <ac:spMk id="15" creationId="{70AE1638-49A3-7DFE-BC89-42B07E547988}"/>
          </ac:spMkLst>
        </pc:spChg>
        <pc:spChg chg="add del mod modVis">
          <ac:chgData name="Doering, Floriane Annalena (K-TV/1)" userId="cb3a6d99-feb7-4b8b-940c-af2d4fff6274" providerId="ADAL" clId="{57F5AC47-94BC-4763-85F2-873E46A07A06}" dt="2025-01-16T13:46:07.109" v="448"/>
          <ac:spMkLst>
            <pc:docMk/>
            <pc:sldMk cId="731117008" sldId="256"/>
            <ac:spMk id="17" creationId="{49A2CDA3-94B3-5A07-720F-F276D77B3289}"/>
          </ac:spMkLst>
        </pc:spChg>
        <pc:spChg chg="add del mod modVis">
          <ac:chgData name="Doering, Floriane Annalena (K-TV/1)" userId="cb3a6d99-feb7-4b8b-940c-af2d4fff6274" providerId="ADAL" clId="{57F5AC47-94BC-4763-85F2-873E46A07A06}" dt="2025-01-16T13:46:09.381" v="480"/>
          <ac:spMkLst>
            <pc:docMk/>
            <pc:sldMk cId="731117008" sldId="256"/>
            <ac:spMk id="18" creationId="{52045025-88C3-EC46-06C4-605B8B2145DC}"/>
          </ac:spMkLst>
        </pc:spChg>
        <pc:spChg chg="add del mod modVis">
          <ac:chgData name="Doering, Floriane Annalena (K-TV/1)" userId="cb3a6d99-feb7-4b8b-940c-af2d4fff6274" providerId="ADAL" clId="{57F5AC47-94BC-4763-85F2-873E46A07A06}" dt="2025-01-16T13:46:10.385" v="509"/>
          <ac:spMkLst>
            <pc:docMk/>
            <pc:sldMk cId="731117008" sldId="256"/>
            <ac:spMk id="19" creationId="{539722BC-55FC-6F95-5E1B-7C7EB45D2D72}"/>
          </ac:spMkLst>
        </pc:spChg>
        <pc:spChg chg="add del mod modVis">
          <ac:chgData name="Doering, Floriane Annalena (K-TV/1)" userId="cb3a6d99-feb7-4b8b-940c-af2d4fff6274" providerId="ADAL" clId="{57F5AC47-94BC-4763-85F2-873E46A07A06}" dt="2025-01-16T13:46:11.672" v="539"/>
          <ac:spMkLst>
            <pc:docMk/>
            <pc:sldMk cId="731117008" sldId="256"/>
            <ac:spMk id="20" creationId="{AB8E3EF1-F05A-DBA7-CB13-FC0CF1FED13D}"/>
          </ac:spMkLst>
        </pc:spChg>
        <pc:graphicFrameChg chg="add mod ord modVis">
          <ac:chgData name="Doering, Floriane Annalena (K-TV/1)" userId="cb3a6d99-feb7-4b8b-940c-af2d4fff6274" providerId="ADAL" clId="{57F5AC47-94BC-4763-85F2-873E46A07A06}" dt="2025-01-16T16:23:31.773" v="2021"/>
          <ac:graphicFrameMkLst>
            <pc:docMk/>
            <pc:sldMk cId="731117008" sldId="256"/>
            <ac:graphicFrameMk id="16" creationId="{F9464DB4-E61C-AD14-FBC4-F23E87568E5C}"/>
          </ac:graphicFrameMkLst>
        </pc:graphicFrameChg>
      </pc:sldChg>
      <pc:sldChg chg="addSp delSp modSp mod">
        <pc:chgData name="Doering, Floriane Annalena (K-TV/1)" userId="cb3a6d99-feb7-4b8b-940c-af2d4fff6274" providerId="ADAL" clId="{57F5AC47-94BC-4763-85F2-873E46A07A06}" dt="2025-01-16T16:24:48.712" v="2056"/>
        <pc:sldMkLst>
          <pc:docMk/>
          <pc:sldMk cId="2464844014" sldId="257"/>
        </pc:sldMkLst>
        <pc:spChg chg="del">
          <ac:chgData name="Doering, Floriane Annalena (K-TV/1)" userId="cb3a6d99-feb7-4b8b-940c-af2d4fff6274" providerId="ADAL" clId="{57F5AC47-94BC-4763-85F2-873E46A07A06}" dt="2025-01-16T16:24:47.661" v="2055" actId="478"/>
          <ac:spMkLst>
            <pc:docMk/>
            <pc:sldMk cId="2464844014" sldId="257"/>
            <ac:spMk id="2" creationId="{6D536A7A-72F5-A51A-7E90-082C2CDE4ED3}"/>
          </ac:spMkLst>
        </pc:spChg>
        <pc:spChg chg="del">
          <ac:chgData name="Doering, Floriane Annalena (K-TV/1)" userId="cb3a6d99-feb7-4b8b-940c-af2d4fff6274" providerId="ADAL" clId="{57F5AC47-94BC-4763-85F2-873E46A07A06}" dt="2025-01-16T16:24:47.661" v="2055" actId="478"/>
          <ac:spMkLst>
            <pc:docMk/>
            <pc:sldMk cId="2464844014" sldId="257"/>
            <ac:spMk id="3" creationId="{8F424C15-8168-0302-0249-DFC7B56BD888}"/>
          </ac:spMkLst>
        </pc:spChg>
        <pc:spChg chg="mod">
          <ac:chgData name="Doering, Floriane Annalena (K-TV/1)" userId="cb3a6d99-feb7-4b8b-940c-af2d4fff6274" providerId="ADAL" clId="{57F5AC47-94BC-4763-85F2-873E46A07A06}" dt="2025-01-16T15:22:17.517" v="1179" actId="207"/>
          <ac:spMkLst>
            <pc:docMk/>
            <pc:sldMk cId="2464844014" sldId="257"/>
            <ac:spMk id="5" creationId="{CC82CADE-D792-AE1B-84DA-41FD4BB51BF2}"/>
          </ac:spMkLst>
        </pc:spChg>
        <pc:spChg chg="mod">
          <ac:chgData name="Doering, Floriane Annalena (K-TV/1)" userId="cb3a6d99-feb7-4b8b-940c-af2d4fff6274" providerId="ADAL" clId="{57F5AC47-94BC-4763-85F2-873E46A07A06}" dt="2025-01-16T15:06:30.637" v="581" actId="948"/>
          <ac:spMkLst>
            <pc:docMk/>
            <pc:sldMk cId="2464844014" sldId="257"/>
            <ac:spMk id="6" creationId="{680341BA-902A-D6C3-E46B-ACAE6B173C14}"/>
          </ac:spMkLst>
        </pc:spChg>
        <pc:spChg chg="add mod">
          <ac:chgData name="Doering, Floriane Annalena (K-TV/1)" userId="cb3a6d99-feb7-4b8b-940c-af2d4fff6274" providerId="ADAL" clId="{57F5AC47-94BC-4763-85F2-873E46A07A06}" dt="2025-01-16T16:24:48.712" v="2056"/>
          <ac:spMkLst>
            <pc:docMk/>
            <pc:sldMk cId="2464844014" sldId="257"/>
            <ac:spMk id="9" creationId="{878531B7-1B16-C346-CE45-6C6FCE148B31}"/>
          </ac:spMkLst>
        </pc:spChg>
        <pc:spChg chg="add mod">
          <ac:chgData name="Doering, Floriane Annalena (K-TV/1)" userId="cb3a6d99-feb7-4b8b-940c-af2d4fff6274" providerId="ADAL" clId="{57F5AC47-94BC-4763-85F2-873E46A07A06}" dt="2025-01-16T16:24:48.712" v="2056"/>
          <ac:spMkLst>
            <pc:docMk/>
            <pc:sldMk cId="2464844014" sldId="257"/>
            <ac:spMk id="10" creationId="{159021DB-AAC8-E4E0-E53B-DBE191B6892A}"/>
          </ac:spMkLst>
        </pc:spChg>
        <pc:graphicFrameChg chg="mod">
          <ac:chgData name="Doering, Floriane Annalena (K-TV/1)" userId="cb3a6d99-feb7-4b8b-940c-af2d4fff6274" providerId="ADAL" clId="{57F5AC47-94BC-4763-85F2-873E46A07A06}" dt="2025-01-16T15:06:30.640" v="583"/>
          <ac:graphicFrameMkLst>
            <pc:docMk/>
            <pc:sldMk cId="2464844014" sldId="257"/>
            <ac:graphicFrameMk id="8" creationId="{104E4DC3-67BC-DC94-E4A7-C955B304F24F}"/>
          </ac:graphicFrameMkLst>
        </pc:graphicFrameChg>
      </pc:sldChg>
      <pc:sldChg chg="del">
        <pc:chgData name="Doering, Floriane Annalena (K-TV/1)" userId="cb3a6d99-feb7-4b8b-940c-af2d4fff6274" providerId="ADAL" clId="{57F5AC47-94BC-4763-85F2-873E46A07A06}" dt="2025-01-16T15:52:26.878" v="1436" actId="47"/>
        <pc:sldMkLst>
          <pc:docMk/>
          <pc:sldMk cId="2762696399" sldId="258"/>
        </pc:sldMkLst>
      </pc:sldChg>
      <pc:sldChg chg="addSp delSp modSp del mod">
        <pc:chgData name="Doering, Floriane Annalena (K-TV/1)" userId="cb3a6d99-feb7-4b8b-940c-af2d4fff6274" providerId="ADAL" clId="{57F5AC47-94BC-4763-85F2-873E46A07A06}" dt="2025-01-17T08:42:28.014" v="2458" actId="47"/>
        <pc:sldMkLst>
          <pc:docMk/>
          <pc:sldMk cId="2617126293" sldId="259"/>
        </pc:sldMkLst>
        <pc:spChg chg="del">
          <ac:chgData name="Doering, Floriane Annalena (K-TV/1)" userId="cb3a6d99-feb7-4b8b-940c-af2d4fff6274" providerId="ADAL" clId="{57F5AC47-94BC-4763-85F2-873E46A07A06}" dt="2025-01-16T16:25:34.145" v="2072" actId="478"/>
          <ac:spMkLst>
            <pc:docMk/>
            <pc:sldMk cId="2617126293" sldId="259"/>
            <ac:spMk id="2" creationId="{6499DEA9-6FA2-F95F-6104-AEC75AB31D32}"/>
          </ac:spMkLst>
        </pc:spChg>
        <pc:spChg chg="del">
          <ac:chgData name="Doering, Floriane Annalena (K-TV/1)" userId="cb3a6d99-feb7-4b8b-940c-af2d4fff6274" providerId="ADAL" clId="{57F5AC47-94BC-4763-85F2-873E46A07A06}" dt="2025-01-16T16:25:34.145" v="2072" actId="478"/>
          <ac:spMkLst>
            <pc:docMk/>
            <pc:sldMk cId="2617126293" sldId="259"/>
            <ac:spMk id="3" creationId="{560692ED-D885-B71C-F8EF-094E97424B6E}"/>
          </ac:spMkLst>
        </pc:spChg>
        <pc:spChg chg="del">
          <ac:chgData name="Doering, Floriane Annalena (K-TV/1)" userId="cb3a6d99-feb7-4b8b-940c-af2d4fff6274" providerId="ADAL" clId="{57F5AC47-94BC-4763-85F2-873E46A07A06}" dt="2025-01-16T15:56:27.710" v="1493" actId="478"/>
          <ac:spMkLst>
            <pc:docMk/>
            <pc:sldMk cId="2617126293" sldId="259"/>
            <ac:spMk id="5" creationId="{AAA030D6-537C-91ED-0B5C-FF2CADB77768}"/>
          </ac:spMkLst>
        </pc:spChg>
        <pc:spChg chg="mod">
          <ac:chgData name="Doering, Floriane Annalena (K-TV/1)" userId="cb3a6d99-feb7-4b8b-940c-af2d4fff6274" providerId="ADAL" clId="{57F5AC47-94BC-4763-85F2-873E46A07A06}" dt="2025-01-16T15:56:32.456" v="1526" actId="948"/>
          <ac:spMkLst>
            <pc:docMk/>
            <pc:sldMk cId="2617126293" sldId="259"/>
            <ac:spMk id="6" creationId="{608C53EF-869F-6B07-7B97-150505409342}"/>
          </ac:spMkLst>
        </pc:spChg>
        <pc:spChg chg="mod">
          <ac:chgData name="Doering, Floriane Annalena (K-TV/1)" userId="cb3a6d99-feb7-4b8b-940c-af2d4fff6274" providerId="ADAL" clId="{57F5AC47-94BC-4763-85F2-873E46A07A06}" dt="2025-01-16T15:56:38.087" v="1542" actId="20577"/>
          <ac:spMkLst>
            <pc:docMk/>
            <pc:sldMk cId="2617126293" sldId="259"/>
            <ac:spMk id="7" creationId="{8CBD5CA1-D6DB-327E-9899-6D517D6F8D06}"/>
          </ac:spMkLst>
        </pc:spChg>
        <pc:spChg chg="add mod">
          <ac:chgData name="Doering, Floriane Annalena (K-TV/1)" userId="cb3a6d99-feb7-4b8b-940c-af2d4fff6274" providerId="ADAL" clId="{57F5AC47-94BC-4763-85F2-873E46A07A06}" dt="2025-01-16T16:20:56.898" v="1852" actId="14100"/>
          <ac:spMkLst>
            <pc:docMk/>
            <pc:sldMk cId="2617126293" sldId="259"/>
            <ac:spMk id="10" creationId="{37AA6D29-6422-C562-758F-A13000466786}"/>
          </ac:spMkLst>
        </pc:spChg>
        <pc:spChg chg="add mod">
          <ac:chgData name="Doering, Floriane Annalena (K-TV/1)" userId="cb3a6d99-feb7-4b8b-940c-af2d4fff6274" providerId="ADAL" clId="{57F5AC47-94BC-4763-85F2-873E46A07A06}" dt="2025-01-16T16:21:14.462" v="1857" actId="113"/>
          <ac:spMkLst>
            <pc:docMk/>
            <pc:sldMk cId="2617126293" sldId="259"/>
            <ac:spMk id="11" creationId="{23864859-D9F2-0B18-76B4-0FFC381FB7AC}"/>
          </ac:spMkLst>
        </pc:spChg>
        <pc:spChg chg="add mod">
          <ac:chgData name="Doering, Floriane Annalena (K-TV/1)" userId="cb3a6d99-feb7-4b8b-940c-af2d4fff6274" providerId="ADAL" clId="{57F5AC47-94BC-4763-85F2-873E46A07A06}" dt="2025-01-16T16:21:05.485" v="1854" actId="1076"/>
          <ac:spMkLst>
            <pc:docMk/>
            <pc:sldMk cId="2617126293" sldId="259"/>
            <ac:spMk id="12" creationId="{8850FD99-848A-C623-D151-E6BEBC4CFC4B}"/>
          </ac:spMkLst>
        </pc:spChg>
        <pc:spChg chg="add mod">
          <ac:chgData name="Doering, Floriane Annalena (K-TV/1)" userId="cb3a6d99-feb7-4b8b-940c-af2d4fff6274" providerId="ADAL" clId="{57F5AC47-94BC-4763-85F2-873E46A07A06}" dt="2025-01-16T16:21:19.986" v="1858" actId="1076"/>
          <ac:spMkLst>
            <pc:docMk/>
            <pc:sldMk cId="2617126293" sldId="259"/>
            <ac:spMk id="13" creationId="{BF877181-6F8A-1096-3B25-749BC9EACA99}"/>
          </ac:spMkLst>
        </pc:spChg>
        <pc:spChg chg="add mod">
          <ac:chgData name="Doering, Floriane Annalena (K-TV/1)" userId="cb3a6d99-feb7-4b8b-940c-af2d4fff6274" providerId="ADAL" clId="{57F5AC47-94BC-4763-85F2-873E46A07A06}" dt="2025-01-16T16:25:35.017" v="2073"/>
          <ac:spMkLst>
            <pc:docMk/>
            <pc:sldMk cId="2617126293" sldId="259"/>
            <ac:spMk id="14" creationId="{22DF4CC6-EE25-C1D0-62F8-FC3FE30CBA6C}"/>
          </ac:spMkLst>
        </pc:spChg>
        <pc:spChg chg="add mod">
          <ac:chgData name="Doering, Floriane Annalena (K-TV/1)" userId="cb3a6d99-feb7-4b8b-940c-af2d4fff6274" providerId="ADAL" clId="{57F5AC47-94BC-4763-85F2-873E46A07A06}" dt="2025-01-16T16:25:35.017" v="2073"/>
          <ac:spMkLst>
            <pc:docMk/>
            <pc:sldMk cId="2617126293" sldId="259"/>
            <ac:spMk id="15" creationId="{ED3F5059-2236-20B0-B4A2-304CD2CDE507}"/>
          </ac:spMkLst>
        </pc:spChg>
        <pc:graphicFrameChg chg="add mod ord modVis">
          <ac:chgData name="Doering, Floriane Annalena (K-TV/1)" userId="cb3a6d99-feb7-4b8b-940c-af2d4fff6274" providerId="ADAL" clId="{57F5AC47-94BC-4763-85F2-873E46A07A06}" dt="2025-01-16T15:56:32.459" v="1528"/>
          <ac:graphicFrameMkLst>
            <pc:docMk/>
            <pc:sldMk cId="2617126293" sldId="259"/>
            <ac:graphicFrameMk id="8" creationId="{62B31B86-169B-F595-4A23-DBD844A7B8EE}"/>
          </ac:graphicFrameMkLst>
        </pc:graphicFrameChg>
        <pc:picChg chg="del">
          <ac:chgData name="Doering, Floriane Annalena (K-TV/1)" userId="cb3a6d99-feb7-4b8b-940c-af2d4fff6274" providerId="ADAL" clId="{57F5AC47-94BC-4763-85F2-873E46A07A06}" dt="2025-01-16T15:56:25.673" v="1492" actId="478"/>
          <ac:picMkLst>
            <pc:docMk/>
            <pc:sldMk cId="2617126293" sldId="259"/>
            <ac:picMk id="9" creationId="{D3BE3F74-19FE-4087-67CB-411A4D3555EC}"/>
          </ac:picMkLst>
        </pc:picChg>
        <pc:picChg chg="add mod">
          <ac:chgData name="Doering, Floriane Annalena (K-TV/1)" userId="cb3a6d99-feb7-4b8b-940c-af2d4fff6274" providerId="ADAL" clId="{57F5AC47-94BC-4763-85F2-873E46A07A06}" dt="2025-01-16T16:20:20.245" v="1848" actId="1076"/>
          <ac:picMkLst>
            <pc:docMk/>
            <pc:sldMk cId="2617126293" sldId="259"/>
            <ac:picMk id="6146" creationId="{FE179CFE-B3AA-3593-7400-435469AB0368}"/>
          </ac:picMkLst>
        </pc:picChg>
      </pc:sldChg>
      <pc:sldChg chg="addSp delSp modSp mod ord">
        <pc:chgData name="Doering, Floriane Annalena (K-TV/1)" userId="cb3a6d99-feb7-4b8b-940c-af2d4fff6274" providerId="ADAL" clId="{57F5AC47-94BC-4763-85F2-873E46A07A06}" dt="2025-01-17T07:58:21.049" v="2288" actId="20577"/>
        <pc:sldMkLst>
          <pc:docMk/>
          <pc:sldMk cId="1406176778" sldId="260"/>
        </pc:sldMkLst>
        <pc:spChg chg="del">
          <ac:chgData name="Doering, Floriane Annalena (K-TV/1)" userId="cb3a6d99-feb7-4b8b-940c-af2d4fff6274" providerId="ADAL" clId="{57F5AC47-94BC-4763-85F2-873E46A07A06}" dt="2025-01-16T16:25:44.498" v="2076" actId="478"/>
          <ac:spMkLst>
            <pc:docMk/>
            <pc:sldMk cId="1406176778" sldId="260"/>
            <ac:spMk id="2" creationId="{63F00D46-8D70-AE91-0098-9966DE00D80F}"/>
          </ac:spMkLst>
        </pc:spChg>
        <pc:spChg chg="del">
          <ac:chgData name="Doering, Floriane Annalena (K-TV/1)" userId="cb3a6d99-feb7-4b8b-940c-af2d4fff6274" providerId="ADAL" clId="{57F5AC47-94BC-4763-85F2-873E46A07A06}" dt="2025-01-16T16:25:44.498" v="2076" actId="478"/>
          <ac:spMkLst>
            <pc:docMk/>
            <pc:sldMk cId="1406176778" sldId="260"/>
            <ac:spMk id="3" creationId="{656D93CB-B8E3-5FF5-250E-04263C3A08FE}"/>
          </ac:spMkLst>
        </pc:spChg>
        <pc:spChg chg="mod">
          <ac:chgData name="Doering, Floriane Annalena (K-TV/1)" userId="cb3a6d99-feb7-4b8b-940c-af2d4fff6274" providerId="ADAL" clId="{57F5AC47-94BC-4763-85F2-873E46A07A06}" dt="2025-01-17T07:58:21.049" v="2288" actId="20577"/>
          <ac:spMkLst>
            <pc:docMk/>
            <pc:sldMk cId="1406176778" sldId="260"/>
            <ac:spMk id="5" creationId="{967D1ADD-5B5E-17DF-BCF3-FA810085164C}"/>
          </ac:spMkLst>
        </pc:spChg>
        <pc:spChg chg="mod">
          <ac:chgData name="Doering, Floriane Annalena (K-TV/1)" userId="cb3a6d99-feb7-4b8b-940c-af2d4fff6274" providerId="ADAL" clId="{57F5AC47-94BC-4763-85F2-873E46A07A06}" dt="2025-01-16T16:06:48.267" v="1731" actId="948"/>
          <ac:spMkLst>
            <pc:docMk/>
            <pc:sldMk cId="1406176778" sldId="260"/>
            <ac:spMk id="6" creationId="{5C5EA901-2C6E-76D9-A4E0-F46E7885766B}"/>
          </ac:spMkLst>
        </pc:spChg>
        <pc:spChg chg="add mod">
          <ac:chgData name="Doering, Floriane Annalena (K-TV/1)" userId="cb3a6d99-feb7-4b8b-940c-af2d4fff6274" providerId="ADAL" clId="{57F5AC47-94BC-4763-85F2-873E46A07A06}" dt="2025-01-16T16:25:45.500" v="2077"/>
          <ac:spMkLst>
            <pc:docMk/>
            <pc:sldMk cId="1406176778" sldId="260"/>
            <ac:spMk id="10" creationId="{43DFC938-E59B-FE4D-A9F0-742BF6B98E8B}"/>
          </ac:spMkLst>
        </pc:spChg>
        <pc:spChg chg="add mod">
          <ac:chgData name="Doering, Floriane Annalena (K-TV/1)" userId="cb3a6d99-feb7-4b8b-940c-af2d4fff6274" providerId="ADAL" clId="{57F5AC47-94BC-4763-85F2-873E46A07A06}" dt="2025-01-16T16:25:45.500" v="2077"/>
          <ac:spMkLst>
            <pc:docMk/>
            <pc:sldMk cId="1406176778" sldId="260"/>
            <ac:spMk id="11" creationId="{626CAC1C-FC05-A6B9-EAAD-18456D89406C}"/>
          </ac:spMkLst>
        </pc:spChg>
        <pc:graphicFrameChg chg="add mod ord modVis">
          <ac:chgData name="Doering, Floriane Annalena (K-TV/1)" userId="cb3a6d99-feb7-4b8b-940c-af2d4fff6274" providerId="ADAL" clId="{57F5AC47-94BC-4763-85F2-873E46A07A06}" dt="2025-01-16T16:06:48.315" v="1745"/>
          <ac:graphicFrameMkLst>
            <pc:docMk/>
            <pc:sldMk cId="1406176778" sldId="260"/>
            <ac:graphicFrameMk id="8" creationId="{5EF74859-E7B7-059C-B505-F891B54FDF39}"/>
          </ac:graphicFrameMkLst>
        </pc:graphicFrameChg>
        <pc:picChg chg="del mod">
          <ac:chgData name="Doering, Floriane Annalena (K-TV/1)" userId="cb3a6d99-feb7-4b8b-940c-af2d4fff6274" providerId="ADAL" clId="{57F5AC47-94BC-4763-85F2-873E46A07A06}" dt="2025-01-17T07:57:08.787" v="2132" actId="478"/>
          <ac:picMkLst>
            <pc:docMk/>
            <pc:sldMk cId="1406176778" sldId="260"/>
            <ac:picMk id="9" creationId="{DC6A7ACE-EB73-EB9C-7755-FC294187323F}"/>
          </ac:picMkLst>
        </pc:picChg>
      </pc:sldChg>
      <pc:sldChg chg="addSp delSp modSp del mod">
        <pc:chgData name="Doering, Floriane Annalena (K-TV/1)" userId="cb3a6d99-feb7-4b8b-940c-af2d4fff6274" providerId="ADAL" clId="{57F5AC47-94BC-4763-85F2-873E46A07A06}" dt="2025-01-16T15:10:27.607" v="682" actId="47"/>
        <pc:sldMkLst>
          <pc:docMk/>
          <pc:sldMk cId="4278746643" sldId="261"/>
        </pc:sldMkLst>
        <pc:spChg chg="add mod">
          <ac:chgData name="Doering, Floriane Annalena (K-TV/1)" userId="cb3a6d99-feb7-4b8b-940c-af2d4fff6274" providerId="ADAL" clId="{57F5AC47-94BC-4763-85F2-873E46A07A06}" dt="2025-01-16T10:22:12.778" v="284" actId="14100"/>
          <ac:spMkLst>
            <pc:docMk/>
            <pc:sldMk cId="4278746643" sldId="261"/>
            <ac:spMk id="11" creationId="{F4CD5ED3-3A5B-7AF6-A9C1-3F9BCC38BF43}"/>
          </ac:spMkLst>
        </pc:spChg>
        <pc:picChg chg="add del mod">
          <ac:chgData name="Doering, Floriane Annalena (K-TV/1)" userId="cb3a6d99-feb7-4b8b-940c-af2d4fff6274" providerId="ADAL" clId="{57F5AC47-94BC-4763-85F2-873E46A07A06}" dt="2025-01-16T10:23:34.680" v="294" actId="478"/>
          <ac:picMkLst>
            <pc:docMk/>
            <pc:sldMk cId="4278746643" sldId="261"/>
            <ac:picMk id="10" creationId="{ED5709DC-DEEE-A9E3-01A7-6DAA7A77CDB3}"/>
          </ac:picMkLst>
        </pc:picChg>
      </pc:sldChg>
      <pc:sldChg chg="del ord">
        <pc:chgData name="Doering, Floriane Annalena (K-TV/1)" userId="cb3a6d99-feb7-4b8b-940c-af2d4fff6274" providerId="ADAL" clId="{57F5AC47-94BC-4763-85F2-873E46A07A06}" dt="2025-01-16T15:47:12.658" v="1432" actId="47"/>
        <pc:sldMkLst>
          <pc:docMk/>
          <pc:sldMk cId="1982030339" sldId="262"/>
        </pc:sldMkLst>
      </pc:sldChg>
      <pc:sldChg chg="addSp delSp modSp mod">
        <pc:chgData name="Doering, Floriane Annalena (K-TV/1)" userId="cb3a6d99-feb7-4b8b-940c-af2d4fff6274" providerId="ADAL" clId="{57F5AC47-94BC-4763-85F2-873E46A07A06}" dt="2025-01-17T08:28:28.853" v="2292" actId="1076"/>
        <pc:sldMkLst>
          <pc:docMk/>
          <pc:sldMk cId="585062318" sldId="263"/>
        </pc:sldMkLst>
        <pc:spChg chg="del mod">
          <ac:chgData name="Doering, Floriane Annalena (K-TV/1)" userId="cb3a6d99-feb7-4b8b-940c-af2d4fff6274" providerId="ADAL" clId="{57F5AC47-94BC-4763-85F2-873E46A07A06}" dt="2025-01-16T16:25:05.644" v="2062" actId="478"/>
          <ac:spMkLst>
            <pc:docMk/>
            <pc:sldMk cId="585062318" sldId="263"/>
            <ac:spMk id="2" creationId="{ED137479-3D32-8DC9-7A08-C8F5DACBE516}"/>
          </ac:spMkLst>
        </pc:spChg>
        <pc:spChg chg="del">
          <ac:chgData name="Doering, Floriane Annalena (K-TV/1)" userId="cb3a6d99-feb7-4b8b-940c-af2d4fff6274" providerId="ADAL" clId="{57F5AC47-94BC-4763-85F2-873E46A07A06}" dt="2025-01-16T16:25:02.902" v="2060" actId="478"/>
          <ac:spMkLst>
            <pc:docMk/>
            <pc:sldMk cId="585062318" sldId="263"/>
            <ac:spMk id="3" creationId="{1A1BA9EB-C90A-CDB1-0E87-48C6C956CE05}"/>
          </ac:spMkLst>
        </pc:spChg>
        <pc:spChg chg="add del mod">
          <ac:chgData name="Doering, Floriane Annalena (K-TV/1)" userId="cb3a6d99-feb7-4b8b-940c-af2d4fff6274" providerId="ADAL" clId="{57F5AC47-94BC-4763-85F2-873E46A07A06}" dt="2025-01-16T10:08:41.994" v="81" actId="478"/>
          <ac:spMkLst>
            <pc:docMk/>
            <pc:sldMk cId="585062318" sldId="263"/>
            <ac:spMk id="5" creationId="{BFED2969-3275-A039-2D8B-DAC4A19C8E6A}"/>
          </ac:spMkLst>
        </pc:spChg>
        <pc:spChg chg="mod">
          <ac:chgData name="Doering, Floriane Annalena (K-TV/1)" userId="cb3a6d99-feb7-4b8b-940c-af2d4fff6274" providerId="ADAL" clId="{57F5AC47-94BC-4763-85F2-873E46A07A06}" dt="2025-01-16T10:20:16.292" v="265" actId="20577"/>
          <ac:spMkLst>
            <pc:docMk/>
            <pc:sldMk cId="585062318" sldId="263"/>
            <ac:spMk id="7" creationId="{8DC07F82-092A-440D-5A38-8D305A16D00A}"/>
          </ac:spMkLst>
        </pc:spChg>
        <pc:spChg chg="del">
          <ac:chgData name="Doering, Floriane Annalena (K-TV/1)" userId="cb3a6d99-feb7-4b8b-940c-af2d4fff6274" providerId="ADAL" clId="{57F5AC47-94BC-4763-85F2-873E46A07A06}" dt="2025-01-16T10:08:37.502" v="80" actId="478"/>
          <ac:spMkLst>
            <pc:docMk/>
            <pc:sldMk cId="585062318" sldId="263"/>
            <ac:spMk id="8" creationId="{7D0C17DC-CDAE-284D-A10F-5122DDADE217}"/>
          </ac:spMkLst>
        </pc:spChg>
        <pc:spChg chg="del">
          <ac:chgData name="Doering, Floriane Annalena (K-TV/1)" userId="cb3a6d99-feb7-4b8b-940c-af2d4fff6274" providerId="ADAL" clId="{57F5AC47-94BC-4763-85F2-873E46A07A06}" dt="2025-01-16T10:08:41.994" v="81" actId="478"/>
          <ac:spMkLst>
            <pc:docMk/>
            <pc:sldMk cId="585062318" sldId="263"/>
            <ac:spMk id="10" creationId="{4CC5AAF6-FA0B-C652-F693-0F80DB66A49B}"/>
          </ac:spMkLst>
        </pc:spChg>
        <pc:spChg chg="del mod">
          <ac:chgData name="Doering, Floriane Annalena (K-TV/1)" userId="cb3a6d99-feb7-4b8b-940c-af2d4fff6274" providerId="ADAL" clId="{57F5AC47-94BC-4763-85F2-873E46A07A06}" dt="2025-01-16T10:08:41.994" v="81" actId="478"/>
          <ac:spMkLst>
            <pc:docMk/>
            <pc:sldMk cId="585062318" sldId="263"/>
            <ac:spMk id="11" creationId="{4381FB2E-2F0F-BE0E-8FF5-77778E1638ED}"/>
          </ac:spMkLst>
        </pc:spChg>
        <pc:spChg chg="del mod">
          <ac:chgData name="Doering, Floriane Annalena (K-TV/1)" userId="cb3a6d99-feb7-4b8b-940c-af2d4fff6274" providerId="ADAL" clId="{57F5AC47-94BC-4763-85F2-873E46A07A06}" dt="2025-01-16T10:08:37.502" v="80" actId="478"/>
          <ac:spMkLst>
            <pc:docMk/>
            <pc:sldMk cId="585062318" sldId="263"/>
            <ac:spMk id="12" creationId="{0B97C786-FF96-89C4-B6A3-17A7696FD180}"/>
          </ac:spMkLst>
        </pc:spChg>
        <pc:spChg chg="add del mod">
          <ac:chgData name="Doering, Floriane Annalena (K-TV/1)" userId="cb3a6d99-feb7-4b8b-940c-af2d4fff6274" providerId="ADAL" clId="{57F5AC47-94BC-4763-85F2-873E46A07A06}" dt="2025-01-16T08:18:31.705" v="51" actId="478"/>
          <ac:spMkLst>
            <pc:docMk/>
            <pc:sldMk cId="585062318" sldId="263"/>
            <ac:spMk id="13" creationId="{B3B4433E-604C-19EA-2011-3A70DE17A38B}"/>
          </ac:spMkLst>
        </pc:spChg>
        <pc:spChg chg="add del mod">
          <ac:chgData name="Doering, Floriane Annalena (K-TV/1)" userId="cb3a6d99-feb7-4b8b-940c-af2d4fff6274" providerId="ADAL" clId="{57F5AC47-94BC-4763-85F2-873E46A07A06}" dt="2025-01-17T08:28:28.853" v="2292" actId="1076"/>
          <ac:spMkLst>
            <pc:docMk/>
            <pc:sldMk cId="585062318" sldId="263"/>
            <ac:spMk id="14" creationId="{DFA93444-ABCA-8A9B-072F-ECCE6F41BDAD}"/>
          </ac:spMkLst>
        </pc:spChg>
        <pc:spChg chg="add mod">
          <ac:chgData name="Doering, Floriane Annalena (K-TV/1)" userId="cb3a6d99-feb7-4b8b-940c-af2d4fff6274" providerId="ADAL" clId="{57F5AC47-94BC-4763-85F2-873E46A07A06}" dt="2025-01-16T10:20:33.990" v="271" actId="1076"/>
          <ac:spMkLst>
            <pc:docMk/>
            <pc:sldMk cId="585062318" sldId="263"/>
            <ac:spMk id="15" creationId="{9EA8239A-7129-CB20-8D91-382ED9D4AE96}"/>
          </ac:spMkLst>
        </pc:spChg>
        <pc:spChg chg="add mod">
          <ac:chgData name="Doering, Floriane Annalena (K-TV/1)" userId="cb3a6d99-feb7-4b8b-940c-af2d4fff6274" providerId="ADAL" clId="{57F5AC47-94BC-4763-85F2-873E46A07A06}" dt="2025-01-16T16:27:40.019" v="2104" actId="1036"/>
          <ac:spMkLst>
            <pc:docMk/>
            <pc:sldMk cId="585062318" sldId="263"/>
            <ac:spMk id="16" creationId="{2CC3E1C7-63A9-D1E0-6E6B-3EEEF31C4445}"/>
          </ac:spMkLst>
        </pc:spChg>
        <pc:spChg chg="add mod">
          <ac:chgData name="Doering, Floriane Annalena (K-TV/1)" userId="cb3a6d99-feb7-4b8b-940c-af2d4fff6274" providerId="ADAL" clId="{57F5AC47-94BC-4763-85F2-873E46A07A06}" dt="2025-01-16T16:17:52.869" v="1819" actId="1076"/>
          <ac:spMkLst>
            <pc:docMk/>
            <pc:sldMk cId="585062318" sldId="263"/>
            <ac:spMk id="19" creationId="{BE97AE1D-E85D-C1EC-213C-7EB267157323}"/>
          </ac:spMkLst>
        </pc:spChg>
        <pc:spChg chg="add mod">
          <ac:chgData name="Doering, Floriane Annalena (K-TV/1)" userId="cb3a6d99-feb7-4b8b-940c-af2d4fff6274" providerId="ADAL" clId="{57F5AC47-94BC-4763-85F2-873E46A07A06}" dt="2025-01-16T16:17:57.898" v="1820" actId="1076"/>
          <ac:spMkLst>
            <pc:docMk/>
            <pc:sldMk cId="585062318" sldId="263"/>
            <ac:spMk id="20" creationId="{15EA96E9-DB0B-92E4-6FC9-8D97624FE339}"/>
          </ac:spMkLst>
        </pc:spChg>
        <pc:spChg chg="add mod">
          <ac:chgData name="Doering, Floriane Annalena (K-TV/1)" userId="cb3a6d99-feb7-4b8b-940c-af2d4fff6274" providerId="ADAL" clId="{57F5AC47-94BC-4763-85F2-873E46A07A06}" dt="2025-01-16T16:18:52.248" v="1833" actId="20577"/>
          <ac:spMkLst>
            <pc:docMk/>
            <pc:sldMk cId="585062318" sldId="263"/>
            <ac:spMk id="21" creationId="{7D5078F2-83C1-456A-5DD9-2099EB4CA8FE}"/>
          </ac:spMkLst>
        </pc:spChg>
        <pc:spChg chg="add mod">
          <ac:chgData name="Doering, Floriane Annalena (K-TV/1)" userId="cb3a6d99-feb7-4b8b-940c-af2d4fff6274" providerId="ADAL" clId="{57F5AC47-94BC-4763-85F2-873E46A07A06}" dt="2025-01-16T16:25:06.599" v="2063"/>
          <ac:spMkLst>
            <pc:docMk/>
            <pc:sldMk cId="585062318" sldId="263"/>
            <ac:spMk id="28" creationId="{914A2133-969C-B89E-1017-9CB7D52197A8}"/>
          </ac:spMkLst>
        </pc:spChg>
        <pc:spChg chg="add mod">
          <ac:chgData name="Doering, Floriane Annalena (K-TV/1)" userId="cb3a6d99-feb7-4b8b-940c-af2d4fff6274" providerId="ADAL" clId="{57F5AC47-94BC-4763-85F2-873E46A07A06}" dt="2025-01-16T16:25:06.599" v="2063"/>
          <ac:spMkLst>
            <pc:docMk/>
            <pc:sldMk cId="585062318" sldId="263"/>
            <ac:spMk id="29" creationId="{339D2326-C9E7-7D00-F439-53E7F1BC2FEC}"/>
          </ac:spMkLst>
        </pc:spChg>
        <pc:picChg chg="add del mod">
          <ac:chgData name="Doering, Floriane Annalena (K-TV/1)" userId="cb3a6d99-feb7-4b8b-940c-af2d4fff6274" providerId="ADAL" clId="{57F5AC47-94BC-4763-85F2-873E46A07A06}" dt="2025-01-16T16:19:12.091" v="1835" actId="478"/>
          <ac:picMkLst>
            <pc:docMk/>
            <pc:sldMk cId="585062318" sldId="263"/>
            <ac:picMk id="18" creationId="{134222B6-6751-3DB8-1041-234F9F51BFCD}"/>
          </ac:picMkLst>
        </pc:picChg>
        <pc:picChg chg="add mod">
          <ac:chgData name="Doering, Floriane Annalena (K-TV/1)" userId="cb3a6d99-feb7-4b8b-940c-af2d4fff6274" providerId="ADAL" clId="{57F5AC47-94BC-4763-85F2-873E46A07A06}" dt="2025-01-16T16:27:32.561" v="2098" actId="1076"/>
          <ac:picMkLst>
            <pc:docMk/>
            <pc:sldMk cId="585062318" sldId="263"/>
            <ac:picMk id="1026" creationId="{5E7457CC-7FD4-2FAD-7872-4F181EDB8C58}"/>
          </ac:picMkLst>
        </pc:picChg>
        <pc:picChg chg="add del">
          <ac:chgData name="Doering, Floriane Annalena (K-TV/1)" userId="cb3a6d99-feb7-4b8b-940c-af2d4fff6274" providerId="ADAL" clId="{57F5AC47-94BC-4763-85F2-873E46A07A06}" dt="2025-01-16T10:10:55.561" v="87" actId="478"/>
          <ac:picMkLst>
            <pc:docMk/>
            <pc:sldMk cId="585062318" sldId="263"/>
            <ac:picMk id="1028" creationId="{5B8AB5AE-4AC5-4A7F-29D9-C68F3280C9E5}"/>
          </ac:picMkLst>
        </pc:picChg>
        <pc:cxnChg chg="add mod">
          <ac:chgData name="Doering, Floriane Annalena (K-TV/1)" userId="cb3a6d99-feb7-4b8b-940c-af2d4fff6274" providerId="ADAL" clId="{57F5AC47-94BC-4763-85F2-873E46A07A06}" dt="2025-01-16T16:18:26.699" v="1825" actId="14100"/>
          <ac:cxnSpMkLst>
            <pc:docMk/>
            <pc:sldMk cId="585062318" sldId="263"/>
            <ac:cxnSpMk id="23" creationId="{D373A4A7-6648-FD3E-5D51-2A5C8AE4ED01}"/>
          </ac:cxnSpMkLst>
        </pc:cxnChg>
        <pc:cxnChg chg="add mod">
          <ac:chgData name="Doering, Floriane Annalena (K-TV/1)" userId="cb3a6d99-feb7-4b8b-940c-af2d4fff6274" providerId="ADAL" clId="{57F5AC47-94BC-4763-85F2-873E46A07A06}" dt="2025-01-16T16:18:39.658" v="1830" actId="1035"/>
          <ac:cxnSpMkLst>
            <pc:docMk/>
            <pc:sldMk cId="585062318" sldId="263"/>
            <ac:cxnSpMk id="26" creationId="{38167A5B-88C7-9D7B-A9DC-6E8C1C9CF9BD}"/>
          </ac:cxnSpMkLst>
        </pc:cxnChg>
        <pc:cxnChg chg="add mod">
          <ac:chgData name="Doering, Floriane Annalena (K-TV/1)" userId="cb3a6d99-feb7-4b8b-940c-af2d4fff6274" providerId="ADAL" clId="{57F5AC47-94BC-4763-85F2-873E46A07A06}" dt="2025-01-16T16:19:09.078" v="1834" actId="1076"/>
          <ac:cxnSpMkLst>
            <pc:docMk/>
            <pc:sldMk cId="585062318" sldId="263"/>
            <ac:cxnSpMk id="27" creationId="{358BE14D-4D77-D7A8-BC84-CC2A853357FD}"/>
          </ac:cxnSpMkLst>
        </pc:cxnChg>
      </pc:sldChg>
      <pc:sldChg chg="addSp delSp modSp new mod">
        <pc:chgData name="Doering, Floriane Annalena (K-TV/1)" userId="cb3a6d99-feb7-4b8b-940c-af2d4fff6274" providerId="ADAL" clId="{57F5AC47-94BC-4763-85F2-873E46A07A06}" dt="2025-01-16T16:24:43.617" v="2054"/>
        <pc:sldMkLst>
          <pc:docMk/>
          <pc:sldMk cId="967723801" sldId="264"/>
        </pc:sldMkLst>
        <pc:spChg chg="del">
          <ac:chgData name="Doering, Floriane Annalena (K-TV/1)" userId="cb3a6d99-feb7-4b8b-940c-af2d4fff6274" providerId="ADAL" clId="{57F5AC47-94BC-4763-85F2-873E46A07A06}" dt="2025-01-16T16:24:42.715" v="2053" actId="478"/>
          <ac:spMkLst>
            <pc:docMk/>
            <pc:sldMk cId="967723801" sldId="264"/>
            <ac:spMk id="2" creationId="{68FB0C87-2A8C-B8F7-84A5-9FA028422F80}"/>
          </ac:spMkLst>
        </pc:spChg>
        <pc:spChg chg="del">
          <ac:chgData name="Doering, Floriane Annalena (K-TV/1)" userId="cb3a6d99-feb7-4b8b-940c-af2d4fff6274" providerId="ADAL" clId="{57F5AC47-94BC-4763-85F2-873E46A07A06}" dt="2025-01-16T16:24:42.715" v="2053" actId="478"/>
          <ac:spMkLst>
            <pc:docMk/>
            <pc:sldMk cId="967723801" sldId="264"/>
            <ac:spMk id="3" creationId="{EFB9A63D-E228-7F6A-EE3A-E65C0E61E601}"/>
          </ac:spMkLst>
        </pc:spChg>
        <pc:spChg chg="mod">
          <ac:chgData name="Doering, Floriane Annalena (K-TV/1)" userId="cb3a6d99-feb7-4b8b-940c-af2d4fff6274" providerId="ADAL" clId="{57F5AC47-94BC-4763-85F2-873E46A07A06}" dt="2025-01-16T10:07:15.512" v="67" actId="20577"/>
          <ac:spMkLst>
            <pc:docMk/>
            <pc:sldMk cId="967723801" sldId="264"/>
            <ac:spMk id="5" creationId="{02AD4808-6DA0-CDB7-C201-43BA8B7C8E69}"/>
          </ac:spMkLst>
        </pc:spChg>
        <pc:spChg chg="mod">
          <ac:chgData name="Doering, Floriane Annalena (K-TV/1)" userId="cb3a6d99-feb7-4b8b-940c-af2d4fff6274" providerId="ADAL" clId="{57F5AC47-94BC-4763-85F2-873E46A07A06}" dt="2025-01-16T15:07:25.489" v="603" actId="20577"/>
          <ac:spMkLst>
            <pc:docMk/>
            <pc:sldMk cId="967723801" sldId="264"/>
            <ac:spMk id="7" creationId="{EA658B72-8941-5F4F-579B-44A83B0BA41C}"/>
          </ac:spMkLst>
        </pc:spChg>
        <pc:spChg chg="add mod">
          <ac:chgData name="Doering, Floriane Annalena (K-TV/1)" userId="cb3a6d99-feb7-4b8b-940c-af2d4fff6274" providerId="ADAL" clId="{57F5AC47-94BC-4763-85F2-873E46A07A06}" dt="2025-01-16T16:24:43.617" v="2054"/>
          <ac:spMkLst>
            <pc:docMk/>
            <pc:sldMk cId="967723801" sldId="264"/>
            <ac:spMk id="8" creationId="{3A2EF91C-4303-094C-CCD2-82DCA4BA0EA7}"/>
          </ac:spMkLst>
        </pc:spChg>
        <pc:spChg chg="add mod">
          <ac:chgData name="Doering, Floriane Annalena (K-TV/1)" userId="cb3a6d99-feb7-4b8b-940c-af2d4fff6274" providerId="ADAL" clId="{57F5AC47-94BC-4763-85F2-873E46A07A06}" dt="2025-01-16T16:24:43.617" v="2054"/>
          <ac:spMkLst>
            <pc:docMk/>
            <pc:sldMk cId="967723801" sldId="264"/>
            <ac:spMk id="9" creationId="{9117D1B6-1042-E25D-4C36-698404B6A19F}"/>
          </ac:spMkLst>
        </pc:spChg>
      </pc:sldChg>
      <pc:sldChg chg="addSp delSp modSp add mod ord">
        <pc:chgData name="Doering, Floriane Annalena (K-TV/1)" userId="cb3a6d99-feb7-4b8b-940c-af2d4fff6274" providerId="ADAL" clId="{57F5AC47-94BC-4763-85F2-873E46A07A06}" dt="2025-01-16T16:24:57.368" v="2059"/>
        <pc:sldMkLst>
          <pc:docMk/>
          <pc:sldMk cId="1260159347" sldId="265"/>
        </pc:sldMkLst>
        <pc:spChg chg="del">
          <ac:chgData name="Doering, Floriane Annalena (K-TV/1)" userId="cb3a6d99-feb7-4b8b-940c-af2d4fff6274" providerId="ADAL" clId="{57F5AC47-94BC-4763-85F2-873E46A07A06}" dt="2025-01-16T16:24:56.595" v="2058" actId="478"/>
          <ac:spMkLst>
            <pc:docMk/>
            <pc:sldMk cId="1260159347" sldId="265"/>
            <ac:spMk id="2" creationId="{1C1380B1-6ECC-C636-407F-530A3F6EADC4}"/>
          </ac:spMkLst>
        </pc:spChg>
        <pc:spChg chg="del">
          <ac:chgData name="Doering, Floriane Annalena (K-TV/1)" userId="cb3a6d99-feb7-4b8b-940c-af2d4fff6274" providerId="ADAL" clId="{57F5AC47-94BC-4763-85F2-873E46A07A06}" dt="2025-01-16T16:24:55.739" v="2057" actId="478"/>
          <ac:spMkLst>
            <pc:docMk/>
            <pc:sldMk cId="1260159347" sldId="265"/>
            <ac:spMk id="3" creationId="{0B2F5384-7B59-8A51-D0AB-D8AA62ECCFD2}"/>
          </ac:spMkLst>
        </pc:spChg>
        <pc:spChg chg="mod">
          <ac:chgData name="Doering, Floriane Annalena (K-TV/1)" userId="cb3a6d99-feb7-4b8b-940c-af2d4fff6274" providerId="ADAL" clId="{57F5AC47-94BC-4763-85F2-873E46A07A06}" dt="2025-01-16T10:08:00.057" v="73" actId="20577"/>
          <ac:spMkLst>
            <pc:docMk/>
            <pc:sldMk cId="1260159347" sldId="265"/>
            <ac:spMk id="5" creationId="{89D32E64-054C-064B-348C-F8FBD1F6B2FD}"/>
          </ac:spMkLst>
        </pc:spChg>
        <pc:spChg chg="mod">
          <ac:chgData name="Doering, Floriane Annalena (K-TV/1)" userId="cb3a6d99-feb7-4b8b-940c-af2d4fff6274" providerId="ADAL" clId="{57F5AC47-94BC-4763-85F2-873E46A07A06}" dt="2025-01-16T15:08:12.546" v="630" actId="20577"/>
          <ac:spMkLst>
            <pc:docMk/>
            <pc:sldMk cId="1260159347" sldId="265"/>
            <ac:spMk id="7" creationId="{AB29DEB0-1912-D2B5-FF96-0437E2265D8E}"/>
          </ac:spMkLst>
        </pc:spChg>
        <pc:spChg chg="add mod">
          <ac:chgData name="Doering, Floriane Annalena (K-TV/1)" userId="cb3a6d99-feb7-4b8b-940c-af2d4fff6274" providerId="ADAL" clId="{57F5AC47-94BC-4763-85F2-873E46A07A06}" dt="2025-01-16T16:24:57.368" v="2059"/>
          <ac:spMkLst>
            <pc:docMk/>
            <pc:sldMk cId="1260159347" sldId="265"/>
            <ac:spMk id="8" creationId="{A5A74E51-AB70-D05B-1452-5C82CB46D9F6}"/>
          </ac:spMkLst>
        </pc:spChg>
        <pc:spChg chg="add mod">
          <ac:chgData name="Doering, Floriane Annalena (K-TV/1)" userId="cb3a6d99-feb7-4b8b-940c-af2d4fff6274" providerId="ADAL" clId="{57F5AC47-94BC-4763-85F2-873E46A07A06}" dt="2025-01-16T16:24:57.368" v="2059"/>
          <ac:spMkLst>
            <pc:docMk/>
            <pc:sldMk cId="1260159347" sldId="265"/>
            <ac:spMk id="9" creationId="{FBDBB952-E2B9-E8FA-5B58-76D52338469B}"/>
          </ac:spMkLst>
        </pc:spChg>
      </pc:sldChg>
      <pc:sldChg chg="addSp delSp modSp add mod">
        <pc:chgData name="Doering, Floriane Annalena (K-TV/1)" userId="cb3a6d99-feb7-4b8b-940c-af2d4fff6274" providerId="ADAL" clId="{57F5AC47-94BC-4763-85F2-873E46A07A06}" dt="2025-01-16T16:25:29.777" v="2071"/>
        <pc:sldMkLst>
          <pc:docMk/>
          <pc:sldMk cId="2115898625" sldId="266"/>
        </pc:sldMkLst>
        <pc:spChg chg="del">
          <ac:chgData name="Doering, Floriane Annalena (K-TV/1)" userId="cb3a6d99-feb7-4b8b-940c-af2d4fff6274" providerId="ADAL" clId="{57F5AC47-94BC-4763-85F2-873E46A07A06}" dt="2025-01-16T16:25:28.820" v="2070" actId="478"/>
          <ac:spMkLst>
            <pc:docMk/>
            <pc:sldMk cId="2115898625" sldId="266"/>
            <ac:spMk id="2" creationId="{2E955F02-A6A3-15A2-1FC7-3C3DCCC12A86}"/>
          </ac:spMkLst>
        </pc:spChg>
        <pc:spChg chg="del">
          <ac:chgData name="Doering, Floriane Annalena (K-TV/1)" userId="cb3a6d99-feb7-4b8b-940c-af2d4fff6274" providerId="ADAL" clId="{57F5AC47-94BC-4763-85F2-873E46A07A06}" dt="2025-01-16T16:25:28.820" v="2070" actId="478"/>
          <ac:spMkLst>
            <pc:docMk/>
            <pc:sldMk cId="2115898625" sldId="266"/>
            <ac:spMk id="3" creationId="{FBE93253-C869-4FC5-620A-4CDFC0004107}"/>
          </ac:spMkLst>
        </pc:spChg>
        <pc:spChg chg="mod">
          <ac:chgData name="Doering, Floriane Annalena (K-TV/1)" userId="cb3a6d99-feb7-4b8b-940c-af2d4fff6274" providerId="ADAL" clId="{57F5AC47-94BC-4763-85F2-873E46A07A06}" dt="2025-01-16T10:08:17.862" v="76" actId="20577"/>
          <ac:spMkLst>
            <pc:docMk/>
            <pc:sldMk cId="2115898625" sldId="266"/>
            <ac:spMk id="5" creationId="{A9D41B70-3939-181B-89DA-5634107D593B}"/>
          </ac:spMkLst>
        </pc:spChg>
        <pc:spChg chg="mod">
          <ac:chgData name="Doering, Floriane Annalena (K-TV/1)" userId="cb3a6d99-feb7-4b8b-940c-af2d4fff6274" providerId="ADAL" clId="{57F5AC47-94BC-4763-85F2-873E46A07A06}" dt="2025-01-16T15:12:01.764" v="699" actId="20577"/>
          <ac:spMkLst>
            <pc:docMk/>
            <pc:sldMk cId="2115898625" sldId="266"/>
            <ac:spMk id="7" creationId="{C8AD67A3-6663-DA58-F76C-6F317C39F915}"/>
          </ac:spMkLst>
        </pc:spChg>
        <pc:spChg chg="add mod">
          <ac:chgData name="Doering, Floriane Annalena (K-TV/1)" userId="cb3a6d99-feb7-4b8b-940c-af2d4fff6274" providerId="ADAL" clId="{57F5AC47-94BC-4763-85F2-873E46A07A06}" dt="2025-01-16T16:25:29.777" v="2071"/>
          <ac:spMkLst>
            <pc:docMk/>
            <pc:sldMk cId="2115898625" sldId="266"/>
            <ac:spMk id="8" creationId="{A225D621-0BBF-C08E-532E-F4AA1C98E784}"/>
          </ac:spMkLst>
        </pc:spChg>
        <pc:spChg chg="add mod">
          <ac:chgData name="Doering, Floriane Annalena (K-TV/1)" userId="cb3a6d99-feb7-4b8b-940c-af2d4fff6274" providerId="ADAL" clId="{57F5AC47-94BC-4763-85F2-873E46A07A06}" dt="2025-01-16T16:25:29.777" v="2071"/>
          <ac:spMkLst>
            <pc:docMk/>
            <pc:sldMk cId="2115898625" sldId="266"/>
            <ac:spMk id="9" creationId="{940C05F5-D11B-98A7-FE56-BBE266FB606E}"/>
          </ac:spMkLst>
        </pc:spChg>
      </pc:sldChg>
      <pc:sldChg chg="add del">
        <pc:chgData name="Doering, Floriane Annalena (K-TV/1)" userId="cb3a6d99-feb7-4b8b-940c-af2d4fff6274" providerId="ADAL" clId="{57F5AC47-94BC-4763-85F2-873E46A07A06}" dt="2025-01-16T10:20:50.854" v="275" actId="47"/>
        <pc:sldMkLst>
          <pc:docMk/>
          <pc:sldMk cId="1757336581" sldId="267"/>
        </pc:sldMkLst>
      </pc:sldChg>
      <pc:sldChg chg="addSp delSp modSp add mod">
        <pc:chgData name="Doering, Floriane Annalena (K-TV/1)" userId="cb3a6d99-feb7-4b8b-940c-af2d4fff6274" providerId="ADAL" clId="{57F5AC47-94BC-4763-85F2-873E46A07A06}" dt="2025-01-16T16:25:11.092" v="2065"/>
        <pc:sldMkLst>
          <pc:docMk/>
          <pc:sldMk cId="3005583229" sldId="268"/>
        </pc:sldMkLst>
        <pc:spChg chg="del">
          <ac:chgData name="Doering, Floriane Annalena (K-TV/1)" userId="cb3a6d99-feb7-4b8b-940c-af2d4fff6274" providerId="ADAL" clId="{57F5AC47-94BC-4763-85F2-873E46A07A06}" dt="2025-01-16T16:25:10.188" v="2064" actId="478"/>
          <ac:spMkLst>
            <pc:docMk/>
            <pc:sldMk cId="3005583229" sldId="268"/>
            <ac:spMk id="2" creationId="{6B55FBB1-E37D-45CA-CE94-2669767A402E}"/>
          </ac:spMkLst>
        </pc:spChg>
        <pc:spChg chg="del">
          <ac:chgData name="Doering, Floriane Annalena (K-TV/1)" userId="cb3a6d99-feb7-4b8b-940c-af2d4fff6274" providerId="ADAL" clId="{57F5AC47-94BC-4763-85F2-873E46A07A06}" dt="2025-01-16T16:25:10.188" v="2064" actId="478"/>
          <ac:spMkLst>
            <pc:docMk/>
            <pc:sldMk cId="3005583229" sldId="268"/>
            <ac:spMk id="3" creationId="{41ECFDC8-8A2C-2827-3BC4-B78791605D02}"/>
          </ac:spMkLst>
        </pc:spChg>
        <pc:spChg chg="add">
          <ac:chgData name="Doering, Floriane Annalena (K-TV/1)" userId="cb3a6d99-feb7-4b8b-940c-af2d4fff6274" providerId="ADAL" clId="{57F5AC47-94BC-4763-85F2-873E46A07A06}" dt="2025-01-16T10:11:57.019" v="98" actId="11529"/>
          <ac:spMkLst>
            <pc:docMk/>
            <pc:sldMk cId="3005583229" sldId="268"/>
            <ac:spMk id="5" creationId="{9A60E40D-BF87-40F0-9990-3985872B55DB}"/>
          </ac:spMkLst>
        </pc:spChg>
        <pc:spChg chg="mod">
          <ac:chgData name="Doering, Floriane Annalena (K-TV/1)" userId="cb3a6d99-feb7-4b8b-940c-af2d4fff6274" providerId="ADAL" clId="{57F5AC47-94BC-4763-85F2-873E46A07A06}" dt="2025-01-16T10:20:42.146" v="274" actId="20577"/>
          <ac:spMkLst>
            <pc:docMk/>
            <pc:sldMk cId="3005583229" sldId="268"/>
            <ac:spMk id="7" creationId="{65B50D87-29BD-31D5-B0EF-D7874F09B758}"/>
          </ac:spMkLst>
        </pc:spChg>
        <pc:spChg chg="add mod">
          <ac:chgData name="Doering, Floriane Annalena (K-TV/1)" userId="cb3a6d99-feb7-4b8b-940c-af2d4fff6274" providerId="ADAL" clId="{57F5AC47-94BC-4763-85F2-873E46A07A06}" dt="2025-01-16T10:12:11.604" v="103" actId="14100"/>
          <ac:spMkLst>
            <pc:docMk/>
            <pc:sldMk cId="3005583229" sldId="268"/>
            <ac:spMk id="8" creationId="{85330354-4B0B-E2F8-21B5-6F3904193D0E}"/>
          </ac:spMkLst>
        </pc:spChg>
        <pc:spChg chg="add mod">
          <ac:chgData name="Doering, Floriane Annalena (K-TV/1)" userId="cb3a6d99-feb7-4b8b-940c-af2d4fff6274" providerId="ADAL" clId="{57F5AC47-94BC-4763-85F2-873E46A07A06}" dt="2025-01-16T10:12:01.485" v="101" actId="1076"/>
          <ac:spMkLst>
            <pc:docMk/>
            <pc:sldMk cId="3005583229" sldId="268"/>
            <ac:spMk id="10" creationId="{F56654A4-4FE5-8424-66C7-0CE62F3351D4}"/>
          </ac:spMkLst>
        </pc:spChg>
        <pc:spChg chg="add mod">
          <ac:chgData name="Doering, Floriane Annalena (K-TV/1)" userId="cb3a6d99-feb7-4b8b-940c-af2d4fff6274" providerId="ADAL" clId="{57F5AC47-94BC-4763-85F2-873E46A07A06}" dt="2025-01-16T10:12:33.577" v="119" actId="1076"/>
          <ac:spMkLst>
            <pc:docMk/>
            <pc:sldMk cId="3005583229" sldId="268"/>
            <ac:spMk id="11" creationId="{DCB7AED7-F2A2-7A58-31DA-48E3687A79E2}"/>
          </ac:spMkLst>
        </pc:spChg>
        <pc:spChg chg="add mod">
          <ac:chgData name="Doering, Floriane Annalena (K-TV/1)" userId="cb3a6d99-feb7-4b8b-940c-af2d4fff6274" providerId="ADAL" clId="{57F5AC47-94BC-4763-85F2-873E46A07A06}" dt="2025-01-16T10:14:19.360" v="164" actId="20577"/>
          <ac:spMkLst>
            <pc:docMk/>
            <pc:sldMk cId="3005583229" sldId="268"/>
            <ac:spMk id="12" creationId="{349FDCEA-F724-8FCF-5A95-F36A0D7A7387}"/>
          </ac:spMkLst>
        </pc:spChg>
        <pc:spChg chg="add mod">
          <ac:chgData name="Doering, Floriane Annalena (K-TV/1)" userId="cb3a6d99-feb7-4b8b-940c-af2d4fff6274" providerId="ADAL" clId="{57F5AC47-94BC-4763-85F2-873E46A07A06}" dt="2025-01-16T10:14:09.355" v="154" actId="20577"/>
          <ac:spMkLst>
            <pc:docMk/>
            <pc:sldMk cId="3005583229" sldId="268"/>
            <ac:spMk id="13" creationId="{AC1C3454-9010-C3D5-0D73-B8962D56007B}"/>
          </ac:spMkLst>
        </pc:spChg>
        <pc:spChg chg="add mod">
          <ac:chgData name="Doering, Floriane Annalena (K-TV/1)" userId="cb3a6d99-feb7-4b8b-940c-af2d4fff6274" providerId="ADAL" clId="{57F5AC47-94BC-4763-85F2-873E46A07A06}" dt="2025-01-16T10:20:39.735" v="273" actId="1076"/>
          <ac:spMkLst>
            <pc:docMk/>
            <pc:sldMk cId="3005583229" sldId="268"/>
            <ac:spMk id="14" creationId="{8C59A600-5776-1E54-DD93-594AAB733329}"/>
          </ac:spMkLst>
        </pc:spChg>
        <pc:spChg chg="add mod">
          <ac:chgData name="Doering, Floriane Annalena (K-TV/1)" userId="cb3a6d99-feb7-4b8b-940c-af2d4fff6274" providerId="ADAL" clId="{57F5AC47-94BC-4763-85F2-873E46A07A06}" dt="2025-01-16T10:23:21.477" v="292" actId="1076"/>
          <ac:spMkLst>
            <pc:docMk/>
            <pc:sldMk cId="3005583229" sldId="268"/>
            <ac:spMk id="15" creationId="{0EFCEFBE-1083-B2E2-CDA7-7A2292842539}"/>
          </ac:spMkLst>
        </pc:spChg>
        <pc:spChg chg="add mod">
          <ac:chgData name="Doering, Floriane Annalena (K-TV/1)" userId="cb3a6d99-feb7-4b8b-940c-af2d4fff6274" providerId="ADAL" clId="{57F5AC47-94BC-4763-85F2-873E46A07A06}" dt="2025-01-16T10:23:15.807" v="289"/>
          <ac:spMkLst>
            <pc:docMk/>
            <pc:sldMk cId="3005583229" sldId="268"/>
            <ac:spMk id="16" creationId="{5EA8C36B-2AC6-FFD6-8DA4-D1576DDC5D7E}"/>
          </ac:spMkLst>
        </pc:spChg>
        <pc:spChg chg="add mod">
          <ac:chgData name="Doering, Floriane Annalena (K-TV/1)" userId="cb3a6d99-feb7-4b8b-940c-af2d4fff6274" providerId="ADAL" clId="{57F5AC47-94BC-4763-85F2-873E46A07A06}" dt="2025-01-16T16:25:11.092" v="2065"/>
          <ac:spMkLst>
            <pc:docMk/>
            <pc:sldMk cId="3005583229" sldId="268"/>
            <ac:spMk id="17" creationId="{07E7D69F-C669-1305-CD83-01CBF38FF4C7}"/>
          </ac:spMkLst>
        </pc:spChg>
        <pc:spChg chg="add mod">
          <ac:chgData name="Doering, Floriane Annalena (K-TV/1)" userId="cb3a6d99-feb7-4b8b-940c-af2d4fff6274" providerId="ADAL" clId="{57F5AC47-94BC-4763-85F2-873E46A07A06}" dt="2025-01-16T16:25:11.092" v="2065"/>
          <ac:spMkLst>
            <pc:docMk/>
            <pc:sldMk cId="3005583229" sldId="268"/>
            <ac:spMk id="18" creationId="{933AC668-EBA9-35FF-1428-867860779757}"/>
          </ac:spMkLst>
        </pc:spChg>
        <pc:picChg chg="del">
          <ac:chgData name="Doering, Floriane Annalena (K-TV/1)" userId="cb3a6d99-feb7-4b8b-940c-af2d4fff6274" providerId="ADAL" clId="{57F5AC47-94BC-4763-85F2-873E46A07A06}" dt="2025-01-16T10:10:58.238" v="88" actId="478"/>
          <ac:picMkLst>
            <pc:docMk/>
            <pc:sldMk cId="3005583229" sldId="268"/>
            <ac:picMk id="1026" creationId="{C3523731-683F-041F-3D85-2E92E71733D0}"/>
          </ac:picMkLst>
        </pc:picChg>
        <pc:picChg chg="mod">
          <ac:chgData name="Doering, Floriane Annalena (K-TV/1)" userId="cb3a6d99-feb7-4b8b-940c-af2d4fff6274" providerId="ADAL" clId="{57F5AC47-94BC-4763-85F2-873E46A07A06}" dt="2025-01-16T10:11:07.174" v="90" actId="1076"/>
          <ac:picMkLst>
            <pc:docMk/>
            <pc:sldMk cId="3005583229" sldId="268"/>
            <ac:picMk id="1028" creationId="{6AB66E50-3060-0EA3-1C00-A7C37AD56DE5}"/>
          </ac:picMkLst>
        </pc:picChg>
      </pc:sldChg>
      <pc:sldChg chg="addSp delSp modSp add mod">
        <pc:chgData name="Doering, Floriane Annalena (K-TV/1)" userId="cb3a6d99-feb7-4b8b-940c-af2d4fff6274" providerId="ADAL" clId="{57F5AC47-94BC-4763-85F2-873E46A07A06}" dt="2025-01-16T16:25:16.512" v="2067"/>
        <pc:sldMkLst>
          <pc:docMk/>
          <pc:sldMk cId="1797796229" sldId="269"/>
        </pc:sldMkLst>
        <pc:spChg chg="del">
          <ac:chgData name="Doering, Floriane Annalena (K-TV/1)" userId="cb3a6d99-feb7-4b8b-940c-af2d4fff6274" providerId="ADAL" clId="{57F5AC47-94BC-4763-85F2-873E46A07A06}" dt="2025-01-16T16:25:15.408" v="2066" actId="478"/>
          <ac:spMkLst>
            <pc:docMk/>
            <pc:sldMk cId="1797796229" sldId="269"/>
            <ac:spMk id="2" creationId="{619F2F82-BC50-4B37-357F-6D78C64CF113}"/>
          </ac:spMkLst>
        </pc:spChg>
        <pc:spChg chg="del">
          <ac:chgData name="Doering, Floriane Annalena (K-TV/1)" userId="cb3a6d99-feb7-4b8b-940c-af2d4fff6274" providerId="ADAL" clId="{57F5AC47-94BC-4763-85F2-873E46A07A06}" dt="2025-01-16T16:25:15.408" v="2066" actId="478"/>
          <ac:spMkLst>
            <pc:docMk/>
            <pc:sldMk cId="1797796229" sldId="269"/>
            <ac:spMk id="3" creationId="{2800563F-EFE5-F74F-8F21-B5F64F7C19F1}"/>
          </ac:spMkLst>
        </pc:spChg>
        <pc:spChg chg="add mod">
          <ac:chgData name="Doering, Floriane Annalena (K-TV/1)" userId="cb3a6d99-feb7-4b8b-940c-af2d4fff6274" providerId="ADAL" clId="{57F5AC47-94BC-4763-85F2-873E46A07A06}" dt="2025-01-16T10:29:59.548" v="387" actId="208"/>
          <ac:spMkLst>
            <pc:docMk/>
            <pc:sldMk cId="1797796229" sldId="269"/>
            <ac:spMk id="15" creationId="{B5857D24-AE6C-C356-F9B6-D7F4EEF26E94}"/>
          </ac:spMkLst>
        </pc:spChg>
        <pc:spChg chg="add mod">
          <ac:chgData name="Doering, Floriane Annalena (K-TV/1)" userId="cb3a6d99-feb7-4b8b-940c-af2d4fff6274" providerId="ADAL" clId="{57F5AC47-94BC-4763-85F2-873E46A07A06}" dt="2025-01-16T10:29:59.548" v="387" actId="208"/>
          <ac:spMkLst>
            <pc:docMk/>
            <pc:sldMk cId="1797796229" sldId="269"/>
            <ac:spMk id="16" creationId="{78DCF0A3-5052-E4D2-A01B-CD8176F17BFB}"/>
          </ac:spMkLst>
        </pc:spChg>
        <pc:spChg chg="add mod">
          <ac:chgData name="Doering, Floriane Annalena (K-TV/1)" userId="cb3a6d99-feb7-4b8b-940c-af2d4fff6274" providerId="ADAL" clId="{57F5AC47-94BC-4763-85F2-873E46A07A06}" dt="2025-01-16T10:29:59.548" v="387" actId="208"/>
          <ac:spMkLst>
            <pc:docMk/>
            <pc:sldMk cId="1797796229" sldId="269"/>
            <ac:spMk id="17" creationId="{8FE38F76-5C97-3927-C5C6-EA82C6690B88}"/>
          </ac:spMkLst>
        </pc:spChg>
        <pc:spChg chg="add mod">
          <ac:chgData name="Doering, Floriane Annalena (K-TV/1)" userId="cb3a6d99-feb7-4b8b-940c-af2d4fff6274" providerId="ADAL" clId="{57F5AC47-94BC-4763-85F2-873E46A07A06}" dt="2025-01-16T10:29:43.127" v="386" actId="208"/>
          <ac:spMkLst>
            <pc:docMk/>
            <pc:sldMk cId="1797796229" sldId="269"/>
            <ac:spMk id="18" creationId="{5642D0E6-920C-96E4-E177-E5FEE8082A77}"/>
          </ac:spMkLst>
        </pc:spChg>
        <pc:spChg chg="add mod">
          <ac:chgData name="Doering, Floriane Annalena (K-TV/1)" userId="cb3a6d99-feb7-4b8b-940c-af2d4fff6274" providerId="ADAL" clId="{57F5AC47-94BC-4763-85F2-873E46A07A06}" dt="2025-01-16T10:29:10.270" v="384" actId="207"/>
          <ac:spMkLst>
            <pc:docMk/>
            <pc:sldMk cId="1797796229" sldId="269"/>
            <ac:spMk id="19" creationId="{14C254E0-F9A5-9E03-FDC4-C5C3023C1ECE}"/>
          </ac:spMkLst>
        </pc:spChg>
        <pc:spChg chg="add mod">
          <ac:chgData name="Doering, Floriane Annalena (K-TV/1)" userId="cb3a6d99-feb7-4b8b-940c-af2d4fff6274" providerId="ADAL" clId="{57F5AC47-94BC-4763-85F2-873E46A07A06}" dt="2025-01-16T10:29:17.028" v="385" actId="207"/>
          <ac:spMkLst>
            <pc:docMk/>
            <pc:sldMk cId="1797796229" sldId="269"/>
            <ac:spMk id="20" creationId="{AD830843-B178-193F-C099-F94C7B742DF8}"/>
          </ac:spMkLst>
        </pc:spChg>
        <pc:spChg chg="add mod">
          <ac:chgData name="Doering, Floriane Annalena (K-TV/1)" userId="cb3a6d99-feb7-4b8b-940c-af2d4fff6274" providerId="ADAL" clId="{57F5AC47-94BC-4763-85F2-873E46A07A06}" dt="2025-01-16T16:25:16.512" v="2067"/>
          <ac:spMkLst>
            <pc:docMk/>
            <pc:sldMk cId="1797796229" sldId="269"/>
            <ac:spMk id="21" creationId="{063D16FC-8612-98FE-86FD-91C6345B56EC}"/>
          </ac:spMkLst>
        </pc:spChg>
        <pc:spChg chg="add mod">
          <ac:chgData name="Doering, Floriane Annalena (K-TV/1)" userId="cb3a6d99-feb7-4b8b-940c-af2d4fff6274" providerId="ADAL" clId="{57F5AC47-94BC-4763-85F2-873E46A07A06}" dt="2025-01-16T16:25:16.512" v="2067"/>
          <ac:spMkLst>
            <pc:docMk/>
            <pc:sldMk cId="1797796229" sldId="269"/>
            <ac:spMk id="22" creationId="{42F4E8CD-64B5-BAC9-5291-2CBB162DF7E0}"/>
          </ac:spMkLst>
        </pc:spChg>
        <pc:picChg chg="mod">
          <ac:chgData name="Doering, Floriane Annalena (K-TV/1)" userId="cb3a6d99-feb7-4b8b-940c-af2d4fff6274" providerId="ADAL" clId="{57F5AC47-94BC-4763-85F2-873E46A07A06}" dt="2025-01-16T10:23:52.338" v="301" actId="1076"/>
          <ac:picMkLst>
            <pc:docMk/>
            <pc:sldMk cId="1797796229" sldId="269"/>
            <ac:picMk id="1028" creationId="{0A2E0BAC-7E7C-EB3D-F898-065585887903}"/>
          </ac:picMkLst>
        </pc:picChg>
      </pc:sldChg>
      <pc:sldChg chg="addSp delSp modSp add mod ord">
        <pc:chgData name="Doering, Floriane Annalena (K-TV/1)" userId="cb3a6d99-feb7-4b8b-940c-af2d4fff6274" providerId="ADAL" clId="{57F5AC47-94BC-4763-85F2-873E46A07A06}" dt="2025-01-17T08:38:28.017" v="2423" actId="1076"/>
        <pc:sldMkLst>
          <pc:docMk/>
          <pc:sldMk cId="2296446997" sldId="270"/>
        </pc:sldMkLst>
        <pc:spChg chg="add mod">
          <ac:chgData name="Doering, Floriane Annalena (K-TV/1)" userId="cb3a6d99-feb7-4b8b-940c-af2d4fff6274" providerId="ADAL" clId="{57F5AC47-94BC-4763-85F2-873E46A07A06}" dt="2025-01-17T08:37:05.910" v="2398" actId="1038"/>
          <ac:spMkLst>
            <pc:docMk/>
            <pc:sldMk cId="2296446997" sldId="270"/>
            <ac:spMk id="2" creationId="{9D5A3622-0BF7-D0E8-8BBF-31D0E1ADC75B}"/>
          </ac:spMkLst>
        </pc:spChg>
        <pc:spChg chg="del">
          <ac:chgData name="Doering, Floriane Annalena (K-TV/1)" userId="cb3a6d99-feb7-4b8b-940c-af2d4fff6274" providerId="ADAL" clId="{57F5AC47-94BC-4763-85F2-873E46A07A06}" dt="2025-01-16T16:25:22.498" v="2068" actId="478"/>
          <ac:spMkLst>
            <pc:docMk/>
            <pc:sldMk cId="2296446997" sldId="270"/>
            <ac:spMk id="2" creationId="{FACF68B6-88C4-9BA4-0F06-5E6AC305DB6C}"/>
          </ac:spMkLst>
        </pc:spChg>
        <pc:spChg chg="del">
          <ac:chgData name="Doering, Floriane Annalena (K-TV/1)" userId="cb3a6d99-feb7-4b8b-940c-af2d4fff6274" providerId="ADAL" clId="{57F5AC47-94BC-4763-85F2-873E46A07A06}" dt="2025-01-16T16:25:22.498" v="2068" actId="478"/>
          <ac:spMkLst>
            <pc:docMk/>
            <pc:sldMk cId="2296446997" sldId="270"/>
            <ac:spMk id="3" creationId="{C8CA009A-DDC2-0A93-A814-21824209F01C}"/>
          </ac:spMkLst>
        </pc:spChg>
        <pc:spChg chg="del">
          <ac:chgData name="Doering, Floriane Annalena (K-TV/1)" userId="cb3a6d99-feb7-4b8b-940c-af2d4fff6274" providerId="ADAL" clId="{57F5AC47-94BC-4763-85F2-873E46A07A06}" dt="2025-01-16T15:12:56.230" v="728" actId="478"/>
          <ac:spMkLst>
            <pc:docMk/>
            <pc:sldMk cId="2296446997" sldId="270"/>
            <ac:spMk id="5" creationId="{CCE3D5FD-E69B-3614-13C3-5CAF76DEAD4F}"/>
          </ac:spMkLst>
        </pc:spChg>
        <pc:spChg chg="mod">
          <ac:chgData name="Doering, Floriane Annalena (K-TV/1)" userId="cb3a6d99-feb7-4b8b-940c-af2d4fff6274" providerId="ADAL" clId="{57F5AC47-94BC-4763-85F2-873E46A07A06}" dt="2025-01-17T08:33:54.886" v="2293" actId="20577"/>
          <ac:spMkLst>
            <pc:docMk/>
            <pc:sldMk cId="2296446997" sldId="270"/>
            <ac:spMk id="7" creationId="{81D72BC1-9563-D36D-BF91-8A1F23FAAD89}"/>
          </ac:spMkLst>
        </pc:spChg>
        <pc:spChg chg="add mod">
          <ac:chgData name="Doering, Floriane Annalena (K-TV/1)" userId="cb3a6d99-feb7-4b8b-940c-af2d4fff6274" providerId="ADAL" clId="{57F5AC47-94BC-4763-85F2-873E46A07A06}" dt="2025-01-17T08:38:28.017" v="2423" actId="1076"/>
          <ac:spMkLst>
            <pc:docMk/>
            <pc:sldMk cId="2296446997" sldId="270"/>
            <ac:spMk id="8" creationId="{61878342-05D7-AE82-B71B-D5E3ED11E3E2}"/>
          </ac:spMkLst>
        </pc:spChg>
        <pc:spChg chg="add del mod">
          <ac:chgData name="Doering, Floriane Annalena (K-TV/1)" userId="cb3a6d99-feb7-4b8b-940c-af2d4fff6274" providerId="ADAL" clId="{57F5AC47-94BC-4763-85F2-873E46A07A06}" dt="2025-01-16T16:20:04.386" v="1845"/>
          <ac:spMkLst>
            <pc:docMk/>
            <pc:sldMk cId="2296446997" sldId="270"/>
            <ac:spMk id="12" creationId="{A0F09DB0-846D-F133-2678-0C413F54A965}"/>
          </ac:spMkLst>
        </pc:spChg>
        <pc:spChg chg="add mod">
          <ac:chgData name="Doering, Floriane Annalena (K-TV/1)" userId="cb3a6d99-feb7-4b8b-940c-af2d4fff6274" providerId="ADAL" clId="{57F5AC47-94BC-4763-85F2-873E46A07A06}" dt="2025-01-17T08:35:10.496" v="2338" actId="554"/>
          <ac:spMkLst>
            <pc:docMk/>
            <pc:sldMk cId="2296446997" sldId="270"/>
            <ac:spMk id="13" creationId="{F8D60023-74C1-6AA4-ED32-AD7234439300}"/>
          </ac:spMkLst>
        </pc:spChg>
        <pc:spChg chg="add mod">
          <ac:chgData name="Doering, Floriane Annalena (K-TV/1)" userId="cb3a6d99-feb7-4b8b-940c-af2d4fff6274" providerId="ADAL" clId="{57F5AC47-94BC-4763-85F2-873E46A07A06}" dt="2025-01-16T16:25:23.370" v="2069"/>
          <ac:spMkLst>
            <pc:docMk/>
            <pc:sldMk cId="2296446997" sldId="270"/>
            <ac:spMk id="14" creationId="{C9FEE6D5-0802-37DC-4267-0B3DB8C2F05F}"/>
          </ac:spMkLst>
        </pc:spChg>
        <pc:spChg chg="add mod">
          <ac:chgData name="Doering, Floriane Annalena (K-TV/1)" userId="cb3a6d99-feb7-4b8b-940c-af2d4fff6274" providerId="ADAL" clId="{57F5AC47-94BC-4763-85F2-873E46A07A06}" dt="2025-01-16T16:25:23.370" v="2069"/>
          <ac:spMkLst>
            <pc:docMk/>
            <pc:sldMk cId="2296446997" sldId="270"/>
            <ac:spMk id="15" creationId="{7122FF14-08D8-900B-C268-A7711FD9D061}"/>
          </ac:spMkLst>
        </pc:spChg>
        <pc:picChg chg="add mod">
          <ac:chgData name="Doering, Floriane Annalena (K-TV/1)" userId="cb3a6d99-feb7-4b8b-940c-af2d4fff6274" providerId="ADAL" clId="{57F5AC47-94BC-4763-85F2-873E46A07A06}" dt="2025-01-17T08:34:00.387" v="2295" actId="1076"/>
          <ac:picMkLst>
            <pc:docMk/>
            <pc:sldMk cId="2296446997" sldId="270"/>
            <ac:picMk id="11" creationId="{0CFB9FC7-6B4B-3C4A-44FC-3A7807467C9E}"/>
          </ac:picMkLst>
        </pc:picChg>
        <pc:picChg chg="add del mod">
          <ac:chgData name="Doering, Floriane Annalena (K-TV/1)" userId="cb3a6d99-feb7-4b8b-940c-af2d4fff6274" providerId="ADAL" clId="{57F5AC47-94BC-4763-85F2-873E46A07A06}" dt="2025-01-17T08:35:58.490" v="2343" actId="478"/>
          <ac:picMkLst>
            <pc:docMk/>
            <pc:sldMk cId="2296446997" sldId="270"/>
            <ac:picMk id="1026" creationId="{2C91B228-A6E5-F5B2-D8EA-1DDDA154AE65}"/>
          </ac:picMkLst>
        </pc:picChg>
        <pc:picChg chg="add mod">
          <ac:chgData name="Doering, Floriane Annalena (K-TV/1)" userId="cb3a6d99-feb7-4b8b-940c-af2d4fff6274" providerId="ADAL" clId="{57F5AC47-94BC-4763-85F2-873E46A07A06}" dt="2025-01-17T08:36:17.827" v="2350" actId="1076"/>
          <ac:picMkLst>
            <pc:docMk/>
            <pc:sldMk cId="2296446997" sldId="270"/>
            <ac:picMk id="1028" creationId="{536F48D7-4DED-2867-6235-F8FA865F4ECC}"/>
          </ac:picMkLst>
        </pc:picChg>
      </pc:sldChg>
      <pc:sldChg chg="addSp delSp modSp add mod">
        <pc:chgData name="Doering, Floriane Annalena (K-TV/1)" userId="cb3a6d99-feb7-4b8b-940c-af2d4fff6274" providerId="ADAL" clId="{57F5AC47-94BC-4763-85F2-873E46A07A06}" dt="2025-01-16T16:25:39.534" v="2075"/>
        <pc:sldMkLst>
          <pc:docMk/>
          <pc:sldMk cId="3541127759" sldId="271"/>
        </pc:sldMkLst>
        <pc:spChg chg="del">
          <ac:chgData name="Doering, Floriane Annalena (K-TV/1)" userId="cb3a6d99-feb7-4b8b-940c-af2d4fff6274" providerId="ADAL" clId="{57F5AC47-94BC-4763-85F2-873E46A07A06}" dt="2025-01-16T16:25:38.600" v="2074" actId="478"/>
          <ac:spMkLst>
            <pc:docMk/>
            <pc:sldMk cId="3541127759" sldId="271"/>
            <ac:spMk id="2" creationId="{65B7D466-79EA-BF48-14A1-ACEDE3BD9F8A}"/>
          </ac:spMkLst>
        </pc:spChg>
        <pc:spChg chg="del">
          <ac:chgData name="Doering, Floriane Annalena (K-TV/1)" userId="cb3a6d99-feb7-4b8b-940c-af2d4fff6274" providerId="ADAL" clId="{57F5AC47-94BC-4763-85F2-873E46A07A06}" dt="2025-01-16T16:25:38.600" v="2074" actId="478"/>
          <ac:spMkLst>
            <pc:docMk/>
            <pc:sldMk cId="3541127759" sldId="271"/>
            <ac:spMk id="3" creationId="{5ED90D07-4C44-BD03-01EC-B02C904E8C4D}"/>
          </ac:spMkLst>
        </pc:spChg>
        <pc:spChg chg="mod">
          <ac:chgData name="Doering, Floriane Annalena (K-TV/1)" userId="cb3a6d99-feb7-4b8b-940c-af2d4fff6274" providerId="ADAL" clId="{57F5AC47-94BC-4763-85F2-873E46A07A06}" dt="2025-01-16T15:12:22.762" v="701" actId="20577"/>
          <ac:spMkLst>
            <pc:docMk/>
            <pc:sldMk cId="3541127759" sldId="271"/>
            <ac:spMk id="5" creationId="{BC1B326E-62CD-5432-ED6B-9B08A245FC6E}"/>
          </ac:spMkLst>
        </pc:spChg>
        <pc:spChg chg="mod">
          <ac:chgData name="Doering, Floriane Annalena (K-TV/1)" userId="cb3a6d99-feb7-4b8b-940c-af2d4fff6274" providerId="ADAL" clId="{57F5AC47-94BC-4763-85F2-873E46A07A06}" dt="2025-01-16T15:12:40.284" v="727" actId="20577"/>
          <ac:spMkLst>
            <pc:docMk/>
            <pc:sldMk cId="3541127759" sldId="271"/>
            <ac:spMk id="7" creationId="{37DF0186-CA5E-5DDA-79F5-903DA7B7A25A}"/>
          </ac:spMkLst>
        </pc:spChg>
        <pc:spChg chg="add mod">
          <ac:chgData name="Doering, Floriane Annalena (K-TV/1)" userId="cb3a6d99-feb7-4b8b-940c-af2d4fff6274" providerId="ADAL" clId="{57F5AC47-94BC-4763-85F2-873E46A07A06}" dt="2025-01-16T16:25:39.534" v="2075"/>
          <ac:spMkLst>
            <pc:docMk/>
            <pc:sldMk cId="3541127759" sldId="271"/>
            <ac:spMk id="8" creationId="{F0468057-9841-42D7-7018-E4C0C39409D3}"/>
          </ac:spMkLst>
        </pc:spChg>
        <pc:spChg chg="add mod">
          <ac:chgData name="Doering, Floriane Annalena (K-TV/1)" userId="cb3a6d99-feb7-4b8b-940c-af2d4fff6274" providerId="ADAL" clId="{57F5AC47-94BC-4763-85F2-873E46A07A06}" dt="2025-01-16T16:25:39.534" v="2075"/>
          <ac:spMkLst>
            <pc:docMk/>
            <pc:sldMk cId="3541127759" sldId="271"/>
            <ac:spMk id="9" creationId="{55563B67-8E0C-1284-7FE9-2DB8E45BCEFD}"/>
          </ac:spMkLst>
        </pc:spChg>
      </pc:sldChg>
      <pc:sldChg chg="addSp delSp modSp add mod">
        <pc:chgData name="Doering, Floriane Annalena (K-TV/1)" userId="cb3a6d99-feb7-4b8b-940c-af2d4fff6274" providerId="ADAL" clId="{57F5AC47-94BC-4763-85F2-873E46A07A06}" dt="2025-01-16T16:25:51.275" v="2080"/>
        <pc:sldMkLst>
          <pc:docMk/>
          <pc:sldMk cId="1545272064" sldId="272"/>
        </pc:sldMkLst>
        <pc:spChg chg="del">
          <ac:chgData name="Doering, Floriane Annalena (K-TV/1)" userId="cb3a6d99-feb7-4b8b-940c-af2d4fff6274" providerId="ADAL" clId="{57F5AC47-94BC-4763-85F2-873E46A07A06}" dt="2025-01-16T16:25:50.087" v="2079" actId="478"/>
          <ac:spMkLst>
            <pc:docMk/>
            <pc:sldMk cId="1545272064" sldId="272"/>
            <ac:spMk id="2" creationId="{7BF9A5DF-C6A8-559B-A5EA-EA71D1CAB893}"/>
          </ac:spMkLst>
        </pc:spChg>
        <pc:spChg chg="del">
          <ac:chgData name="Doering, Floriane Annalena (K-TV/1)" userId="cb3a6d99-feb7-4b8b-940c-af2d4fff6274" providerId="ADAL" clId="{57F5AC47-94BC-4763-85F2-873E46A07A06}" dt="2025-01-16T16:25:48.114" v="2078" actId="478"/>
          <ac:spMkLst>
            <pc:docMk/>
            <pc:sldMk cId="1545272064" sldId="272"/>
            <ac:spMk id="3" creationId="{BB2990A6-AF2F-2D7A-EB30-AFA6C56C8E22}"/>
          </ac:spMkLst>
        </pc:spChg>
        <pc:spChg chg="mod">
          <ac:chgData name="Doering, Floriane Annalena (K-TV/1)" userId="cb3a6d99-feb7-4b8b-940c-af2d4fff6274" providerId="ADAL" clId="{57F5AC47-94BC-4763-85F2-873E46A07A06}" dt="2025-01-16T15:14:57.325" v="737" actId="20577"/>
          <ac:spMkLst>
            <pc:docMk/>
            <pc:sldMk cId="1545272064" sldId="272"/>
            <ac:spMk id="5" creationId="{32BE4C56-3B7C-3887-92AB-F6634F524947}"/>
          </ac:spMkLst>
        </pc:spChg>
        <pc:spChg chg="mod">
          <ac:chgData name="Doering, Floriane Annalena (K-TV/1)" userId="cb3a6d99-feb7-4b8b-940c-af2d4fff6274" providerId="ADAL" clId="{57F5AC47-94BC-4763-85F2-873E46A07A06}" dt="2025-01-16T15:15:11.643" v="757" actId="20577"/>
          <ac:spMkLst>
            <pc:docMk/>
            <pc:sldMk cId="1545272064" sldId="272"/>
            <ac:spMk id="7" creationId="{8742F311-20DB-2127-F10E-396A8F3E7EFC}"/>
          </ac:spMkLst>
        </pc:spChg>
        <pc:spChg chg="add mod">
          <ac:chgData name="Doering, Floriane Annalena (K-TV/1)" userId="cb3a6d99-feb7-4b8b-940c-af2d4fff6274" providerId="ADAL" clId="{57F5AC47-94BC-4763-85F2-873E46A07A06}" dt="2025-01-16T16:25:51.275" v="2080"/>
          <ac:spMkLst>
            <pc:docMk/>
            <pc:sldMk cId="1545272064" sldId="272"/>
            <ac:spMk id="8" creationId="{3EB80975-A966-63DC-3C58-C241F430B3F4}"/>
          </ac:spMkLst>
        </pc:spChg>
        <pc:spChg chg="add mod">
          <ac:chgData name="Doering, Floriane Annalena (K-TV/1)" userId="cb3a6d99-feb7-4b8b-940c-af2d4fff6274" providerId="ADAL" clId="{57F5AC47-94BC-4763-85F2-873E46A07A06}" dt="2025-01-16T16:25:51.275" v="2080"/>
          <ac:spMkLst>
            <pc:docMk/>
            <pc:sldMk cId="1545272064" sldId="272"/>
            <ac:spMk id="9" creationId="{50CB7AF2-4677-C78A-F217-46CD7D587605}"/>
          </ac:spMkLst>
        </pc:spChg>
      </pc:sldChg>
      <pc:sldChg chg="addSp modSp add del mod ord">
        <pc:chgData name="Doering, Floriane Annalena (K-TV/1)" userId="cb3a6d99-feb7-4b8b-940c-af2d4fff6274" providerId="ADAL" clId="{57F5AC47-94BC-4763-85F2-873E46A07A06}" dt="2025-01-16T16:19:19.004" v="1836" actId="47"/>
        <pc:sldMkLst>
          <pc:docMk/>
          <pc:sldMk cId="2216066149" sldId="273"/>
        </pc:sldMkLst>
        <pc:spChg chg="mod">
          <ac:chgData name="Doering, Floriane Annalena (K-TV/1)" userId="cb3a6d99-feb7-4b8b-940c-af2d4fff6274" providerId="ADAL" clId="{57F5AC47-94BC-4763-85F2-873E46A07A06}" dt="2025-01-16T15:25:38.338" v="1246" actId="20577"/>
          <ac:spMkLst>
            <pc:docMk/>
            <pc:sldMk cId="2216066149" sldId="273"/>
            <ac:spMk id="5" creationId="{F0D5E1BD-7BF5-9307-A057-874417E0F319}"/>
          </ac:spMkLst>
        </pc:spChg>
        <pc:spChg chg="mod">
          <ac:chgData name="Doering, Floriane Annalena (K-TV/1)" userId="cb3a6d99-feb7-4b8b-940c-af2d4fff6274" providerId="ADAL" clId="{57F5AC47-94BC-4763-85F2-873E46A07A06}" dt="2025-01-16T15:16:43.581" v="765" actId="20577"/>
          <ac:spMkLst>
            <pc:docMk/>
            <pc:sldMk cId="2216066149" sldId="273"/>
            <ac:spMk id="7" creationId="{8D5D67F0-81C9-D6C6-2FA5-182641FFDDC1}"/>
          </ac:spMkLst>
        </pc:spChg>
        <pc:spChg chg="add">
          <ac:chgData name="Doering, Floriane Annalena (K-TV/1)" userId="cb3a6d99-feb7-4b8b-940c-af2d4fff6274" providerId="ADAL" clId="{57F5AC47-94BC-4763-85F2-873E46A07A06}" dt="2025-01-16T15:17:16.621" v="796"/>
          <ac:spMkLst>
            <pc:docMk/>
            <pc:sldMk cId="2216066149" sldId="273"/>
            <ac:spMk id="8" creationId="{DAC55EA9-5638-7ABB-BA87-85E7D60FE038}"/>
          </ac:spMkLst>
        </pc:spChg>
        <pc:spChg chg="add mod">
          <ac:chgData name="Doering, Floriane Annalena (K-TV/1)" userId="cb3a6d99-feb7-4b8b-940c-af2d4fff6274" providerId="ADAL" clId="{57F5AC47-94BC-4763-85F2-873E46A07A06}" dt="2025-01-16T15:39:59.470" v="1299" actId="20577"/>
          <ac:spMkLst>
            <pc:docMk/>
            <pc:sldMk cId="2216066149" sldId="273"/>
            <ac:spMk id="10" creationId="{5E52C554-3A02-8C21-1F3C-CAE5F973C942}"/>
          </ac:spMkLst>
        </pc:spChg>
      </pc:sldChg>
      <pc:sldChg chg="addSp delSp modSp add mod ord">
        <pc:chgData name="Doering, Floriane Annalena (K-TV/1)" userId="cb3a6d99-feb7-4b8b-940c-af2d4fff6274" providerId="ADAL" clId="{57F5AC47-94BC-4763-85F2-873E46A07A06}" dt="2025-01-16T16:25:57.782" v="2083"/>
        <pc:sldMkLst>
          <pc:docMk/>
          <pc:sldMk cId="4081804366" sldId="274"/>
        </pc:sldMkLst>
        <pc:spChg chg="del">
          <ac:chgData name="Doering, Floriane Annalena (K-TV/1)" userId="cb3a6d99-feb7-4b8b-940c-af2d4fff6274" providerId="ADAL" clId="{57F5AC47-94BC-4763-85F2-873E46A07A06}" dt="2025-01-16T16:25:56.949" v="2082" actId="478"/>
          <ac:spMkLst>
            <pc:docMk/>
            <pc:sldMk cId="4081804366" sldId="274"/>
            <ac:spMk id="2" creationId="{42C1EC48-239A-B897-2C72-25D6564617BD}"/>
          </ac:spMkLst>
        </pc:spChg>
        <pc:spChg chg="del">
          <ac:chgData name="Doering, Floriane Annalena (K-TV/1)" userId="cb3a6d99-feb7-4b8b-940c-af2d4fff6274" providerId="ADAL" clId="{57F5AC47-94BC-4763-85F2-873E46A07A06}" dt="2025-01-16T16:25:56.092" v="2081" actId="478"/>
          <ac:spMkLst>
            <pc:docMk/>
            <pc:sldMk cId="4081804366" sldId="274"/>
            <ac:spMk id="3" creationId="{1FDC82EA-FF09-1A6E-749C-3190E229A1A3}"/>
          </ac:spMkLst>
        </pc:spChg>
        <pc:spChg chg="del">
          <ac:chgData name="Doering, Floriane Annalena (K-TV/1)" userId="cb3a6d99-feb7-4b8b-940c-af2d4fff6274" providerId="ADAL" clId="{57F5AC47-94BC-4763-85F2-873E46A07A06}" dt="2025-01-16T15:54:09.991" v="1443" actId="478"/>
          <ac:spMkLst>
            <pc:docMk/>
            <pc:sldMk cId="4081804366" sldId="274"/>
            <ac:spMk id="5" creationId="{51D1786A-3691-4D1C-441D-E2CCA900A1B3}"/>
          </ac:spMkLst>
        </pc:spChg>
        <pc:spChg chg="mod">
          <ac:chgData name="Doering, Floriane Annalena (K-TV/1)" userId="cb3a6d99-feb7-4b8b-940c-af2d4fff6274" providerId="ADAL" clId="{57F5AC47-94BC-4763-85F2-873E46A07A06}" dt="2025-01-16T15:55:01.920" v="1477" actId="948"/>
          <ac:spMkLst>
            <pc:docMk/>
            <pc:sldMk cId="4081804366" sldId="274"/>
            <ac:spMk id="6" creationId="{EAAEA2BD-4D12-4BA1-4438-62D776681456}"/>
          </ac:spMkLst>
        </pc:spChg>
        <pc:spChg chg="mod">
          <ac:chgData name="Doering, Floriane Annalena (K-TV/1)" userId="cb3a6d99-feb7-4b8b-940c-af2d4fff6274" providerId="ADAL" clId="{57F5AC47-94BC-4763-85F2-873E46A07A06}" dt="2025-01-16T15:55:06.978" v="1489" actId="20577"/>
          <ac:spMkLst>
            <pc:docMk/>
            <pc:sldMk cId="4081804366" sldId="274"/>
            <ac:spMk id="7" creationId="{B75D0B4D-1184-A8EB-D9B8-684B2C0EA667}"/>
          </ac:spMkLst>
        </pc:spChg>
        <pc:spChg chg="add mod">
          <ac:chgData name="Doering, Floriane Annalena (K-TV/1)" userId="cb3a6d99-feb7-4b8b-940c-af2d4fff6274" providerId="ADAL" clId="{57F5AC47-94BC-4763-85F2-873E46A07A06}" dt="2025-01-16T16:25:57.782" v="2083"/>
          <ac:spMkLst>
            <pc:docMk/>
            <pc:sldMk cId="4081804366" sldId="274"/>
            <ac:spMk id="12" creationId="{8527D65B-06EB-9D59-7ADB-F671970161E2}"/>
          </ac:spMkLst>
        </pc:spChg>
        <pc:spChg chg="add mod">
          <ac:chgData name="Doering, Floriane Annalena (K-TV/1)" userId="cb3a6d99-feb7-4b8b-940c-af2d4fff6274" providerId="ADAL" clId="{57F5AC47-94BC-4763-85F2-873E46A07A06}" dt="2025-01-16T16:25:57.782" v="2083"/>
          <ac:spMkLst>
            <pc:docMk/>
            <pc:sldMk cId="4081804366" sldId="274"/>
            <ac:spMk id="13" creationId="{6F772179-3C8D-6EF4-72BE-A5D9C3A660B0}"/>
          </ac:spMkLst>
        </pc:spChg>
        <pc:graphicFrameChg chg="add mod ord modVis">
          <ac:chgData name="Doering, Floriane Annalena (K-TV/1)" userId="cb3a6d99-feb7-4b8b-940c-af2d4fff6274" providerId="ADAL" clId="{57F5AC47-94BC-4763-85F2-873E46A07A06}" dt="2025-01-16T15:55:01.924" v="1479"/>
          <ac:graphicFrameMkLst>
            <pc:docMk/>
            <pc:sldMk cId="4081804366" sldId="274"/>
            <ac:graphicFrameMk id="11" creationId="{441A7946-D0DF-4AC0-7A4D-59D4E489B519}"/>
          </ac:graphicFrameMkLst>
        </pc:graphicFrameChg>
        <pc:picChg chg="del">
          <ac:chgData name="Doering, Floriane Annalena (K-TV/1)" userId="cb3a6d99-feb7-4b8b-940c-af2d4fff6274" providerId="ADAL" clId="{57F5AC47-94BC-4763-85F2-873E46A07A06}" dt="2025-01-16T15:54:07.770" v="1442" actId="478"/>
          <ac:picMkLst>
            <pc:docMk/>
            <pc:sldMk cId="4081804366" sldId="274"/>
            <ac:picMk id="9" creationId="{A8D931C6-05E1-833D-AE38-90E1748095AA}"/>
          </ac:picMkLst>
        </pc:picChg>
        <pc:picChg chg="add mod">
          <ac:chgData name="Doering, Floriane Annalena (K-TV/1)" userId="cb3a6d99-feb7-4b8b-940c-af2d4fff6274" providerId="ADAL" clId="{57F5AC47-94BC-4763-85F2-873E46A07A06}" dt="2025-01-16T15:55:14.990" v="1491" actId="1076"/>
          <ac:picMkLst>
            <pc:docMk/>
            <pc:sldMk cId="4081804366" sldId="274"/>
            <ac:picMk id="10" creationId="{EA9EB116-D6BB-1030-E54A-3E35C267E4AA}"/>
          </ac:picMkLst>
        </pc:picChg>
      </pc:sldChg>
      <pc:sldChg chg="addSp delSp modSp new mod">
        <pc:chgData name="Doering, Floriane Annalena (K-TV/1)" userId="cb3a6d99-feb7-4b8b-940c-af2d4fff6274" providerId="ADAL" clId="{57F5AC47-94BC-4763-85F2-873E46A07A06}" dt="2025-01-16T16:23:18.767" v="2012" actId="20577"/>
        <pc:sldMkLst>
          <pc:docMk/>
          <pc:sldMk cId="1764167495" sldId="275"/>
        </pc:sldMkLst>
        <pc:spChg chg="mod">
          <ac:chgData name="Doering, Floriane Annalena (K-TV/1)" userId="cb3a6d99-feb7-4b8b-940c-af2d4fff6274" providerId="ADAL" clId="{57F5AC47-94BC-4763-85F2-873E46A07A06}" dt="2025-01-16T16:23:06.835" v="1966" actId="948"/>
          <ac:spMkLst>
            <pc:docMk/>
            <pc:sldMk cId="1764167495" sldId="275"/>
            <ac:spMk id="2" creationId="{EBFBA7C7-B699-C5A7-1DAF-86DDA51A25B4}"/>
          </ac:spMkLst>
        </pc:spChg>
        <pc:spChg chg="mod">
          <ac:chgData name="Doering, Floriane Annalena (K-TV/1)" userId="cb3a6d99-feb7-4b8b-940c-af2d4fff6274" providerId="ADAL" clId="{57F5AC47-94BC-4763-85F2-873E46A07A06}" dt="2025-01-16T16:23:18.767" v="2012" actId="20577"/>
          <ac:spMkLst>
            <pc:docMk/>
            <pc:sldMk cId="1764167495" sldId="275"/>
            <ac:spMk id="3" creationId="{12024871-DB13-A700-9284-9614A3882CBC}"/>
          </ac:spMkLst>
        </pc:spChg>
        <pc:spChg chg="add del mod modVis">
          <ac:chgData name="Doering, Floriane Annalena (K-TV/1)" userId="cb3a6d99-feb7-4b8b-940c-af2d4fff6274" providerId="ADAL" clId="{57F5AC47-94BC-4763-85F2-873E46A07A06}" dt="2025-01-16T16:22:51.161" v="1882"/>
          <ac:spMkLst>
            <pc:docMk/>
            <pc:sldMk cId="1764167495" sldId="275"/>
            <ac:spMk id="5" creationId="{DA276550-9D61-069C-970C-3D105FE7C605}"/>
          </ac:spMkLst>
        </pc:spChg>
        <pc:spChg chg="add del mod modVis">
          <ac:chgData name="Doering, Floriane Annalena (K-TV/1)" userId="cb3a6d99-feb7-4b8b-940c-af2d4fff6274" providerId="ADAL" clId="{57F5AC47-94BC-4763-85F2-873E46A07A06}" dt="2025-01-16T16:23:01.351" v="1919"/>
          <ac:spMkLst>
            <pc:docMk/>
            <pc:sldMk cId="1764167495" sldId="275"/>
            <ac:spMk id="7" creationId="{1CBE7136-064C-0FFC-555F-12F44C718738}"/>
          </ac:spMkLst>
        </pc:spChg>
        <pc:spChg chg="add del mod modVis">
          <ac:chgData name="Doering, Floriane Annalena (K-TV/1)" userId="cb3a6d99-feb7-4b8b-940c-af2d4fff6274" providerId="ADAL" clId="{57F5AC47-94BC-4763-85F2-873E46A07A06}" dt="2025-01-16T16:23:03.819" v="1951"/>
          <ac:spMkLst>
            <pc:docMk/>
            <pc:sldMk cId="1764167495" sldId="275"/>
            <ac:spMk id="8" creationId="{AFD1C993-F51A-480C-A956-360DFCC44F6F}"/>
          </ac:spMkLst>
        </pc:spChg>
        <pc:spChg chg="add del mod modVis">
          <ac:chgData name="Doering, Floriane Annalena (K-TV/1)" userId="cb3a6d99-feb7-4b8b-940c-af2d4fff6274" providerId="ADAL" clId="{57F5AC47-94BC-4763-85F2-873E46A07A06}" dt="2025-01-16T16:23:06.866" v="1987"/>
          <ac:spMkLst>
            <pc:docMk/>
            <pc:sldMk cId="1764167495" sldId="275"/>
            <ac:spMk id="9" creationId="{2A0B50B7-20D1-578E-07C7-AB1125A1B81D}"/>
          </ac:spMkLst>
        </pc:spChg>
        <pc:graphicFrameChg chg="add mod ord modVis">
          <ac:chgData name="Doering, Floriane Annalena (K-TV/1)" userId="cb3a6d99-feb7-4b8b-940c-af2d4fff6274" providerId="ADAL" clId="{57F5AC47-94BC-4763-85F2-873E46A07A06}" dt="2025-01-16T16:23:06.866" v="1989"/>
          <ac:graphicFrameMkLst>
            <pc:docMk/>
            <pc:sldMk cId="1764167495" sldId="275"/>
            <ac:graphicFrameMk id="6" creationId="{603FDEF5-565F-1D22-F460-71E2A1835F67}"/>
          </ac:graphicFrameMkLst>
        </pc:graphicFrameChg>
      </pc:sldChg>
      <pc:sldChg chg="addSp delSp modSp add mod">
        <pc:chgData name="Doering, Floriane Annalena (K-TV/1)" userId="cb3a6d99-feb7-4b8b-940c-af2d4fff6274" providerId="ADAL" clId="{57F5AC47-94BC-4763-85F2-873E46A07A06}" dt="2025-01-17T08:42:20.320" v="2457" actId="1037"/>
        <pc:sldMkLst>
          <pc:docMk/>
          <pc:sldMk cId="331928267" sldId="276"/>
        </pc:sldMkLst>
        <pc:spChg chg="mod ord">
          <ac:chgData name="Doering, Floriane Annalena (K-TV/1)" userId="cb3a6d99-feb7-4b8b-940c-af2d4fff6274" providerId="ADAL" clId="{57F5AC47-94BC-4763-85F2-873E46A07A06}" dt="2025-01-17T08:42:17.371" v="2435"/>
          <ac:spMkLst>
            <pc:docMk/>
            <pc:sldMk cId="331928267" sldId="276"/>
            <ac:spMk id="4" creationId="{2E00F84E-80F2-B887-704D-31F685895FB2}"/>
          </ac:spMkLst>
        </pc:spChg>
        <pc:spChg chg="mod ord">
          <ac:chgData name="Doering, Floriane Annalena (K-TV/1)" userId="cb3a6d99-feb7-4b8b-940c-af2d4fff6274" providerId="ADAL" clId="{57F5AC47-94BC-4763-85F2-873E46A07A06}" dt="2025-01-17T08:42:17.372" v="2437"/>
          <ac:spMkLst>
            <pc:docMk/>
            <pc:sldMk cId="331928267" sldId="276"/>
            <ac:spMk id="6" creationId="{8FD1B49B-257D-B32A-211D-E7C8D0791E93}"/>
          </ac:spMkLst>
        </pc:spChg>
        <pc:spChg chg="mod ord">
          <ac:chgData name="Doering, Floriane Annalena (K-TV/1)" userId="cb3a6d99-feb7-4b8b-940c-af2d4fff6274" providerId="ADAL" clId="{57F5AC47-94BC-4763-85F2-873E46A07A06}" dt="2025-01-17T08:42:17.372" v="2439"/>
          <ac:spMkLst>
            <pc:docMk/>
            <pc:sldMk cId="331928267" sldId="276"/>
            <ac:spMk id="7" creationId="{8B1AA38B-83C6-CE4C-B24C-0F58D96DD94E}"/>
          </ac:spMkLst>
        </pc:spChg>
        <pc:spChg chg="mod ord">
          <ac:chgData name="Doering, Floriane Annalena (K-TV/1)" userId="cb3a6d99-feb7-4b8b-940c-af2d4fff6274" providerId="ADAL" clId="{57F5AC47-94BC-4763-85F2-873E46A07A06}" dt="2025-01-17T08:42:20.320" v="2457" actId="1037"/>
          <ac:spMkLst>
            <pc:docMk/>
            <pc:sldMk cId="331928267" sldId="276"/>
            <ac:spMk id="10" creationId="{E0C945F1-B9B0-F2EA-04F2-CF14A812F2A0}"/>
          </ac:spMkLst>
        </pc:spChg>
        <pc:spChg chg="mod ord">
          <ac:chgData name="Doering, Floriane Annalena (K-TV/1)" userId="cb3a6d99-feb7-4b8b-940c-af2d4fff6274" providerId="ADAL" clId="{57F5AC47-94BC-4763-85F2-873E46A07A06}" dt="2025-01-17T08:42:20.320" v="2457" actId="1037"/>
          <ac:spMkLst>
            <pc:docMk/>
            <pc:sldMk cId="331928267" sldId="276"/>
            <ac:spMk id="11" creationId="{B56CA6B2-9E16-D1DF-A3AE-3E928DAAD3DD}"/>
          </ac:spMkLst>
        </pc:spChg>
        <pc:spChg chg="mod ord">
          <ac:chgData name="Doering, Floriane Annalena (K-TV/1)" userId="cb3a6d99-feb7-4b8b-940c-af2d4fff6274" providerId="ADAL" clId="{57F5AC47-94BC-4763-85F2-873E46A07A06}" dt="2025-01-17T08:42:20.320" v="2457" actId="1037"/>
          <ac:spMkLst>
            <pc:docMk/>
            <pc:sldMk cId="331928267" sldId="276"/>
            <ac:spMk id="12" creationId="{0B3ED25F-FB11-F9AE-6C9E-2C0213031838}"/>
          </ac:spMkLst>
        </pc:spChg>
        <pc:spChg chg="mod ord">
          <ac:chgData name="Doering, Floriane Annalena (K-TV/1)" userId="cb3a6d99-feb7-4b8b-940c-af2d4fff6274" providerId="ADAL" clId="{57F5AC47-94BC-4763-85F2-873E46A07A06}" dt="2025-01-17T08:42:20.320" v="2457" actId="1037"/>
          <ac:spMkLst>
            <pc:docMk/>
            <pc:sldMk cId="331928267" sldId="276"/>
            <ac:spMk id="13" creationId="{1BD6DAC5-5B5E-0FCE-47D3-0D47FA9BAF8E}"/>
          </ac:spMkLst>
        </pc:spChg>
        <pc:spChg chg="mod ord">
          <ac:chgData name="Doering, Floriane Annalena (K-TV/1)" userId="cb3a6d99-feb7-4b8b-940c-af2d4fff6274" providerId="ADAL" clId="{57F5AC47-94BC-4763-85F2-873E46A07A06}" dt="2025-01-17T08:42:17.373" v="2441"/>
          <ac:spMkLst>
            <pc:docMk/>
            <pc:sldMk cId="331928267" sldId="276"/>
            <ac:spMk id="14" creationId="{AD1BEB50-E842-D1B0-E54E-A105724D267F}"/>
          </ac:spMkLst>
        </pc:spChg>
        <pc:spChg chg="mod ord">
          <ac:chgData name="Doering, Floriane Annalena (K-TV/1)" userId="cb3a6d99-feb7-4b8b-940c-af2d4fff6274" providerId="ADAL" clId="{57F5AC47-94BC-4763-85F2-873E46A07A06}" dt="2025-01-17T08:42:17.374" v="2443"/>
          <ac:spMkLst>
            <pc:docMk/>
            <pc:sldMk cId="331928267" sldId="276"/>
            <ac:spMk id="15" creationId="{AC56393A-0F5A-2E8E-7E41-4DEB71E361C3}"/>
          </ac:spMkLst>
        </pc:spChg>
        <pc:graphicFrameChg chg="mod">
          <ac:chgData name="Doering, Floriane Annalena (K-TV/1)" userId="cb3a6d99-feb7-4b8b-940c-af2d4fff6274" providerId="ADAL" clId="{57F5AC47-94BC-4763-85F2-873E46A07A06}" dt="2025-01-17T08:42:17.382" v="2454"/>
          <ac:graphicFrameMkLst>
            <pc:docMk/>
            <pc:sldMk cId="331928267" sldId="276"/>
            <ac:graphicFrameMk id="8" creationId="{7D81C9A3-070E-B3C4-3DFC-BEE97D70176F}"/>
          </ac:graphicFrameMkLst>
        </pc:graphicFrameChg>
        <pc:picChg chg="add mod">
          <ac:chgData name="Doering, Floriane Annalena (K-TV/1)" userId="cb3a6d99-feb7-4b8b-940c-af2d4fff6274" providerId="ADAL" clId="{57F5AC47-94BC-4763-85F2-873E46A07A06}" dt="2025-01-17T08:42:17.374" v="2444"/>
          <ac:picMkLst>
            <pc:docMk/>
            <pc:sldMk cId="331928267" sldId="276"/>
            <ac:picMk id="2050" creationId="{B4E0E603-5C54-83A4-B30F-CE52384F83B4}"/>
          </ac:picMkLst>
        </pc:picChg>
        <pc:picChg chg="del">
          <ac:chgData name="Doering, Floriane Annalena (K-TV/1)" userId="cb3a6d99-feb7-4b8b-940c-af2d4fff6274" providerId="ADAL" clId="{57F5AC47-94BC-4763-85F2-873E46A07A06}" dt="2025-01-17T08:41:40.445" v="2425" actId="478"/>
          <ac:picMkLst>
            <pc:docMk/>
            <pc:sldMk cId="331928267" sldId="276"/>
            <ac:picMk id="6146" creationId="{698C9C2F-44FF-B17E-F11B-19BFCDFE0830}"/>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8043D8-18E2-B14F-80F3-321A0B7B38AC}" type="datetimeFigureOut">
              <a:rPr lang="en-GB" smtClean="0"/>
              <a:t>17/01/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E00FE9-537A-CA4E-B1FB-A898AEF39DD0}" type="slidenum">
              <a:rPr lang="en-GB" smtClean="0"/>
              <a:t>‹Nr.›</a:t>
            </a:fld>
            <a:endParaRPr lang="en-GB"/>
          </a:p>
        </p:txBody>
      </p:sp>
    </p:spTree>
    <p:extLst>
      <p:ext uri="{BB962C8B-B14F-4D97-AF65-F5344CB8AC3E}">
        <p14:creationId xmlns:p14="http://schemas.microsoft.com/office/powerpoint/2010/main" val="6798195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sv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6" Type="http://schemas.openxmlformats.org/officeDocument/2006/relationships/image" Target="../media/image47.png"/><Relationship Id="rId21" Type="http://schemas.openxmlformats.org/officeDocument/2006/relationships/image" Target="../media/image42.svg"/><Relationship Id="rId34" Type="http://schemas.openxmlformats.org/officeDocument/2006/relationships/image" Target="../media/image55.png"/><Relationship Id="rId42" Type="http://schemas.openxmlformats.org/officeDocument/2006/relationships/image" Target="../media/image63.png"/><Relationship Id="rId47" Type="http://schemas.openxmlformats.org/officeDocument/2006/relationships/image" Target="../media/image68.svg"/><Relationship Id="rId50" Type="http://schemas.openxmlformats.org/officeDocument/2006/relationships/image" Target="../media/image71.png"/><Relationship Id="rId55" Type="http://schemas.openxmlformats.org/officeDocument/2006/relationships/image" Target="../media/image76.svg"/><Relationship Id="rId63" Type="http://schemas.openxmlformats.org/officeDocument/2006/relationships/image" Target="../media/image84.svg"/><Relationship Id="rId7" Type="http://schemas.openxmlformats.org/officeDocument/2006/relationships/image" Target="../media/image28.svg"/><Relationship Id="rId2" Type="http://schemas.openxmlformats.org/officeDocument/2006/relationships/image" Target="../media/image23.png"/><Relationship Id="rId16" Type="http://schemas.openxmlformats.org/officeDocument/2006/relationships/image" Target="../media/image37.png"/><Relationship Id="rId29" Type="http://schemas.openxmlformats.org/officeDocument/2006/relationships/image" Target="../media/image50.svg"/><Relationship Id="rId11" Type="http://schemas.openxmlformats.org/officeDocument/2006/relationships/image" Target="../media/image32.svg"/><Relationship Id="rId24" Type="http://schemas.openxmlformats.org/officeDocument/2006/relationships/image" Target="../media/image45.png"/><Relationship Id="rId32" Type="http://schemas.openxmlformats.org/officeDocument/2006/relationships/image" Target="../media/image53.png"/><Relationship Id="rId37" Type="http://schemas.openxmlformats.org/officeDocument/2006/relationships/image" Target="../media/image58.svg"/><Relationship Id="rId40" Type="http://schemas.openxmlformats.org/officeDocument/2006/relationships/image" Target="../media/image61.png"/><Relationship Id="rId45" Type="http://schemas.openxmlformats.org/officeDocument/2006/relationships/image" Target="../media/image66.svg"/><Relationship Id="rId53" Type="http://schemas.openxmlformats.org/officeDocument/2006/relationships/image" Target="../media/image74.svg"/><Relationship Id="rId58" Type="http://schemas.openxmlformats.org/officeDocument/2006/relationships/image" Target="../media/image79.png"/><Relationship Id="rId5" Type="http://schemas.openxmlformats.org/officeDocument/2006/relationships/image" Target="../media/image26.svg"/><Relationship Id="rId61" Type="http://schemas.openxmlformats.org/officeDocument/2006/relationships/image" Target="../media/image82.svg"/><Relationship Id="rId19" Type="http://schemas.openxmlformats.org/officeDocument/2006/relationships/image" Target="../media/image40.svg"/><Relationship Id="rId14" Type="http://schemas.openxmlformats.org/officeDocument/2006/relationships/image" Target="../media/image35.png"/><Relationship Id="rId22" Type="http://schemas.openxmlformats.org/officeDocument/2006/relationships/image" Target="../media/image43.png"/><Relationship Id="rId27" Type="http://schemas.openxmlformats.org/officeDocument/2006/relationships/image" Target="../media/image48.svg"/><Relationship Id="rId30" Type="http://schemas.openxmlformats.org/officeDocument/2006/relationships/image" Target="../media/image51.png"/><Relationship Id="rId35" Type="http://schemas.openxmlformats.org/officeDocument/2006/relationships/image" Target="../media/image56.svg"/><Relationship Id="rId43" Type="http://schemas.openxmlformats.org/officeDocument/2006/relationships/image" Target="../media/image64.svg"/><Relationship Id="rId48" Type="http://schemas.openxmlformats.org/officeDocument/2006/relationships/image" Target="../media/image69.png"/><Relationship Id="rId56" Type="http://schemas.openxmlformats.org/officeDocument/2006/relationships/image" Target="../media/image77.png"/><Relationship Id="rId64" Type="http://schemas.openxmlformats.org/officeDocument/2006/relationships/image" Target="../media/image85.png"/><Relationship Id="rId8" Type="http://schemas.openxmlformats.org/officeDocument/2006/relationships/image" Target="../media/image29.png"/><Relationship Id="rId51" Type="http://schemas.openxmlformats.org/officeDocument/2006/relationships/image" Target="../media/image72.svg"/><Relationship Id="rId3" Type="http://schemas.openxmlformats.org/officeDocument/2006/relationships/image" Target="../media/image24.svg"/><Relationship Id="rId12" Type="http://schemas.openxmlformats.org/officeDocument/2006/relationships/image" Target="../media/image33.png"/><Relationship Id="rId17" Type="http://schemas.openxmlformats.org/officeDocument/2006/relationships/image" Target="../media/image38.svg"/><Relationship Id="rId25" Type="http://schemas.openxmlformats.org/officeDocument/2006/relationships/image" Target="../media/image46.svg"/><Relationship Id="rId33" Type="http://schemas.openxmlformats.org/officeDocument/2006/relationships/image" Target="../media/image54.svg"/><Relationship Id="rId38" Type="http://schemas.openxmlformats.org/officeDocument/2006/relationships/image" Target="../media/image59.png"/><Relationship Id="rId46" Type="http://schemas.openxmlformats.org/officeDocument/2006/relationships/image" Target="../media/image67.png"/><Relationship Id="rId59" Type="http://schemas.openxmlformats.org/officeDocument/2006/relationships/image" Target="../media/image80.svg"/><Relationship Id="rId20" Type="http://schemas.openxmlformats.org/officeDocument/2006/relationships/image" Target="../media/image41.png"/><Relationship Id="rId41" Type="http://schemas.openxmlformats.org/officeDocument/2006/relationships/image" Target="../media/image62.svg"/><Relationship Id="rId54" Type="http://schemas.openxmlformats.org/officeDocument/2006/relationships/image" Target="../media/image75.png"/><Relationship Id="rId62" Type="http://schemas.openxmlformats.org/officeDocument/2006/relationships/image" Target="../media/image83.png"/><Relationship Id="rId1" Type="http://schemas.openxmlformats.org/officeDocument/2006/relationships/slideMaster" Target="../slideMasters/slideMaster1.xml"/><Relationship Id="rId6" Type="http://schemas.openxmlformats.org/officeDocument/2006/relationships/image" Target="../media/image27.png"/><Relationship Id="rId15" Type="http://schemas.openxmlformats.org/officeDocument/2006/relationships/image" Target="../media/image36.svg"/><Relationship Id="rId23" Type="http://schemas.openxmlformats.org/officeDocument/2006/relationships/image" Target="../media/image44.svg"/><Relationship Id="rId28" Type="http://schemas.openxmlformats.org/officeDocument/2006/relationships/image" Target="../media/image49.png"/><Relationship Id="rId36" Type="http://schemas.openxmlformats.org/officeDocument/2006/relationships/image" Target="../media/image57.png"/><Relationship Id="rId49" Type="http://schemas.openxmlformats.org/officeDocument/2006/relationships/image" Target="../media/image70.svg"/><Relationship Id="rId57" Type="http://schemas.openxmlformats.org/officeDocument/2006/relationships/image" Target="../media/image78.svg"/><Relationship Id="rId10" Type="http://schemas.openxmlformats.org/officeDocument/2006/relationships/image" Target="../media/image31.png"/><Relationship Id="rId31" Type="http://schemas.openxmlformats.org/officeDocument/2006/relationships/image" Target="../media/image52.svg"/><Relationship Id="rId44" Type="http://schemas.openxmlformats.org/officeDocument/2006/relationships/image" Target="../media/image65.png"/><Relationship Id="rId52" Type="http://schemas.openxmlformats.org/officeDocument/2006/relationships/image" Target="../media/image73.png"/><Relationship Id="rId60" Type="http://schemas.openxmlformats.org/officeDocument/2006/relationships/image" Target="../media/image81.png"/><Relationship Id="rId65" Type="http://schemas.openxmlformats.org/officeDocument/2006/relationships/image" Target="../media/image86.svg"/><Relationship Id="rId4" Type="http://schemas.openxmlformats.org/officeDocument/2006/relationships/image" Target="../media/image25.png"/><Relationship Id="rId9" Type="http://schemas.openxmlformats.org/officeDocument/2006/relationships/image" Target="../media/image30.svg"/><Relationship Id="rId13" Type="http://schemas.openxmlformats.org/officeDocument/2006/relationships/image" Target="../media/image34.svg"/><Relationship Id="rId18" Type="http://schemas.openxmlformats.org/officeDocument/2006/relationships/image" Target="../media/image39.png"/><Relationship Id="rId39" Type="http://schemas.openxmlformats.org/officeDocument/2006/relationships/image" Target="../media/image60.svg"/></Relationships>
</file>

<file path=ppt/slideLayouts/_rels/slideLayout43.xml.rels><?xml version="1.0" encoding="UTF-8" standalone="yes"?>
<Relationships xmlns="http://schemas.openxmlformats.org/package/2006/relationships"><Relationship Id="rId13" Type="http://schemas.openxmlformats.org/officeDocument/2006/relationships/image" Target="../media/image98.png"/><Relationship Id="rId18" Type="http://schemas.openxmlformats.org/officeDocument/2006/relationships/image" Target="../media/image103.png"/><Relationship Id="rId26" Type="http://schemas.openxmlformats.org/officeDocument/2006/relationships/image" Target="../media/image111.png"/><Relationship Id="rId3" Type="http://schemas.openxmlformats.org/officeDocument/2006/relationships/image" Target="../media/image88.png"/><Relationship Id="rId21" Type="http://schemas.openxmlformats.org/officeDocument/2006/relationships/image" Target="../media/image106.png"/><Relationship Id="rId7" Type="http://schemas.openxmlformats.org/officeDocument/2006/relationships/image" Target="../media/image92.png"/><Relationship Id="rId12" Type="http://schemas.openxmlformats.org/officeDocument/2006/relationships/image" Target="../media/image97.png"/><Relationship Id="rId17" Type="http://schemas.openxmlformats.org/officeDocument/2006/relationships/image" Target="../media/image102.png"/><Relationship Id="rId25" Type="http://schemas.openxmlformats.org/officeDocument/2006/relationships/image" Target="../media/image110.png"/><Relationship Id="rId33" Type="http://schemas.openxmlformats.org/officeDocument/2006/relationships/image" Target="../media/image117.png"/><Relationship Id="rId2" Type="http://schemas.openxmlformats.org/officeDocument/2006/relationships/image" Target="../media/image87.png"/><Relationship Id="rId16" Type="http://schemas.openxmlformats.org/officeDocument/2006/relationships/image" Target="../media/image101.png"/><Relationship Id="rId20" Type="http://schemas.openxmlformats.org/officeDocument/2006/relationships/image" Target="../media/image105.png"/><Relationship Id="rId29" Type="http://schemas.openxmlformats.org/officeDocument/2006/relationships/image" Target="../media/image113.png"/><Relationship Id="rId1" Type="http://schemas.openxmlformats.org/officeDocument/2006/relationships/slideMaster" Target="../slideMasters/slideMaster1.xml"/><Relationship Id="rId6" Type="http://schemas.openxmlformats.org/officeDocument/2006/relationships/image" Target="../media/image91.png"/><Relationship Id="rId11" Type="http://schemas.openxmlformats.org/officeDocument/2006/relationships/image" Target="../media/image96.png"/><Relationship Id="rId24" Type="http://schemas.openxmlformats.org/officeDocument/2006/relationships/image" Target="../media/image109.png"/><Relationship Id="rId32" Type="http://schemas.openxmlformats.org/officeDocument/2006/relationships/image" Target="../media/image116.png"/><Relationship Id="rId5" Type="http://schemas.openxmlformats.org/officeDocument/2006/relationships/image" Target="../media/image90.png"/><Relationship Id="rId15" Type="http://schemas.openxmlformats.org/officeDocument/2006/relationships/image" Target="../media/image100.png"/><Relationship Id="rId23" Type="http://schemas.openxmlformats.org/officeDocument/2006/relationships/image" Target="../media/image108.png"/><Relationship Id="rId28" Type="http://schemas.openxmlformats.org/officeDocument/2006/relationships/image" Target="../media/image112.gif"/><Relationship Id="rId10" Type="http://schemas.openxmlformats.org/officeDocument/2006/relationships/image" Target="../media/image95.gif"/><Relationship Id="rId19" Type="http://schemas.openxmlformats.org/officeDocument/2006/relationships/image" Target="../media/image104.jpeg"/><Relationship Id="rId31" Type="http://schemas.openxmlformats.org/officeDocument/2006/relationships/image" Target="../media/image115.png"/><Relationship Id="rId4" Type="http://schemas.openxmlformats.org/officeDocument/2006/relationships/image" Target="../media/image89.png"/><Relationship Id="rId9" Type="http://schemas.openxmlformats.org/officeDocument/2006/relationships/image" Target="../media/image94.png"/><Relationship Id="rId14" Type="http://schemas.openxmlformats.org/officeDocument/2006/relationships/image" Target="../media/image99.png"/><Relationship Id="rId22" Type="http://schemas.openxmlformats.org/officeDocument/2006/relationships/image" Target="../media/image107.gif"/><Relationship Id="rId27" Type="http://schemas.openxmlformats.org/officeDocument/2006/relationships/hyperlink" Target="http://www.google.nl/url?sa=i&amp;rct=j&amp;q=&amp;esrc=s&amp;frm=1&amp;source=images&amp;cd=&amp;cad=rja&amp;docid=GtGuvZJxZZFCjM&amp;tbnid=prGIrq8KzZdNgM:&amp;ved=0CAUQjRw&amp;url=http://wallpaperspoints.com/usa-flag-download-hd-wallpapers.html&amp;ei=Ty_tUcKeAYKkPbSAgZAI&amp;bvm=bv.49478099,d.ZWU&amp;psig=AFQjCNFca13bGJchgGQeM97L0M-T27FVMQ&amp;ust=1374585034679531" TargetMode="External"/><Relationship Id="rId30" Type="http://schemas.openxmlformats.org/officeDocument/2006/relationships/image" Target="../media/image114.png"/><Relationship Id="rId8" Type="http://schemas.openxmlformats.org/officeDocument/2006/relationships/image" Target="../media/image93.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group-wiki.wob.vw.vwg/wikis/pages/viewpage.action?pageId=527796483" TargetMode="External"/><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Master" Target="../slideMasters/slideMaster1.xml"/><Relationship Id="rId4" Type="http://schemas.openxmlformats.org/officeDocument/2006/relationships/image" Target="../media/image120.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tro slide Deep Space Blue">
    <p:bg bwMode="grayWhite">
      <p:bgPr>
        <a:solidFill>
          <a:srgbClr val="002733"/>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3AF7D15-C5EC-B7EF-11C9-8D5D1C5D64A7}"/>
              </a:ext>
            </a:extLst>
          </p:cNvPr>
          <p:cNvGrpSpPr/>
          <p:nvPr userDrawn="1"/>
        </p:nvGrpSpPr>
        <p:grpSpPr>
          <a:xfrm>
            <a:off x="2155100" y="3164986"/>
            <a:ext cx="7920000" cy="540000"/>
            <a:chOff x="2155100" y="3164986"/>
            <a:chExt cx="7920000" cy="540000"/>
          </a:xfrm>
        </p:grpSpPr>
        <p:sp>
          <p:nvSpPr>
            <p:cNvPr id="6" name="Rectangle 5">
              <a:extLst>
                <a:ext uri="{FF2B5EF4-FFF2-40B4-BE49-F238E27FC236}">
                  <a16:creationId xmlns:a16="http://schemas.microsoft.com/office/drawing/2014/main" id="{6709D60E-82B8-468E-45D8-48519A6C5C11}"/>
                </a:ext>
              </a:extLst>
            </p:cNvPr>
            <p:cNvSpPr/>
            <p:nvPr userDrawn="1"/>
          </p:nvSpPr>
          <p:spPr>
            <a:xfrm>
              <a:off x="2155100" y="3164986"/>
              <a:ext cx="792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Font typeface="The Group TEXT" panose="020B0604020202020204" pitchFamily="34" charset="0"/>
                <a:buChar char="•"/>
              </a:pPr>
              <a:endParaRPr lang="en-GB" sz="1600">
                <a:solidFill>
                  <a:schemeClr val="tx1"/>
                </a:solidFill>
              </a:endParaRPr>
            </a:p>
          </p:txBody>
        </p:sp>
        <p:pic>
          <p:nvPicPr>
            <p:cNvPr id="10" name="Picture 4">
              <a:extLst>
                <a:ext uri="{FF2B5EF4-FFF2-40B4-BE49-F238E27FC236}">
                  <a16:creationId xmlns:a16="http://schemas.microsoft.com/office/drawing/2014/main" id="{5E45D632-0C65-5D46-F746-CCEA22BBC59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2209800" y="3218498"/>
              <a:ext cx="7772400" cy="421005"/>
            </a:xfrm>
            <a:prstGeom prst="rect">
              <a:avLst/>
            </a:prstGeom>
          </p:spPr>
        </p:pic>
      </p:grpSp>
    </p:spTree>
    <p:extLst>
      <p:ext uri="{BB962C8B-B14F-4D97-AF65-F5344CB8AC3E}">
        <p14:creationId xmlns:p14="http://schemas.microsoft.com/office/powerpoint/2010/main" val="27922036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laceholder">
    <p:bg bwMode="ltGray">
      <p:bgPr>
        <a:solidFill>
          <a:srgbClr val="002733"/>
        </a:solidFill>
        <a:effectLst/>
      </p:bgPr>
    </p:bg>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6F8925C8-33B7-1798-495B-B14F5C4B230F}"/>
              </a:ext>
            </a:extLst>
          </p:cNvPr>
          <p:cNvSpPr>
            <a:spLocks noGrp="1"/>
          </p:cNvSpPr>
          <p:nvPr>
            <p:ph type="pic" sz="quarter" idx="19"/>
          </p:nvPr>
        </p:nvSpPr>
        <p:spPr bwMode="ltGray">
          <a:xfrm>
            <a:off x="0" y="0"/>
            <a:ext cx="12192000" cy="6858000"/>
          </a:xfrm>
        </p:spPr>
        <p:txBody>
          <a:bodyPr/>
          <a:lstStyle>
            <a:lvl1pPr>
              <a:defRPr>
                <a:solidFill>
                  <a:schemeClr val="tx1"/>
                </a:solidFill>
              </a:defRPr>
            </a:lvl1pPr>
          </a:lstStyle>
          <a:p>
            <a:r>
              <a:rPr lang="de-DE"/>
              <a:t>Bild durch Klicken auf Symbol hinzufügen</a:t>
            </a:r>
            <a:endParaRPr lang="en-IN"/>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604850" cy="1495794"/>
          </a:xfrm>
        </p:spPr>
        <p:txBody>
          <a:bodyPr wrap="square" anchor="b">
            <a:spAutoFit/>
          </a:bodyPr>
          <a:lstStyle>
            <a:lvl1pPr algn="l">
              <a:defRPr sz="3600">
                <a:solidFill>
                  <a:schemeClr val="tx1"/>
                </a:solidFill>
              </a:defRPr>
            </a:lvl1pPr>
          </a:lstStyle>
          <a:p>
            <a:r>
              <a:rPr lang="en-US" noProof="0"/>
              <a:t>Title with image in </a:t>
            </a:r>
            <a:br>
              <a:rPr lang="en-US" noProof="0"/>
            </a:br>
            <a:r>
              <a:rPr lang="en-US" noProof="0"/>
              <a:t>The Group Head Light 36pt, </a:t>
            </a:r>
            <a:br>
              <a:rPr lang="en-US" noProof="0"/>
            </a:br>
            <a:r>
              <a:rPr lang="en-US" noProof="0"/>
              <a:t>White, 3+ lines possibl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19" name="Textplatzhalter 8">
            <a:extLst>
              <a:ext uri="{FF2B5EF4-FFF2-40B4-BE49-F238E27FC236}">
                <a16:creationId xmlns:a16="http://schemas.microsoft.com/office/drawing/2014/main" id="{8F66145D-51D4-8F1F-0D6B-23B4F5B692B1}"/>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16" name="Picture 5" descr="A black background with white text&#10;&#10;Description automatically generated with low confidence">
            <a:extLst>
              <a:ext uri="{FF2B5EF4-FFF2-40B4-BE49-F238E27FC236}">
                <a16:creationId xmlns:a16="http://schemas.microsoft.com/office/drawing/2014/main" id="{2BCDF876-6422-5BE1-1522-5572AACDD4F6}"/>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2176931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x Agenda White, Deep Space Blue headlin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Nr.›</a:t>
            </a:fld>
            <a:endParaRPr lang="en-US" noProof="0"/>
          </a:p>
        </p:txBody>
      </p:sp>
      <p:sp>
        <p:nvSpPr>
          <p:cNvPr id="10" name="Textplatzhalter 9">
            <a:extLst>
              <a:ext uri="{FF2B5EF4-FFF2-40B4-BE49-F238E27FC236}">
                <a16:creationId xmlns:a16="http://schemas.microsoft.com/office/drawing/2014/main" id="{85D5B474-9C31-7E04-AEC0-57A8783F9D72}"/>
              </a:ext>
            </a:extLst>
          </p:cNvPr>
          <p:cNvSpPr>
            <a:spLocks noGrp="1"/>
          </p:cNvSpPr>
          <p:nvPr>
            <p:ph type="body" sz="quarter" idx="13" hasCustomPrompt="1"/>
          </p:nvPr>
        </p:nvSpPr>
        <p:spPr bwMode="auto">
          <a:xfrm>
            <a:off x="1217680" y="157594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1" name="Textplatzhalter 9">
            <a:extLst>
              <a:ext uri="{FF2B5EF4-FFF2-40B4-BE49-F238E27FC236}">
                <a16:creationId xmlns:a16="http://schemas.microsoft.com/office/drawing/2014/main" id="{853F7479-9FE2-590E-561D-85CE339D2CA2}"/>
              </a:ext>
            </a:extLst>
          </p:cNvPr>
          <p:cNvSpPr>
            <a:spLocks noGrp="1"/>
          </p:cNvSpPr>
          <p:nvPr>
            <p:ph type="body" sz="quarter" idx="14" hasCustomPrompt="1"/>
          </p:nvPr>
        </p:nvSpPr>
        <p:spPr bwMode="auto">
          <a:xfrm>
            <a:off x="1688854" y="157594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2" name="Textplatzhalter 9">
            <a:extLst>
              <a:ext uri="{FF2B5EF4-FFF2-40B4-BE49-F238E27FC236}">
                <a16:creationId xmlns:a16="http://schemas.microsoft.com/office/drawing/2014/main" id="{A3B37853-C8D2-6C37-69BB-B1BD5DE82063}"/>
              </a:ext>
            </a:extLst>
          </p:cNvPr>
          <p:cNvSpPr>
            <a:spLocks noGrp="1"/>
          </p:cNvSpPr>
          <p:nvPr>
            <p:ph type="body" sz="quarter" idx="15" hasCustomPrompt="1"/>
          </p:nvPr>
        </p:nvSpPr>
        <p:spPr bwMode="auto">
          <a:xfrm>
            <a:off x="1217680" y="203274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3" name="Textplatzhalter 9">
            <a:extLst>
              <a:ext uri="{FF2B5EF4-FFF2-40B4-BE49-F238E27FC236}">
                <a16:creationId xmlns:a16="http://schemas.microsoft.com/office/drawing/2014/main" id="{6E7FA026-F807-4B72-4A63-D2E2470A723E}"/>
              </a:ext>
            </a:extLst>
          </p:cNvPr>
          <p:cNvSpPr>
            <a:spLocks noGrp="1"/>
          </p:cNvSpPr>
          <p:nvPr>
            <p:ph type="body" sz="quarter" idx="16" hasCustomPrompt="1"/>
          </p:nvPr>
        </p:nvSpPr>
        <p:spPr bwMode="auto">
          <a:xfrm>
            <a:off x="1688854" y="203274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4" name="Textplatzhalter 9">
            <a:extLst>
              <a:ext uri="{FF2B5EF4-FFF2-40B4-BE49-F238E27FC236}">
                <a16:creationId xmlns:a16="http://schemas.microsoft.com/office/drawing/2014/main" id="{5B6625F7-825F-D754-32B3-283C740BD045}"/>
              </a:ext>
            </a:extLst>
          </p:cNvPr>
          <p:cNvSpPr>
            <a:spLocks noGrp="1"/>
          </p:cNvSpPr>
          <p:nvPr>
            <p:ph type="body" sz="quarter" idx="17" hasCustomPrompt="1"/>
          </p:nvPr>
        </p:nvSpPr>
        <p:spPr bwMode="auto">
          <a:xfrm>
            <a:off x="1217680" y="248955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5" name="Textplatzhalter 9">
            <a:extLst>
              <a:ext uri="{FF2B5EF4-FFF2-40B4-BE49-F238E27FC236}">
                <a16:creationId xmlns:a16="http://schemas.microsoft.com/office/drawing/2014/main" id="{B6893DA3-F543-7D83-1852-71272CEFEE9C}"/>
              </a:ext>
            </a:extLst>
          </p:cNvPr>
          <p:cNvSpPr>
            <a:spLocks noGrp="1"/>
          </p:cNvSpPr>
          <p:nvPr>
            <p:ph type="body" sz="quarter" idx="18" hasCustomPrompt="1"/>
          </p:nvPr>
        </p:nvSpPr>
        <p:spPr bwMode="auto">
          <a:xfrm>
            <a:off x="1688854" y="248955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6" name="Textplatzhalter 9">
            <a:extLst>
              <a:ext uri="{FF2B5EF4-FFF2-40B4-BE49-F238E27FC236}">
                <a16:creationId xmlns:a16="http://schemas.microsoft.com/office/drawing/2014/main" id="{98BC5DC7-35B0-F1E1-D52E-96EB64E2D2FA}"/>
              </a:ext>
            </a:extLst>
          </p:cNvPr>
          <p:cNvSpPr>
            <a:spLocks noGrp="1"/>
          </p:cNvSpPr>
          <p:nvPr>
            <p:ph type="body" sz="quarter" idx="19" hasCustomPrompt="1"/>
          </p:nvPr>
        </p:nvSpPr>
        <p:spPr bwMode="auto">
          <a:xfrm>
            <a:off x="1217680" y="294635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7" name="Textplatzhalter 9">
            <a:extLst>
              <a:ext uri="{FF2B5EF4-FFF2-40B4-BE49-F238E27FC236}">
                <a16:creationId xmlns:a16="http://schemas.microsoft.com/office/drawing/2014/main" id="{ABD6681E-E964-3CDB-FF05-A96B589BE6CF}"/>
              </a:ext>
            </a:extLst>
          </p:cNvPr>
          <p:cNvSpPr>
            <a:spLocks noGrp="1"/>
          </p:cNvSpPr>
          <p:nvPr>
            <p:ph type="body" sz="quarter" idx="20" hasCustomPrompt="1"/>
          </p:nvPr>
        </p:nvSpPr>
        <p:spPr bwMode="auto">
          <a:xfrm>
            <a:off x="1688854" y="294635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8" name="Textplatzhalter 9">
            <a:extLst>
              <a:ext uri="{FF2B5EF4-FFF2-40B4-BE49-F238E27FC236}">
                <a16:creationId xmlns:a16="http://schemas.microsoft.com/office/drawing/2014/main" id="{DC89288B-3599-AA7D-A741-542BDBA15847}"/>
              </a:ext>
            </a:extLst>
          </p:cNvPr>
          <p:cNvSpPr>
            <a:spLocks noGrp="1"/>
          </p:cNvSpPr>
          <p:nvPr>
            <p:ph type="body" sz="quarter" idx="21" hasCustomPrompt="1"/>
          </p:nvPr>
        </p:nvSpPr>
        <p:spPr bwMode="auto">
          <a:xfrm>
            <a:off x="1217680" y="3403164"/>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9" name="Textplatzhalter 9">
            <a:extLst>
              <a:ext uri="{FF2B5EF4-FFF2-40B4-BE49-F238E27FC236}">
                <a16:creationId xmlns:a16="http://schemas.microsoft.com/office/drawing/2014/main" id="{F148C53B-BEC7-CF57-EF73-F3005E7E5E48}"/>
              </a:ext>
            </a:extLst>
          </p:cNvPr>
          <p:cNvSpPr>
            <a:spLocks noGrp="1"/>
          </p:cNvSpPr>
          <p:nvPr>
            <p:ph type="body" sz="quarter" idx="22" hasCustomPrompt="1"/>
          </p:nvPr>
        </p:nvSpPr>
        <p:spPr bwMode="auto">
          <a:xfrm>
            <a:off x="1688854" y="3403164"/>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0" name="Textplatzhalter 9">
            <a:extLst>
              <a:ext uri="{FF2B5EF4-FFF2-40B4-BE49-F238E27FC236}">
                <a16:creationId xmlns:a16="http://schemas.microsoft.com/office/drawing/2014/main" id="{719CA561-C3C5-ECF8-F94E-8F9AEF2CD485}"/>
              </a:ext>
            </a:extLst>
          </p:cNvPr>
          <p:cNvSpPr>
            <a:spLocks noGrp="1"/>
          </p:cNvSpPr>
          <p:nvPr>
            <p:ph type="body" sz="quarter" idx="23" hasCustomPrompt="1"/>
          </p:nvPr>
        </p:nvSpPr>
        <p:spPr bwMode="auto">
          <a:xfrm>
            <a:off x="1217680" y="385997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1" name="Textplatzhalter 9">
            <a:extLst>
              <a:ext uri="{FF2B5EF4-FFF2-40B4-BE49-F238E27FC236}">
                <a16:creationId xmlns:a16="http://schemas.microsoft.com/office/drawing/2014/main" id="{2C872141-AD71-D8AA-F169-A5C7EDB460AA}"/>
              </a:ext>
            </a:extLst>
          </p:cNvPr>
          <p:cNvSpPr>
            <a:spLocks noGrp="1"/>
          </p:cNvSpPr>
          <p:nvPr>
            <p:ph type="body" sz="quarter" idx="24" hasCustomPrompt="1"/>
          </p:nvPr>
        </p:nvSpPr>
        <p:spPr bwMode="auto">
          <a:xfrm>
            <a:off x="1688854" y="385997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2" name="Textplatzhalter 9">
            <a:extLst>
              <a:ext uri="{FF2B5EF4-FFF2-40B4-BE49-F238E27FC236}">
                <a16:creationId xmlns:a16="http://schemas.microsoft.com/office/drawing/2014/main" id="{42A0BD6D-AB85-A42C-1412-F50A32AFD9CE}"/>
              </a:ext>
            </a:extLst>
          </p:cNvPr>
          <p:cNvSpPr>
            <a:spLocks noGrp="1"/>
          </p:cNvSpPr>
          <p:nvPr>
            <p:ph type="body" sz="quarter" idx="25" hasCustomPrompt="1"/>
          </p:nvPr>
        </p:nvSpPr>
        <p:spPr bwMode="auto">
          <a:xfrm>
            <a:off x="1217680" y="431677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3" name="Textplatzhalter 9">
            <a:extLst>
              <a:ext uri="{FF2B5EF4-FFF2-40B4-BE49-F238E27FC236}">
                <a16:creationId xmlns:a16="http://schemas.microsoft.com/office/drawing/2014/main" id="{819DBABE-ACB2-C090-F6CC-87CBBDA58FA3}"/>
              </a:ext>
            </a:extLst>
          </p:cNvPr>
          <p:cNvSpPr>
            <a:spLocks noGrp="1"/>
          </p:cNvSpPr>
          <p:nvPr>
            <p:ph type="body" sz="quarter" idx="26" hasCustomPrompt="1"/>
          </p:nvPr>
        </p:nvSpPr>
        <p:spPr bwMode="auto">
          <a:xfrm>
            <a:off x="1688854" y="431677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4" name="Textplatzhalter 9">
            <a:extLst>
              <a:ext uri="{FF2B5EF4-FFF2-40B4-BE49-F238E27FC236}">
                <a16:creationId xmlns:a16="http://schemas.microsoft.com/office/drawing/2014/main" id="{F49BC8D0-8A36-668E-8B35-558977DEFA14}"/>
              </a:ext>
            </a:extLst>
          </p:cNvPr>
          <p:cNvSpPr>
            <a:spLocks noGrp="1"/>
          </p:cNvSpPr>
          <p:nvPr>
            <p:ph type="body" sz="quarter" idx="27" hasCustomPrompt="1"/>
          </p:nvPr>
        </p:nvSpPr>
        <p:spPr bwMode="auto">
          <a:xfrm>
            <a:off x="1217680" y="477358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5" name="Textplatzhalter 9">
            <a:extLst>
              <a:ext uri="{FF2B5EF4-FFF2-40B4-BE49-F238E27FC236}">
                <a16:creationId xmlns:a16="http://schemas.microsoft.com/office/drawing/2014/main" id="{196B8740-15E9-F0DC-7C07-3FABD55AC1BC}"/>
              </a:ext>
            </a:extLst>
          </p:cNvPr>
          <p:cNvSpPr>
            <a:spLocks noGrp="1"/>
          </p:cNvSpPr>
          <p:nvPr>
            <p:ph type="body" sz="quarter" idx="28" hasCustomPrompt="1"/>
          </p:nvPr>
        </p:nvSpPr>
        <p:spPr bwMode="auto">
          <a:xfrm>
            <a:off x="1688854" y="477358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6" name="Textplatzhalter 9">
            <a:extLst>
              <a:ext uri="{FF2B5EF4-FFF2-40B4-BE49-F238E27FC236}">
                <a16:creationId xmlns:a16="http://schemas.microsoft.com/office/drawing/2014/main" id="{7A3FBD83-B6AE-A0D2-F092-D70D71091E2C}"/>
              </a:ext>
            </a:extLst>
          </p:cNvPr>
          <p:cNvSpPr>
            <a:spLocks noGrp="1"/>
          </p:cNvSpPr>
          <p:nvPr>
            <p:ph type="body" sz="quarter" idx="29" hasCustomPrompt="1"/>
          </p:nvPr>
        </p:nvSpPr>
        <p:spPr bwMode="auto">
          <a:xfrm>
            <a:off x="1217680" y="523038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7" name="Textplatzhalter 9">
            <a:extLst>
              <a:ext uri="{FF2B5EF4-FFF2-40B4-BE49-F238E27FC236}">
                <a16:creationId xmlns:a16="http://schemas.microsoft.com/office/drawing/2014/main" id="{654DF231-D9E3-7E30-F4E7-1BAB70654B5B}"/>
              </a:ext>
            </a:extLst>
          </p:cNvPr>
          <p:cNvSpPr>
            <a:spLocks noGrp="1"/>
          </p:cNvSpPr>
          <p:nvPr>
            <p:ph type="body" sz="quarter" idx="30" hasCustomPrompt="1"/>
          </p:nvPr>
        </p:nvSpPr>
        <p:spPr bwMode="auto">
          <a:xfrm>
            <a:off x="1688854" y="523038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8" name="Textplatzhalter 9">
            <a:extLst>
              <a:ext uri="{FF2B5EF4-FFF2-40B4-BE49-F238E27FC236}">
                <a16:creationId xmlns:a16="http://schemas.microsoft.com/office/drawing/2014/main" id="{8C6F06D0-EFCB-F7DA-318A-C4B31B60F991}"/>
              </a:ext>
            </a:extLst>
          </p:cNvPr>
          <p:cNvSpPr>
            <a:spLocks noGrp="1"/>
          </p:cNvSpPr>
          <p:nvPr>
            <p:ph type="body" sz="quarter" idx="31" hasCustomPrompt="1"/>
          </p:nvPr>
        </p:nvSpPr>
        <p:spPr bwMode="auto">
          <a:xfrm>
            <a:off x="1217680" y="568719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9" name="Textplatzhalter 9">
            <a:extLst>
              <a:ext uri="{FF2B5EF4-FFF2-40B4-BE49-F238E27FC236}">
                <a16:creationId xmlns:a16="http://schemas.microsoft.com/office/drawing/2014/main" id="{F708F355-893B-11D0-171B-7CBA24AB9770}"/>
              </a:ext>
            </a:extLst>
          </p:cNvPr>
          <p:cNvSpPr>
            <a:spLocks noGrp="1"/>
          </p:cNvSpPr>
          <p:nvPr>
            <p:ph type="body" sz="quarter" idx="32" hasCustomPrompt="1"/>
          </p:nvPr>
        </p:nvSpPr>
        <p:spPr bwMode="auto">
          <a:xfrm>
            <a:off x="1688854" y="568719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6" name="Title 5">
            <a:extLst>
              <a:ext uri="{FF2B5EF4-FFF2-40B4-BE49-F238E27FC236}">
                <a16:creationId xmlns:a16="http://schemas.microsoft.com/office/drawing/2014/main" id="{E395E38B-3CB7-B3A9-30BD-62525B1B88C7}"/>
              </a:ext>
            </a:extLst>
          </p:cNvPr>
          <p:cNvSpPr>
            <a:spLocks noGrp="1"/>
          </p:cNvSpPr>
          <p:nvPr>
            <p:ph type="title" hasCustomPrompt="1"/>
          </p:nvPr>
        </p:nvSpPr>
        <p:spPr bwMode="auto">
          <a:xfrm>
            <a:off x="407987" y="644520"/>
            <a:ext cx="11376021" cy="387798"/>
          </a:xfrm>
        </p:spPr>
        <p:txBody>
          <a:bodyPr/>
          <a:lstStyle>
            <a:lvl1pPr>
              <a:defRPr>
                <a:solidFill>
                  <a:srgbClr val="002733"/>
                </a:solidFill>
              </a:defRPr>
            </a:lvl1pPr>
          </a:lstStyle>
          <a:p>
            <a:r>
              <a:rPr lang="en-GB"/>
              <a:t>Agenda title in The Group Head Light 28pt, Deep Space Blue</a:t>
            </a:r>
          </a:p>
        </p:txBody>
      </p:sp>
    </p:spTree>
    <p:extLst>
      <p:ext uri="{BB962C8B-B14F-4D97-AF65-F5344CB8AC3E}">
        <p14:creationId xmlns:p14="http://schemas.microsoft.com/office/powerpoint/2010/main" val="914523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x Agenda White, Vivid Green headlin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Nr.›</a:t>
            </a:fld>
            <a:endParaRPr lang="en-US" noProof="0"/>
          </a:p>
        </p:txBody>
      </p:sp>
      <p:sp>
        <p:nvSpPr>
          <p:cNvPr id="10" name="Textplatzhalter 9">
            <a:extLst>
              <a:ext uri="{FF2B5EF4-FFF2-40B4-BE49-F238E27FC236}">
                <a16:creationId xmlns:a16="http://schemas.microsoft.com/office/drawing/2014/main" id="{85D5B474-9C31-7E04-AEC0-57A8783F9D72}"/>
              </a:ext>
            </a:extLst>
          </p:cNvPr>
          <p:cNvSpPr>
            <a:spLocks noGrp="1"/>
          </p:cNvSpPr>
          <p:nvPr>
            <p:ph type="body" sz="quarter" idx="13" hasCustomPrompt="1"/>
          </p:nvPr>
        </p:nvSpPr>
        <p:spPr bwMode="auto">
          <a:xfrm>
            <a:off x="1217680" y="157594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1" name="Textplatzhalter 9">
            <a:extLst>
              <a:ext uri="{FF2B5EF4-FFF2-40B4-BE49-F238E27FC236}">
                <a16:creationId xmlns:a16="http://schemas.microsoft.com/office/drawing/2014/main" id="{853F7479-9FE2-590E-561D-85CE339D2CA2}"/>
              </a:ext>
            </a:extLst>
          </p:cNvPr>
          <p:cNvSpPr>
            <a:spLocks noGrp="1"/>
          </p:cNvSpPr>
          <p:nvPr>
            <p:ph type="body" sz="quarter" idx="14" hasCustomPrompt="1"/>
          </p:nvPr>
        </p:nvSpPr>
        <p:spPr bwMode="auto">
          <a:xfrm>
            <a:off x="1688854" y="157594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2" name="Textplatzhalter 9">
            <a:extLst>
              <a:ext uri="{FF2B5EF4-FFF2-40B4-BE49-F238E27FC236}">
                <a16:creationId xmlns:a16="http://schemas.microsoft.com/office/drawing/2014/main" id="{A3B37853-C8D2-6C37-69BB-B1BD5DE82063}"/>
              </a:ext>
            </a:extLst>
          </p:cNvPr>
          <p:cNvSpPr>
            <a:spLocks noGrp="1"/>
          </p:cNvSpPr>
          <p:nvPr>
            <p:ph type="body" sz="quarter" idx="15" hasCustomPrompt="1"/>
          </p:nvPr>
        </p:nvSpPr>
        <p:spPr bwMode="auto">
          <a:xfrm>
            <a:off x="1217680" y="203274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3" name="Textplatzhalter 9">
            <a:extLst>
              <a:ext uri="{FF2B5EF4-FFF2-40B4-BE49-F238E27FC236}">
                <a16:creationId xmlns:a16="http://schemas.microsoft.com/office/drawing/2014/main" id="{6E7FA026-F807-4B72-4A63-D2E2470A723E}"/>
              </a:ext>
            </a:extLst>
          </p:cNvPr>
          <p:cNvSpPr>
            <a:spLocks noGrp="1"/>
          </p:cNvSpPr>
          <p:nvPr>
            <p:ph type="body" sz="quarter" idx="16" hasCustomPrompt="1"/>
          </p:nvPr>
        </p:nvSpPr>
        <p:spPr bwMode="auto">
          <a:xfrm>
            <a:off x="1688854" y="203274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4" name="Textplatzhalter 9">
            <a:extLst>
              <a:ext uri="{FF2B5EF4-FFF2-40B4-BE49-F238E27FC236}">
                <a16:creationId xmlns:a16="http://schemas.microsoft.com/office/drawing/2014/main" id="{5B6625F7-825F-D754-32B3-283C740BD045}"/>
              </a:ext>
            </a:extLst>
          </p:cNvPr>
          <p:cNvSpPr>
            <a:spLocks noGrp="1"/>
          </p:cNvSpPr>
          <p:nvPr>
            <p:ph type="body" sz="quarter" idx="17" hasCustomPrompt="1"/>
          </p:nvPr>
        </p:nvSpPr>
        <p:spPr bwMode="auto">
          <a:xfrm>
            <a:off x="1217680" y="248955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5" name="Textplatzhalter 9">
            <a:extLst>
              <a:ext uri="{FF2B5EF4-FFF2-40B4-BE49-F238E27FC236}">
                <a16:creationId xmlns:a16="http://schemas.microsoft.com/office/drawing/2014/main" id="{B6893DA3-F543-7D83-1852-71272CEFEE9C}"/>
              </a:ext>
            </a:extLst>
          </p:cNvPr>
          <p:cNvSpPr>
            <a:spLocks noGrp="1"/>
          </p:cNvSpPr>
          <p:nvPr>
            <p:ph type="body" sz="quarter" idx="18" hasCustomPrompt="1"/>
          </p:nvPr>
        </p:nvSpPr>
        <p:spPr bwMode="auto">
          <a:xfrm>
            <a:off x="1688854" y="248955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6" name="Textplatzhalter 9">
            <a:extLst>
              <a:ext uri="{FF2B5EF4-FFF2-40B4-BE49-F238E27FC236}">
                <a16:creationId xmlns:a16="http://schemas.microsoft.com/office/drawing/2014/main" id="{98BC5DC7-35B0-F1E1-D52E-96EB64E2D2FA}"/>
              </a:ext>
            </a:extLst>
          </p:cNvPr>
          <p:cNvSpPr>
            <a:spLocks noGrp="1"/>
          </p:cNvSpPr>
          <p:nvPr>
            <p:ph type="body" sz="quarter" idx="19" hasCustomPrompt="1"/>
          </p:nvPr>
        </p:nvSpPr>
        <p:spPr bwMode="auto">
          <a:xfrm>
            <a:off x="1217680" y="294635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7" name="Textplatzhalter 9">
            <a:extLst>
              <a:ext uri="{FF2B5EF4-FFF2-40B4-BE49-F238E27FC236}">
                <a16:creationId xmlns:a16="http://schemas.microsoft.com/office/drawing/2014/main" id="{ABD6681E-E964-3CDB-FF05-A96B589BE6CF}"/>
              </a:ext>
            </a:extLst>
          </p:cNvPr>
          <p:cNvSpPr>
            <a:spLocks noGrp="1"/>
          </p:cNvSpPr>
          <p:nvPr>
            <p:ph type="body" sz="quarter" idx="20" hasCustomPrompt="1"/>
          </p:nvPr>
        </p:nvSpPr>
        <p:spPr bwMode="auto">
          <a:xfrm>
            <a:off x="1688854" y="294635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8" name="Textplatzhalter 9">
            <a:extLst>
              <a:ext uri="{FF2B5EF4-FFF2-40B4-BE49-F238E27FC236}">
                <a16:creationId xmlns:a16="http://schemas.microsoft.com/office/drawing/2014/main" id="{DC89288B-3599-AA7D-A741-542BDBA15847}"/>
              </a:ext>
            </a:extLst>
          </p:cNvPr>
          <p:cNvSpPr>
            <a:spLocks noGrp="1"/>
          </p:cNvSpPr>
          <p:nvPr>
            <p:ph type="body" sz="quarter" idx="21" hasCustomPrompt="1"/>
          </p:nvPr>
        </p:nvSpPr>
        <p:spPr bwMode="auto">
          <a:xfrm>
            <a:off x="1217680" y="3403164"/>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9" name="Textplatzhalter 9">
            <a:extLst>
              <a:ext uri="{FF2B5EF4-FFF2-40B4-BE49-F238E27FC236}">
                <a16:creationId xmlns:a16="http://schemas.microsoft.com/office/drawing/2014/main" id="{F148C53B-BEC7-CF57-EF73-F3005E7E5E48}"/>
              </a:ext>
            </a:extLst>
          </p:cNvPr>
          <p:cNvSpPr>
            <a:spLocks noGrp="1"/>
          </p:cNvSpPr>
          <p:nvPr>
            <p:ph type="body" sz="quarter" idx="22" hasCustomPrompt="1"/>
          </p:nvPr>
        </p:nvSpPr>
        <p:spPr bwMode="auto">
          <a:xfrm>
            <a:off x="1688854" y="3403164"/>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0" name="Textplatzhalter 9">
            <a:extLst>
              <a:ext uri="{FF2B5EF4-FFF2-40B4-BE49-F238E27FC236}">
                <a16:creationId xmlns:a16="http://schemas.microsoft.com/office/drawing/2014/main" id="{719CA561-C3C5-ECF8-F94E-8F9AEF2CD485}"/>
              </a:ext>
            </a:extLst>
          </p:cNvPr>
          <p:cNvSpPr>
            <a:spLocks noGrp="1"/>
          </p:cNvSpPr>
          <p:nvPr>
            <p:ph type="body" sz="quarter" idx="23" hasCustomPrompt="1"/>
          </p:nvPr>
        </p:nvSpPr>
        <p:spPr bwMode="auto">
          <a:xfrm>
            <a:off x="1217680" y="385997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1" name="Textplatzhalter 9">
            <a:extLst>
              <a:ext uri="{FF2B5EF4-FFF2-40B4-BE49-F238E27FC236}">
                <a16:creationId xmlns:a16="http://schemas.microsoft.com/office/drawing/2014/main" id="{2C872141-AD71-D8AA-F169-A5C7EDB460AA}"/>
              </a:ext>
            </a:extLst>
          </p:cNvPr>
          <p:cNvSpPr>
            <a:spLocks noGrp="1"/>
          </p:cNvSpPr>
          <p:nvPr>
            <p:ph type="body" sz="quarter" idx="24" hasCustomPrompt="1"/>
          </p:nvPr>
        </p:nvSpPr>
        <p:spPr bwMode="auto">
          <a:xfrm>
            <a:off x="1688854" y="385997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2" name="Textplatzhalter 9">
            <a:extLst>
              <a:ext uri="{FF2B5EF4-FFF2-40B4-BE49-F238E27FC236}">
                <a16:creationId xmlns:a16="http://schemas.microsoft.com/office/drawing/2014/main" id="{42A0BD6D-AB85-A42C-1412-F50A32AFD9CE}"/>
              </a:ext>
            </a:extLst>
          </p:cNvPr>
          <p:cNvSpPr>
            <a:spLocks noGrp="1"/>
          </p:cNvSpPr>
          <p:nvPr>
            <p:ph type="body" sz="quarter" idx="25" hasCustomPrompt="1"/>
          </p:nvPr>
        </p:nvSpPr>
        <p:spPr bwMode="auto">
          <a:xfrm>
            <a:off x="1217680" y="431677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3" name="Textplatzhalter 9">
            <a:extLst>
              <a:ext uri="{FF2B5EF4-FFF2-40B4-BE49-F238E27FC236}">
                <a16:creationId xmlns:a16="http://schemas.microsoft.com/office/drawing/2014/main" id="{819DBABE-ACB2-C090-F6CC-87CBBDA58FA3}"/>
              </a:ext>
            </a:extLst>
          </p:cNvPr>
          <p:cNvSpPr>
            <a:spLocks noGrp="1"/>
          </p:cNvSpPr>
          <p:nvPr>
            <p:ph type="body" sz="quarter" idx="26" hasCustomPrompt="1"/>
          </p:nvPr>
        </p:nvSpPr>
        <p:spPr bwMode="auto">
          <a:xfrm>
            <a:off x="1688854" y="431677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4" name="Textplatzhalter 9">
            <a:extLst>
              <a:ext uri="{FF2B5EF4-FFF2-40B4-BE49-F238E27FC236}">
                <a16:creationId xmlns:a16="http://schemas.microsoft.com/office/drawing/2014/main" id="{F49BC8D0-8A36-668E-8B35-558977DEFA14}"/>
              </a:ext>
            </a:extLst>
          </p:cNvPr>
          <p:cNvSpPr>
            <a:spLocks noGrp="1"/>
          </p:cNvSpPr>
          <p:nvPr>
            <p:ph type="body" sz="quarter" idx="27" hasCustomPrompt="1"/>
          </p:nvPr>
        </p:nvSpPr>
        <p:spPr bwMode="auto">
          <a:xfrm>
            <a:off x="1217680" y="477358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5" name="Textplatzhalter 9">
            <a:extLst>
              <a:ext uri="{FF2B5EF4-FFF2-40B4-BE49-F238E27FC236}">
                <a16:creationId xmlns:a16="http://schemas.microsoft.com/office/drawing/2014/main" id="{196B8740-15E9-F0DC-7C07-3FABD55AC1BC}"/>
              </a:ext>
            </a:extLst>
          </p:cNvPr>
          <p:cNvSpPr>
            <a:spLocks noGrp="1"/>
          </p:cNvSpPr>
          <p:nvPr>
            <p:ph type="body" sz="quarter" idx="28" hasCustomPrompt="1"/>
          </p:nvPr>
        </p:nvSpPr>
        <p:spPr bwMode="auto">
          <a:xfrm>
            <a:off x="1688854" y="477358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6" name="Textplatzhalter 9">
            <a:extLst>
              <a:ext uri="{FF2B5EF4-FFF2-40B4-BE49-F238E27FC236}">
                <a16:creationId xmlns:a16="http://schemas.microsoft.com/office/drawing/2014/main" id="{7A3FBD83-B6AE-A0D2-F092-D70D71091E2C}"/>
              </a:ext>
            </a:extLst>
          </p:cNvPr>
          <p:cNvSpPr>
            <a:spLocks noGrp="1"/>
          </p:cNvSpPr>
          <p:nvPr>
            <p:ph type="body" sz="quarter" idx="29" hasCustomPrompt="1"/>
          </p:nvPr>
        </p:nvSpPr>
        <p:spPr bwMode="auto">
          <a:xfrm>
            <a:off x="1217680" y="523038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7" name="Textplatzhalter 9">
            <a:extLst>
              <a:ext uri="{FF2B5EF4-FFF2-40B4-BE49-F238E27FC236}">
                <a16:creationId xmlns:a16="http://schemas.microsoft.com/office/drawing/2014/main" id="{654DF231-D9E3-7E30-F4E7-1BAB70654B5B}"/>
              </a:ext>
            </a:extLst>
          </p:cNvPr>
          <p:cNvSpPr>
            <a:spLocks noGrp="1"/>
          </p:cNvSpPr>
          <p:nvPr>
            <p:ph type="body" sz="quarter" idx="30" hasCustomPrompt="1"/>
          </p:nvPr>
        </p:nvSpPr>
        <p:spPr bwMode="auto">
          <a:xfrm>
            <a:off x="1688854" y="523038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8" name="Textplatzhalter 9">
            <a:extLst>
              <a:ext uri="{FF2B5EF4-FFF2-40B4-BE49-F238E27FC236}">
                <a16:creationId xmlns:a16="http://schemas.microsoft.com/office/drawing/2014/main" id="{8C6F06D0-EFCB-F7DA-318A-C4B31B60F991}"/>
              </a:ext>
            </a:extLst>
          </p:cNvPr>
          <p:cNvSpPr>
            <a:spLocks noGrp="1"/>
          </p:cNvSpPr>
          <p:nvPr>
            <p:ph type="body" sz="quarter" idx="31" hasCustomPrompt="1"/>
          </p:nvPr>
        </p:nvSpPr>
        <p:spPr bwMode="auto">
          <a:xfrm>
            <a:off x="1217680" y="568719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9" name="Textplatzhalter 9">
            <a:extLst>
              <a:ext uri="{FF2B5EF4-FFF2-40B4-BE49-F238E27FC236}">
                <a16:creationId xmlns:a16="http://schemas.microsoft.com/office/drawing/2014/main" id="{F708F355-893B-11D0-171B-7CBA24AB9770}"/>
              </a:ext>
            </a:extLst>
          </p:cNvPr>
          <p:cNvSpPr>
            <a:spLocks noGrp="1"/>
          </p:cNvSpPr>
          <p:nvPr>
            <p:ph type="body" sz="quarter" idx="32" hasCustomPrompt="1"/>
          </p:nvPr>
        </p:nvSpPr>
        <p:spPr bwMode="auto">
          <a:xfrm>
            <a:off x="1688854" y="568719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6" name="Title 5">
            <a:extLst>
              <a:ext uri="{FF2B5EF4-FFF2-40B4-BE49-F238E27FC236}">
                <a16:creationId xmlns:a16="http://schemas.microsoft.com/office/drawing/2014/main" id="{E395E38B-3CB7-B3A9-30BD-62525B1B88C7}"/>
              </a:ext>
            </a:extLst>
          </p:cNvPr>
          <p:cNvSpPr>
            <a:spLocks noGrp="1"/>
          </p:cNvSpPr>
          <p:nvPr>
            <p:ph type="title" hasCustomPrompt="1"/>
          </p:nvPr>
        </p:nvSpPr>
        <p:spPr bwMode="auto"/>
        <p:txBody>
          <a:bodyPr/>
          <a:lstStyle>
            <a:lvl1pPr>
              <a:defRPr>
                <a:solidFill>
                  <a:srgbClr val="008C82"/>
                </a:solidFill>
              </a:defRPr>
            </a:lvl1pPr>
          </a:lstStyle>
          <a:p>
            <a:r>
              <a:rPr lang="en-GB"/>
              <a:t>Agenda title in The Group Head Light 28pt, Vivid Green</a:t>
            </a:r>
          </a:p>
        </p:txBody>
      </p:sp>
    </p:spTree>
    <p:extLst>
      <p:ext uri="{BB962C8B-B14F-4D97-AF65-F5344CB8AC3E}">
        <p14:creationId xmlns:p14="http://schemas.microsoft.com/office/powerpoint/2010/main" val="2856631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x Agenda Deep Space Blue">
    <p:bg bwMode="grayWhite">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Nr.›</a:t>
            </a:fld>
            <a:endParaRPr lang="en-US"/>
          </a:p>
        </p:txBody>
      </p:sp>
      <p:sp>
        <p:nvSpPr>
          <p:cNvPr id="10" name="Textplatzhalter 9">
            <a:extLst>
              <a:ext uri="{FF2B5EF4-FFF2-40B4-BE49-F238E27FC236}">
                <a16:creationId xmlns:a16="http://schemas.microsoft.com/office/drawing/2014/main" id="{85D5B474-9C31-7E04-AEC0-57A8783F9D72}"/>
              </a:ext>
            </a:extLst>
          </p:cNvPr>
          <p:cNvSpPr>
            <a:spLocks noGrp="1"/>
          </p:cNvSpPr>
          <p:nvPr>
            <p:ph type="body" sz="quarter" idx="13" hasCustomPrompt="1"/>
          </p:nvPr>
        </p:nvSpPr>
        <p:spPr bwMode="auto">
          <a:xfrm>
            <a:off x="1217680" y="185303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1" name="Textplatzhalter 9">
            <a:extLst>
              <a:ext uri="{FF2B5EF4-FFF2-40B4-BE49-F238E27FC236}">
                <a16:creationId xmlns:a16="http://schemas.microsoft.com/office/drawing/2014/main" id="{853F7479-9FE2-590E-561D-85CE339D2CA2}"/>
              </a:ext>
            </a:extLst>
          </p:cNvPr>
          <p:cNvSpPr>
            <a:spLocks noGrp="1"/>
          </p:cNvSpPr>
          <p:nvPr>
            <p:ph type="body" sz="quarter" idx="14" hasCustomPrompt="1"/>
          </p:nvPr>
        </p:nvSpPr>
        <p:spPr bwMode="auto">
          <a:xfrm>
            <a:off x="1688854" y="185303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2" name="Textplatzhalter 9">
            <a:extLst>
              <a:ext uri="{FF2B5EF4-FFF2-40B4-BE49-F238E27FC236}">
                <a16:creationId xmlns:a16="http://schemas.microsoft.com/office/drawing/2014/main" id="{42A0BD6D-AB85-A42C-1412-F50A32AFD9CE}"/>
              </a:ext>
            </a:extLst>
          </p:cNvPr>
          <p:cNvSpPr>
            <a:spLocks noGrp="1"/>
          </p:cNvSpPr>
          <p:nvPr>
            <p:ph type="body" sz="quarter" idx="25" hasCustomPrompt="1"/>
          </p:nvPr>
        </p:nvSpPr>
        <p:spPr bwMode="auto">
          <a:xfrm>
            <a:off x="1217680" y="2692667"/>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3" name="Textplatzhalter 9">
            <a:extLst>
              <a:ext uri="{FF2B5EF4-FFF2-40B4-BE49-F238E27FC236}">
                <a16:creationId xmlns:a16="http://schemas.microsoft.com/office/drawing/2014/main" id="{819DBABE-ACB2-C090-F6CC-87CBBDA58FA3}"/>
              </a:ext>
            </a:extLst>
          </p:cNvPr>
          <p:cNvSpPr>
            <a:spLocks noGrp="1"/>
          </p:cNvSpPr>
          <p:nvPr>
            <p:ph type="body" sz="quarter" idx="26" hasCustomPrompt="1"/>
          </p:nvPr>
        </p:nvSpPr>
        <p:spPr bwMode="auto">
          <a:xfrm>
            <a:off x="1688854" y="2692667"/>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4" name="Textplatzhalter 9">
            <a:extLst>
              <a:ext uri="{FF2B5EF4-FFF2-40B4-BE49-F238E27FC236}">
                <a16:creationId xmlns:a16="http://schemas.microsoft.com/office/drawing/2014/main" id="{F49BC8D0-8A36-668E-8B35-558977DEFA14}"/>
              </a:ext>
            </a:extLst>
          </p:cNvPr>
          <p:cNvSpPr>
            <a:spLocks noGrp="1"/>
          </p:cNvSpPr>
          <p:nvPr>
            <p:ph type="body" sz="quarter" idx="27" hasCustomPrompt="1"/>
          </p:nvPr>
        </p:nvSpPr>
        <p:spPr bwMode="auto">
          <a:xfrm>
            <a:off x="1217680" y="353230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5" name="Textplatzhalter 9">
            <a:extLst>
              <a:ext uri="{FF2B5EF4-FFF2-40B4-BE49-F238E27FC236}">
                <a16:creationId xmlns:a16="http://schemas.microsoft.com/office/drawing/2014/main" id="{196B8740-15E9-F0DC-7C07-3FABD55AC1BC}"/>
              </a:ext>
            </a:extLst>
          </p:cNvPr>
          <p:cNvSpPr>
            <a:spLocks noGrp="1"/>
          </p:cNvSpPr>
          <p:nvPr>
            <p:ph type="body" sz="quarter" idx="28" hasCustomPrompt="1"/>
          </p:nvPr>
        </p:nvSpPr>
        <p:spPr bwMode="auto">
          <a:xfrm>
            <a:off x="1688854" y="353230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6" name="Textplatzhalter 9">
            <a:extLst>
              <a:ext uri="{FF2B5EF4-FFF2-40B4-BE49-F238E27FC236}">
                <a16:creationId xmlns:a16="http://schemas.microsoft.com/office/drawing/2014/main" id="{7A3FBD83-B6AE-A0D2-F092-D70D71091E2C}"/>
              </a:ext>
            </a:extLst>
          </p:cNvPr>
          <p:cNvSpPr>
            <a:spLocks noGrp="1"/>
          </p:cNvSpPr>
          <p:nvPr>
            <p:ph type="body" sz="quarter" idx="29" hasCustomPrompt="1"/>
          </p:nvPr>
        </p:nvSpPr>
        <p:spPr bwMode="auto">
          <a:xfrm>
            <a:off x="1217680" y="4371937"/>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7" name="Textplatzhalter 9">
            <a:extLst>
              <a:ext uri="{FF2B5EF4-FFF2-40B4-BE49-F238E27FC236}">
                <a16:creationId xmlns:a16="http://schemas.microsoft.com/office/drawing/2014/main" id="{654DF231-D9E3-7E30-F4E7-1BAB70654B5B}"/>
              </a:ext>
            </a:extLst>
          </p:cNvPr>
          <p:cNvSpPr>
            <a:spLocks noGrp="1"/>
          </p:cNvSpPr>
          <p:nvPr>
            <p:ph type="body" sz="quarter" idx="30" hasCustomPrompt="1"/>
          </p:nvPr>
        </p:nvSpPr>
        <p:spPr bwMode="auto">
          <a:xfrm>
            <a:off x="1688854" y="4371937"/>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8" name="Textplatzhalter 9">
            <a:extLst>
              <a:ext uri="{FF2B5EF4-FFF2-40B4-BE49-F238E27FC236}">
                <a16:creationId xmlns:a16="http://schemas.microsoft.com/office/drawing/2014/main" id="{8C6F06D0-EFCB-F7DA-318A-C4B31B60F991}"/>
              </a:ext>
            </a:extLst>
          </p:cNvPr>
          <p:cNvSpPr>
            <a:spLocks noGrp="1"/>
          </p:cNvSpPr>
          <p:nvPr>
            <p:ph type="body" sz="quarter" idx="31" hasCustomPrompt="1"/>
          </p:nvPr>
        </p:nvSpPr>
        <p:spPr bwMode="auto">
          <a:xfrm>
            <a:off x="1217680" y="521157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9" name="Textplatzhalter 9">
            <a:extLst>
              <a:ext uri="{FF2B5EF4-FFF2-40B4-BE49-F238E27FC236}">
                <a16:creationId xmlns:a16="http://schemas.microsoft.com/office/drawing/2014/main" id="{F708F355-893B-11D0-171B-7CBA24AB9770}"/>
              </a:ext>
            </a:extLst>
          </p:cNvPr>
          <p:cNvSpPr>
            <a:spLocks noGrp="1"/>
          </p:cNvSpPr>
          <p:nvPr>
            <p:ph type="body" sz="quarter" idx="32" hasCustomPrompt="1"/>
          </p:nvPr>
        </p:nvSpPr>
        <p:spPr bwMode="auto">
          <a:xfrm>
            <a:off x="1688854" y="521157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pic>
        <p:nvPicPr>
          <p:cNvPr id="7" name="Picture 10" descr="A black background with white text&#10;&#10;Description automatically generated with low confidence">
            <a:extLst>
              <a:ext uri="{FF2B5EF4-FFF2-40B4-BE49-F238E27FC236}">
                <a16:creationId xmlns:a16="http://schemas.microsoft.com/office/drawing/2014/main" id="{749CDFC9-FAD4-7DE8-2BE8-9E456FD2FD6E}"/>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6" name="Title 5">
            <a:extLst>
              <a:ext uri="{FF2B5EF4-FFF2-40B4-BE49-F238E27FC236}">
                <a16:creationId xmlns:a16="http://schemas.microsoft.com/office/drawing/2014/main" id="{8A5EBB45-EEC7-136A-5E25-7ADA27B4FC9E}"/>
              </a:ext>
            </a:extLst>
          </p:cNvPr>
          <p:cNvSpPr>
            <a:spLocks noGrp="1"/>
          </p:cNvSpPr>
          <p:nvPr>
            <p:ph type="title" hasCustomPrompt="1"/>
          </p:nvPr>
        </p:nvSpPr>
        <p:spPr bwMode="auto"/>
        <p:txBody>
          <a:bodyPr/>
          <a:lstStyle/>
          <a:p>
            <a:r>
              <a:rPr lang="en-GB"/>
              <a:t>Agenda title in The Group Head Light 28pt, White</a:t>
            </a:r>
          </a:p>
        </p:txBody>
      </p:sp>
    </p:spTree>
    <p:extLst>
      <p:ext uri="{BB962C8B-B14F-4D97-AF65-F5344CB8AC3E}">
        <p14:creationId xmlns:p14="http://schemas.microsoft.com/office/powerpoint/2010/main" val="36669861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 Chapter divider Deep Space Blue">
    <p:bg bwMode="grayWhite">
      <p:bgPr>
        <a:solidFill>
          <a:srgbClr val="002733"/>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Nr.›</a:t>
            </a:fld>
            <a:endParaRPr lang="en-US"/>
          </a:p>
        </p:txBody>
      </p:sp>
      <p:sp>
        <p:nvSpPr>
          <p:cNvPr id="32" name="Textplatzhalter 2">
            <a:extLst>
              <a:ext uri="{FF2B5EF4-FFF2-40B4-BE49-F238E27FC236}">
                <a16:creationId xmlns:a16="http://schemas.microsoft.com/office/drawing/2014/main" id="{D83F21BA-482F-E32E-F66A-7FF220750430}"/>
              </a:ext>
            </a:extLst>
          </p:cNvPr>
          <p:cNvSpPr>
            <a:spLocks noGrp="1"/>
          </p:cNvSpPr>
          <p:nvPr>
            <p:ph type="body" sz="quarter" idx="36" hasCustomPrompt="1"/>
          </p:nvPr>
        </p:nvSpPr>
        <p:spPr bwMode="auto">
          <a:xfrm>
            <a:off x="435600" y="673287"/>
            <a:ext cx="1480912" cy="1825768"/>
          </a:xfrm>
          <a:prstGeom prst="roundRect">
            <a:avLst>
              <a:gd name="adj" fmla="val 24235"/>
            </a:avLst>
          </a:prstGeom>
          <a:ln w="47625">
            <a:solidFill>
              <a:srgbClr val="C2FE06"/>
            </a:solidFill>
          </a:ln>
        </p:spPr>
        <p:txBody>
          <a:bodyPr wrap="none" lIns="0" tIns="0" rIns="0" bIns="0" anchor="ctr" anchorCtr="0">
            <a:noAutofit/>
          </a:bodyPr>
          <a:lstStyle>
            <a:lvl1pPr marL="0" indent="0" algn="ctr">
              <a:spcBef>
                <a:spcPts val="0"/>
              </a:spcBef>
              <a:buFont typeface="The Group TEXT" panose="020B0604020202020204" pitchFamily="34" charset="0"/>
              <a:buNone/>
              <a:defRPr sz="9600" b="0">
                <a:solidFill>
                  <a:schemeClr val="tx1"/>
                </a:solidFill>
                <a:latin typeface="+mj-lt"/>
              </a:defRPr>
            </a:lvl1pPr>
            <a:lvl2pPr marL="0" indent="0">
              <a:buFont typeface="The Group TEXT" panose="020B0604020202020204" pitchFamily="34" charset="0"/>
              <a:buNone/>
              <a:defRPr sz="27500" b="0">
                <a:solidFill>
                  <a:schemeClr val="accent3"/>
                </a:solidFill>
              </a:defRPr>
            </a:lvl2pPr>
            <a:lvl3pPr marL="0" indent="0">
              <a:buNone/>
              <a:defRPr sz="27500" b="0">
                <a:solidFill>
                  <a:schemeClr val="accent3"/>
                </a:solidFill>
              </a:defRPr>
            </a:lvl3pPr>
            <a:lvl4pPr marL="0" indent="0">
              <a:buNone/>
              <a:defRPr sz="27500" b="0">
                <a:solidFill>
                  <a:schemeClr val="accent3"/>
                </a:solidFill>
              </a:defRPr>
            </a:lvl4pPr>
            <a:lvl5pPr marL="0" indent="0">
              <a:buNone/>
              <a:defRPr sz="27500" b="0">
                <a:solidFill>
                  <a:schemeClr val="accent3"/>
                </a:solidFill>
              </a:defRPr>
            </a:lvl5pPr>
            <a:lvl6pPr marL="0" indent="0">
              <a:buNone/>
              <a:defRPr sz="27500" b="0">
                <a:solidFill>
                  <a:schemeClr val="accent3"/>
                </a:solidFill>
              </a:defRPr>
            </a:lvl6pPr>
            <a:lvl7pPr marL="0" indent="0">
              <a:buNone/>
              <a:defRPr sz="27500" b="0">
                <a:solidFill>
                  <a:schemeClr val="accent3"/>
                </a:solidFill>
              </a:defRPr>
            </a:lvl7pPr>
            <a:lvl8pPr marL="0" indent="0">
              <a:buNone/>
              <a:defRPr sz="27500" b="0">
                <a:solidFill>
                  <a:schemeClr val="accent3"/>
                </a:solidFill>
              </a:defRPr>
            </a:lvl8pPr>
            <a:lvl9pPr marL="0" indent="0">
              <a:buNone/>
              <a:defRPr sz="27500" b="0">
                <a:solidFill>
                  <a:schemeClr val="accent3"/>
                </a:solidFill>
              </a:defRPr>
            </a:lvl9pPr>
          </a:lstStyle>
          <a:p>
            <a:pPr lvl="0"/>
            <a:r>
              <a:rPr lang="en-US" noProof="0"/>
              <a:t>0</a:t>
            </a:r>
          </a:p>
        </p:txBody>
      </p:sp>
      <p:sp>
        <p:nvSpPr>
          <p:cNvPr id="13" name="Textplatzhalter 12">
            <a:extLst>
              <a:ext uri="{FF2B5EF4-FFF2-40B4-BE49-F238E27FC236}">
                <a16:creationId xmlns:a16="http://schemas.microsoft.com/office/drawing/2014/main" id="{E59759F0-1920-A37F-E8BA-04476E5EAFDE}"/>
              </a:ext>
            </a:extLst>
          </p:cNvPr>
          <p:cNvSpPr>
            <a:spLocks noGrp="1"/>
          </p:cNvSpPr>
          <p:nvPr>
            <p:ph type="body" sz="quarter" idx="37" hasCustomPrompt="1"/>
          </p:nvPr>
        </p:nvSpPr>
        <p:spPr bwMode="auto">
          <a:xfrm>
            <a:off x="407988" y="4480426"/>
            <a:ext cx="11376017" cy="246221"/>
          </a:xfrm>
        </p:spPr>
        <p:txBody>
          <a:bodyPr wrap="square">
            <a:spAutoFit/>
          </a:bodyPr>
          <a:lstStyle>
            <a:lvl1pPr marL="0" indent="0">
              <a:spcBef>
                <a:spcPts val="0"/>
              </a:spcBef>
              <a:buFont typeface="The Group TEXT" panose="020B0604020202020204" pitchFamily="34" charset="0"/>
              <a:buNone/>
              <a:tabLst/>
              <a:defRPr sz="1600" b="0">
                <a:solidFill>
                  <a:schemeClr val="tx2"/>
                </a:solidFill>
              </a:defRPr>
            </a:lvl1pPr>
            <a:lvl2pPr marL="0" indent="0">
              <a:spcBef>
                <a:spcPts val="0"/>
              </a:spcBef>
              <a:buFont typeface="The Group TEXT" panose="020B0604020202020204" pitchFamily="34" charset="0"/>
              <a:buNone/>
              <a:tabLst/>
              <a:defRPr sz="1800" b="0">
                <a:solidFill>
                  <a:schemeClr val="bg1"/>
                </a:solidFill>
              </a:defRPr>
            </a:lvl2pPr>
            <a:lvl3pPr marL="0" indent="0">
              <a:spcBef>
                <a:spcPts val="0"/>
              </a:spcBef>
              <a:buNone/>
              <a:tabLst/>
              <a:defRPr sz="1800" b="0">
                <a:solidFill>
                  <a:schemeClr val="bg1"/>
                </a:solidFill>
              </a:defRPr>
            </a:lvl3pPr>
            <a:lvl4pPr marL="0" indent="0">
              <a:spcBef>
                <a:spcPts val="0"/>
              </a:spcBef>
              <a:buNone/>
              <a:tabLst/>
              <a:defRPr sz="1800" b="0">
                <a:solidFill>
                  <a:schemeClr val="bg1"/>
                </a:solidFill>
              </a:defRPr>
            </a:lvl4pPr>
            <a:lvl5pPr marL="0" indent="0">
              <a:spcBef>
                <a:spcPts val="0"/>
              </a:spcBef>
              <a:buNone/>
              <a:tabLst/>
              <a:defRPr sz="1800" b="0">
                <a:solidFill>
                  <a:schemeClr val="bg1"/>
                </a:solidFill>
              </a:defRPr>
            </a:lvl5pPr>
          </a:lstStyle>
          <a:p>
            <a:pPr lvl="0"/>
            <a:r>
              <a:rPr lang="en-US" noProof="0" dirty="0" err="1"/>
              <a:t>Subheader</a:t>
            </a:r>
            <a:r>
              <a:rPr lang="en-US" noProof="0" dirty="0"/>
              <a:t> in The Group Text Regular 16pt</a:t>
            </a:r>
          </a:p>
        </p:txBody>
      </p:sp>
      <p:sp>
        <p:nvSpPr>
          <p:cNvPr id="10" name="Textplatzhalter 2">
            <a:extLst>
              <a:ext uri="{FF2B5EF4-FFF2-40B4-BE49-F238E27FC236}">
                <a16:creationId xmlns:a16="http://schemas.microsoft.com/office/drawing/2014/main" id="{5A8E5BCC-85E9-E1FD-520F-00F2EBA22111}"/>
              </a:ext>
            </a:extLst>
          </p:cNvPr>
          <p:cNvSpPr>
            <a:spLocks noGrp="1"/>
          </p:cNvSpPr>
          <p:nvPr>
            <p:ph type="body" sz="quarter" idx="33" hasCustomPrompt="1"/>
          </p:nvPr>
        </p:nvSpPr>
        <p:spPr bwMode="auto">
          <a:xfrm>
            <a:off x="407035" y="3005249"/>
            <a:ext cx="11376978" cy="1218795"/>
          </a:xfrm>
        </p:spPr>
        <p:txBody>
          <a:bodyPr wrap="square" anchor="t" anchorCtr="0">
            <a:spAutoFit/>
          </a:bodyPr>
          <a:lstStyle>
            <a:lvl1pPr marL="0" indent="0">
              <a:lnSpc>
                <a:spcPct val="90000"/>
              </a:lnSpc>
              <a:spcBef>
                <a:spcPts val="0"/>
              </a:spcBef>
              <a:buFont typeface="The Group TEXT" panose="020B0604020202020204" pitchFamily="34" charset="0"/>
              <a:buNone/>
              <a:defRPr sz="4400" b="0">
                <a:solidFill>
                  <a:schemeClr val="tx2"/>
                </a:solidFill>
                <a:latin typeface="+mj-lt"/>
              </a:defRPr>
            </a:lvl1pPr>
            <a:lvl2pPr marL="0" indent="0">
              <a:spcBef>
                <a:spcPts val="0"/>
              </a:spcBef>
              <a:buFont typeface="The Group TEXT" panose="020B0604020202020204" pitchFamily="34" charset="0"/>
              <a:buNone/>
              <a:defRPr sz="3200" b="0">
                <a:solidFill>
                  <a:schemeClr val="bg1"/>
                </a:solidFill>
              </a:defRPr>
            </a:lvl2pPr>
            <a:lvl3pPr marL="0" indent="0">
              <a:spcBef>
                <a:spcPts val="0"/>
              </a:spcBef>
              <a:buNone/>
              <a:defRPr sz="3200" b="0">
                <a:solidFill>
                  <a:schemeClr val="bg1"/>
                </a:solidFill>
              </a:defRPr>
            </a:lvl3pPr>
            <a:lvl4pPr marL="0" indent="0">
              <a:spcBef>
                <a:spcPts val="0"/>
              </a:spcBef>
              <a:buNone/>
              <a:defRPr sz="3200" b="0">
                <a:solidFill>
                  <a:schemeClr val="bg1"/>
                </a:solidFill>
              </a:defRPr>
            </a:lvl4pPr>
            <a:lvl5pPr marL="0" indent="0">
              <a:spcBef>
                <a:spcPts val="0"/>
              </a:spcBef>
              <a:buNone/>
              <a:defRPr sz="3200" b="0">
                <a:solidFill>
                  <a:schemeClr val="bg1"/>
                </a:solidFill>
              </a:defRPr>
            </a:lvl5pPr>
            <a:lvl6pPr marL="0" indent="0">
              <a:spcBef>
                <a:spcPts val="0"/>
              </a:spcBef>
              <a:buNone/>
              <a:defRPr sz="3200" b="0">
                <a:solidFill>
                  <a:schemeClr val="bg1"/>
                </a:solidFill>
              </a:defRPr>
            </a:lvl6pPr>
            <a:lvl7pPr marL="0" indent="0">
              <a:spcBef>
                <a:spcPts val="0"/>
              </a:spcBef>
              <a:buNone/>
              <a:defRPr sz="3200" b="0">
                <a:solidFill>
                  <a:schemeClr val="bg1"/>
                </a:solidFill>
              </a:defRPr>
            </a:lvl7pPr>
            <a:lvl8pPr marL="0" indent="0">
              <a:spcBef>
                <a:spcPts val="0"/>
              </a:spcBef>
              <a:buNone/>
              <a:defRPr sz="3200" b="0">
                <a:solidFill>
                  <a:schemeClr val="bg1"/>
                </a:solidFill>
              </a:defRPr>
            </a:lvl8pPr>
            <a:lvl9pPr marL="0" indent="0">
              <a:spcBef>
                <a:spcPts val="0"/>
              </a:spcBef>
              <a:buNone/>
              <a:defRPr sz="3200" b="0">
                <a:solidFill>
                  <a:schemeClr val="bg1"/>
                </a:solidFill>
              </a:defRPr>
            </a:lvl9pPr>
          </a:lstStyle>
          <a:p>
            <a:pPr lvl="0"/>
            <a:r>
              <a:rPr lang="en-US" noProof="0"/>
              <a:t>Chapter divider, max. two lines in The Group Head Light 44pt, White</a:t>
            </a:r>
          </a:p>
        </p:txBody>
      </p:sp>
      <p:pic>
        <p:nvPicPr>
          <p:cNvPr id="7" name="Picture 10" descr="A black background with white text&#10;&#10;Description automatically generated with low confidence">
            <a:extLst>
              <a:ext uri="{FF2B5EF4-FFF2-40B4-BE49-F238E27FC236}">
                <a16:creationId xmlns:a16="http://schemas.microsoft.com/office/drawing/2014/main" id="{E191A18F-9C27-B87B-4FBF-8EC0E86D662F}"/>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Tree>
    <p:extLst>
      <p:ext uri="{BB962C8B-B14F-4D97-AF65-F5344CB8AC3E}">
        <p14:creationId xmlns:p14="http://schemas.microsoft.com/office/powerpoint/2010/main" val="3270606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pter divider White">
    <p:bg bwMode="gray">
      <p:bgPr>
        <a:solidFill>
          <a:schemeClr val="bg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pPr/>
              <a:t>‹Nr.›</a:t>
            </a:fld>
            <a:endParaRPr lang="en-US" noProof="0"/>
          </a:p>
        </p:txBody>
      </p:sp>
      <p:sp>
        <p:nvSpPr>
          <p:cNvPr id="32" name="Textplatzhalter 2">
            <a:extLst>
              <a:ext uri="{FF2B5EF4-FFF2-40B4-BE49-F238E27FC236}">
                <a16:creationId xmlns:a16="http://schemas.microsoft.com/office/drawing/2014/main" id="{D83F21BA-482F-E32E-F66A-7FF220750430}"/>
              </a:ext>
            </a:extLst>
          </p:cNvPr>
          <p:cNvSpPr>
            <a:spLocks noGrp="1"/>
          </p:cNvSpPr>
          <p:nvPr>
            <p:ph type="body" sz="quarter" idx="36" hasCustomPrompt="1"/>
          </p:nvPr>
        </p:nvSpPr>
        <p:spPr bwMode="auto">
          <a:xfrm>
            <a:off x="433848" y="673287"/>
            <a:ext cx="1482664" cy="1825768"/>
          </a:xfrm>
          <a:prstGeom prst="roundRect">
            <a:avLst>
              <a:gd name="adj" fmla="val 24235"/>
            </a:avLst>
          </a:prstGeom>
          <a:ln w="47625">
            <a:solidFill>
              <a:schemeClr val="accent2"/>
            </a:solidFill>
          </a:ln>
        </p:spPr>
        <p:txBody>
          <a:bodyPr wrap="square" lIns="0" tIns="0" rIns="0" bIns="0" anchor="ctr" anchorCtr="0">
            <a:noAutofit/>
          </a:bodyPr>
          <a:lstStyle>
            <a:lvl1pPr marL="0" indent="0" algn="ctr">
              <a:spcBef>
                <a:spcPts val="0"/>
              </a:spcBef>
              <a:buFont typeface="The Group TEXT" panose="020B0604020202020204" pitchFamily="34" charset="0"/>
              <a:buNone/>
              <a:defRPr sz="9600" b="0">
                <a:solidFill>
                  <a:schemeClr val="accent2"/>
                </a:solidFill>
                <a:latin typeface="+mj-lt"/>
              </a:defRPr>
            </a:lvl1pPr>
            <a:lvl2pPr marL="0" indent="0">
              <a:buFont typeface="The Group TEXT" panose="020B0604020202020204" pitchFamily="34" charset="0"/>
              <a:buNone/>
              <a:defRPr sz="27500" b="0">
                <a:solidFill>
                  <a:schemeClr val="accent3"/>
                </a:solidFill>
              </a:defRPr>
            </a:lvl2pPr>
            <a:lvl3pPr marL="0" indent="0">
              <a:buNone/>
              <a:defRPr sz="27500" b="0">
                <a:solidFill>
                  <a:schemeClr val="accent3"/>
                </a:solidFill>
              </a:defRPr>
            </a:lvl3pPr>
            <a:lvl4pPr marL="0" indent="0">
              <a:buNone/>
              <a:defRPr sz="27500" b="0">
                <a:solidFill>
                  <a:schemeClr val="accent3"/>
                </a:solidFill>
              </a:defRPr>
            </a:lvl4pPr>
            <a:lvl5pPr marL="0" indent="0">
              <a:buNone/>
              <a:defRPr sz="27500" b="0">
                <a:solidFill>
                  <a:schemeClr val="accent3"/>
                </a:solidFill>
              </a:defRPr>
            </a:lvl5pPr>
            <a:lvl6pPr marL="0" indent="0">
              <a:buNone/>
              <a:defRPr sz="27500" b="0">
                <a:solidFill>
                  <a:schemeClr val="accent3"/>
                </a:solidFill>
              </a:defRPr>
            </a:lvl6pPr>
            <a:lvl7pPr marL="0" indent="0">
              <a:buNone/>
              <a:defRPr sz="27500" b="0">
                <a:solidFill>
                  <a:schemeClr val="accent3"/>
                </a:solidFill>
              </a:defRPr>
            </a:lvl7pPr>
            <a:lvl8pPr marL="0" indent="0">
              <a:buNone/>
              <a:defRPr sz="27500" b="0">
                <a:solidFill>
                  <a:schemeClr val="accent3"/>
                </a:solidFill>
              </a:defRPr>
            </a:lvl8pPr>
            <a:lvl9pPr marL="0" indent="0">
              <a:buNone/>
              <a:defRPr sz="27500" b="0">
                <a:solidFill>
                  <a:schemeClr val="accent3"/>
                </a:solidFill>
              </a:defRPr>
            </a:lvl9pPr>
          </a:lstStyle>
          <a:p>
            <a:pPr lvl="0"/>
            <a:r>
              <a:rPr lang="en-US" noProof="0"/>
              <a:t>0</a:t>
            </a:r>
          </a:p>
        </p:txBody>
      </p:sp>
      <p:sp>
        <p:nvSpPr>
          <p:cNvPr id="6" name="Textplatzhalter 12">
            <a:extLst>
              <a:ext uri="{FF2B5EF4-FFF2-40B4-BE49-F238E27FC236}">
                <a16:creationId xmlns:a16="http://schemas.microsoft.com/office/drawing/2014/main" id="{61AD662E-593C-F5C9-D558-B3AE6D57B779}"/>
              </a:ext>
            </a:extLst>
          </p:cNvPr>
          <p:cNvSpPr>
            <a:spLocks noGrp="1"/>
          </p:cNvSpPr>
          <p:nvPr>
            <p:ph type="body" sz="quarter" idx="37" hasCustomPrompt="1"/>
          </p:nvPr>
        </p:nvSpPr>
        <p:spPr bwMode="auto">
          <a:xfrm>
            <a:off x="407988" y="4480426"/>
            <a:ext cx="11376017" cy="246221"/>
          </a:xfrm>
        </p:spPr>
        <p:txBody>
          <a:bodyPr wrap="square">
            <a:spAutoFit/>
          </a:bodyPr>
          <a:lstStyle>
            <a:lvl1pPr marL="0" indent="0">
              <a:spcBef>
                <a:spcPts val="0"/>
              </a:spcBef>
              <a:buFont typeface="The Group TEXT" panose="020B0604020202020204" pitchFamily="34" charset="0"/>
              <a:buNone/>
              <a:tabLst/>
              <a:defRPr sz="1600" b="0">
                <a:solidFill>
                  <a:schemeClr val="tx2"/>
                </a:solidFill>
              </a:defRPr>
            </a:lvl1pPr>
            <a:lvl2pPr marL="0" indent="0">
              <a:spcBef>
                <a:spcPts val="0"/>
              </a:spcBef>
              <a:buFont typeface="The Group TEXT" panose="020B0604020202020204" pitchFamily="34" charset="0"/>
              <a:buNone/>
              <a:tabLst/>
              <a:defRPr sz="1800" b="0">
                <a:solidFill>
                  <a:schemeClr val="bg1"/>
                </a:solidFill>
              </a:defRPr>
            </a:lvl2pPr>
            <a:lvl3pPr marL="0" indent="0">
              <a:spcBef>
                <a:spcPts val="0"/>
              </a:spcBef>
              <a:buNone/>
              <a:tabLst/>
              <a:defRPr sz="1800" b="0">
                <a:solidFill>
                  <a:schemeClr val="bg1"/>
                </a:solidFill>
              </a:defRPr>
            </a:lvl3pPr>
            <a:lvl4pPr marL="0" indent="0">
              <a:spcBef>
                <a:spcPts val="0"/>
              </a:spcBef>
              <a:buNone/>
              <a:tabLst/>
              <a:defRPr sz="1800" b="0">
                <a:solidFill>
                  <a:schemeClr val="bg1"/>
                </a:solidFill>
              </a:defRPr>
            </a:lvl4pPr>
            <a:lvl5pPr marL="0" indent="0">
              <a:spcBef>
                <a:spcPts val="0"/>
              </a:spcBef>
              <a:buNone/>
              <a:tabLst/>
              <a:defRPr sz="1800" b="0">
                <a:solidFill>
                  <a:schemeClr val="bg1"/>
                </a:solidFill>
              </a:defRPr>
            </a:lvl5pPr>
          </a:lstStyle>
          <a:p>
            <a:pPr lvl="0"/>
            <a:r>
              <a:rPr lang="en-US" noProof="0" dirty="0" err="1"/>
              <a:t>Subheader</a:t>
            </a:r>
            <a:r>
              <a:rPr lang="en-US" noProof="0" dirty="0"/>
              <a:t> in The Group Text Regular 16pt</a:t>
            </a:r>
          </a:p>
        </p:txBody>
      </p:sp>
      <p:sp>
        <p:nvSpPr>
          <p:cNvPr id="8" name="Textplatzhalter 2">
            <a:extLst>
              <a:ext uri="{FF2B5EF4-FFF2-40B4-BE49-F238E27FC236}">
                <a16:creationId xmlns:a16="http://schemas.microsoft.com/office/drawing/2014/main" id="{A6A15405-7551-5B74-EAE8-BE3EB521A6C7}"/>
              </a:ext>
            </a:extLst>
          </p:cNvPr>
          <p:cNvSpPr>
            <a:spLocks noGrp="1"/>
          </p:cNvSpPr>
          <p:nvPr>
            <p:ph type="body" sz="quarter" idx="33" hasCustomPrompt="1"/>
          </p:nvPr>
        </p:nvSpPr>
        <p:spPr bwMode="auto">
          <a:xfrm>
            <a:off x="407035" y="3005249"/>
            <a:ext cx="11376978" cy="1218795"/>
          </a:xfrm>
        </p:spPr>
        <p:txBody>
          <a:bodyPr wrap="square" anchor="t" anchorCtr="0">
            <a:spAutoFit/>
          </a:bodyPr>
          <a:lstStyle>
            <a:lvl1pPr marL="0" indent="0">
              <a:lnSpc>
                <a:spcPct val="90000"/>
              </a:lnSpc>
              <a:spcBef>
                <a:spcPts val="0"/>
              </a:spcBef>
              <a:buFont typeface="The Group TEXT" panose="020B0604020202020204" pitchFamily="34" charset="0"/>
              <a:buNone/>
              <a:defRPr sz="4400" b="0">
                <a:solidFill>
                  <a:schemeClr val="tx2"/>
                </a:solidFill>
                <a:latin typeface="+mj-lt"/>
              </a:defRPr>
            </a:lvl1pPr>
            <a:lvl2pPr marL="0" indent="0">
              <a:spcBef>
                <a:spcPts val="0"/>
              </a:spcBef>
              <a:buFont typeface="The Group TEXT" panose="020B0604020202020204" pitchFamily="34" charset="0"/>
              <a:buNone/>
              <a:defRPr sz="3200" b="0">
                <a:solidFill>
                  <a:schemeClr val="bg1"/>
                </a:solidFill>
              </a:defRPr>
            </a:lvl2pPr>
            <a:lvl3pPr marL="0" indent="0">
              <a:spcBef>
                <a:spcPts val="0"/>
              </a:spcBef>
              <a:buNone/>
              <a:defRPr sz="3200" b="0">
                <a:solidFill>
                  <a:schemeClr val="bg1"/>
                </a:solidFill>
              </a:defRPr>
            </a:lvl3pPr>
            <a:lvl4pPr marL="0" indent="0">
              <a:spcBef>
                <a:spcPts val="0"/>
              </a:spcBef>
              <a:buNone/>
              <a:defRPr sz="3200" b="0">
                <a:solidFill>
                  <a:schemeClr val="bg1"/>
                </a:solidFill>
              </a:defRPr>
            </a:lvl4pPr>
            <a:lvl5pPr marL="0" indent="0">
              <a:spcBef>
                <a:spcPts val="0"/>
              </a:spcBef>
              <a:buNone/>
              <a:defRPr sz="3200" b="0">
                <a:solidFill>
                  <a:schemeClr val="bg1"/>
                </a:solidFill>
              </a:defRPr>
            </a:lvl5pPr>
            <a:lvl6pPr marL="0" indent="0">
              <a:spcBef>
                <a:spcPts val="0"/>
              </a:spcBef>
              <a:buNone/>
              <a:defRPr sz="3200" b="0">
                <a:solidFill>
                  <a:schemeClr val="bg1"/>
                </a:solidFill>
              </a:defRPr>
            </a:lvl6pPr>
            <a:lvl7pPr marL="0" indent="0">
              <a:spcBef>
                <a:spcPts val="0"/>
              </a:spcBef>
              <a:buNone/>
              <a:defRPr sz="3200" b="0">
                <a:solidFill>
                  <a:schemeClr val="bg1"/>
                </a:solidFill>
              </a:defRPr>
            </a:lvl7pPr>
            <a:lvl8pPr marL="0" indent="0">
              <a:spcBef>
                <a:spcPts val="0"/>
              </a:spcBef>
              <a:buNone/>
              <a:defRPr sz="3200" b="0">
                <a:solidFill>
                  <a:schemeClr val="bg1"/>
                </a:solidFill>
              </a:defRPr>
            </a:lvl8pPr>
            <a:lvl9pPr marL="0" indent="0">
              <a:spcBef>
                <a:spcPts val="0"/>
              </a:spcBef>
              <a:buNone/>
              <a:defRPr sz="3200" b="0">
                <a:solidFill>
                  <a:schemeClr val="bg1"/>
                </a:solidFill>
              </a:defRPr>
            </a:lvl9pPr>
          </a:lstStyle>
          <a:p>
            <a:pPr lvl="0"/>
            <a:r>
              <a:rPr lang="en-US" noProof="0"/>
              <a:t>Chapter divider, max. two lines in The Group Head Light 44pt, Deep Space Blue</a:t>
            </a:r>
          </a:p>
        </p:txBody>
      </p:sp>
    </p:spTree>
    <p:extLst>
      <p:ext uri="{BB962C8B-B14F-4D97-AF65-F5344CB8AC3E}">
        <p14:creationId xmlns:p14="http://schemas.microsoft.com/office/powerpoint/2010/main" val="2304363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 Title, text and image (1/2)">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A98EFFE-36EB-048E-D90F-3F6DE96790AB}"/>
              </a:ext>
            </a:extLst>
          </p:cNvPr>
          <p:cNvSpPr>
            <a:spLocks noGrp="1"/>
          </p:cNvSpPr>
          <p:nvPr>
            <p:ph sz="quarter" idx="15" hasCustomPrompt="1"/>
          </p:nvPr>
        </p:nvSpPr>
        <p:spPr bwMode="auto">
          <a:xfrm>
            <a:off x="406800" y="1844675"/>
            <a:ext cx="5401862" cy="3222312"/>
          </a:xfrm>
        </p:spPr>
        <p:txBody>
          <a:bodyPr/>
          <a:lstStyle/>
          <a:p>
            <a:pPr lvl="0"/>
            <a:r>
              <a:rPr lang="en-US"/>
              <a:t>Click to add content (optional)</a:t>
            </a:r>
          </a:p>
          <a:p>
            <a:pPr lvl="1"/>
            <a:r>
              <a:rPr lang="en-US"/>
              <a:t>Second level</a:t>
            </a:r>
          </a:p>
          <a:p>
            <a:pPr lvl="2"/>
            <a:r>
              <a:rPr lang="en-US"/>
              <a:t>Third level</a:t>
            </a:r>
          </a:p>
          <a:p>
            <a:pPr lvl="3"/>
            <a:r>
              <a:rPr lang="en-US"/>
              <a:t>Fourth level</a:t>
            </a:r>
          </a:p>
          <a:p>
            <a:pPr lvl="4"/>
            <a:r>
              <a:rPr lang="en-US"/>
              <a:t>Fifth level</a:t>
            </a:r>
            <a:endParaRPr lang="ar-AE"/>
          </a:p>
        </p:txBody>
      </p:sp>
      <p:sp>
        <p:nvSpPr>
          <p:cNvPr id="8" name="Bildplatzhalter 7">
            <a:extLst>
              <a:ext uri="{FF2B5EF4-FFF2-40B4-BE49-F238E27FC236}">
                <a16:creationId xmlns:a16="http://schemas.microsoft.com/office/drawing/2014/main" id="{7B540162-9A7E-2965-56C8-2D847C221DC6}"/>
              </a:ext>
            </a:extLst>
          </p:cNvPr>
          <p:cNvSpPr>
            <a:spLocks noGrp="1"/>
          </p:cNvSpPr>
          <p:nvPr>
            <p:ph type="pic" sz="quarter" idx="13" hasCustomPrompt="1"/>
          </p:nvPr>
        </p:nvSpPr>
        <p:spPr bwMode="auto">
          <a:xfrm>
            <a:off x="6096000" y="0"/>
            <a:ext cx="6096000" cy="6858000"/>
          </a:xfrm>
          <a:solidFill>
            <a:srgbClr val="D9DFE0"/>
          </a:solidFill>
        </p:spPr>
        <p:txBody>
          <a:bodyPr lIns="0" bIns="936000" anchor="ctr"/>
          <a:lstStyle>
            <a:lvl1pPr algn="ctr">
              <a:spcBef>
                <a:spcPts val="0"/>
              </a:spcBef>
              <a:defRPr b="0">
                <a:solidFill>
                  <a:srgbClr val="002733"/>
                </a:solidFill>
              </a:defRPr>
            </a:lvl1pPr>
          </a:lstStyle>
          <a:p>
            <a:r>
              <a:rPr lang="en-US" noProof="0"/>
              <a:t>Add image by clicking on icon, then ‘Send to Back’</a:t>
            </a:r>
          </a:p>
        </p:txBody>
      </p:sp>
      <p:sp>
        <p:nvSpPr>
          <p:cNvPr id="3" name="Datumsplatzhalter 2">
            <a:extLst>
              <a:ext uri="{FF2B5EF4-FFF2-40B4-BE49-F238E27FC236}">
                <a16:creationId xmlns:a16="http://schemas.microsoft.com/office/drawing/2014/main" id="{41D7AFB0-EAB7-4273-C5E7-389C3E9570C5}"/>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BE8A3233-5683-7801-5577-0330A9B5170C}"/>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0B2CFDAE-B6E1-2152-6BE5-41D00600819F}"/>
              </a:ext>
            </a:extLst>
          </p:cNvPr>
          <p:cNvSpPr>
            <a:spLocks noGrp="1"/>
          </p:cNvSpPr>
          <p:nvPr>
            <p:ph type="sldNum" sz="quarter" idx="12"/>
          </p:nvPr>
        </p:nvSpPr>
        <p:spPr bwMode="auto"/>
        <p:txBody>
          <a:bodyPr/>
          <a:lstStyle/>
          <a:p>
            <a:fld id="{53C98C43-8B83-4748-BA0D-B0C90A16569F}" type="slidenum">
              <a:rPr lang="en-US" noProof="0" smtClean="0"/>
              <a:pPr/>
              <a:t>‹Nr.›</a:t>
            </a:fld>
            <a:endParaRPr lang="en-US" noProof="0"/>
          </a:p>
        </p:txBody>
      </p:sp>
      <p:sp>
        <p:nvSpPr>
          <p:cNvPr id="10" name="Textplatzhalter 6">
            <a:extLst>
              <a:ext uri="{FF2B5EF4-FFF2-40B4-BE49-F238E27FC236}">
                <a16:creationId xmlns:a16="http://schemas.microsoft.com/office/drawing/2014/main" id="{C3522DE3-E28F-E89C-966E-E3161037D8BA}"/>
              </a:ext>
            </a:extLst>
          </p:cNvPr>
          <p:cNvSpPr>
            <a:spLocks noGrp="1"/>
          </p:cNvSpPr>
          <p:nvPr>
            <p:ph type="body" sz="quarter" idx="14" hasCustomPrompt="1"/>
          </p:nvPr>
        </p:nvSpPr>
        <p:spPr bwMode="auto">
          <a:xfrm>
            <a:off x="406800" y="5278506"/>
            <a:ext cx="5401863" cy="1174681"/>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2" name="Textplatzhalter 8">
            <a:extLst>
              <a:ext uri="{FF2B5EF4-FFF2-40B4-BE49-F238E27FC236}">
                <a16:creationId xmlns:a16="http://schemas.microsoft.com/office/drawing/2014/main" id="{FF9591BB-EC2E-D2F7-B32C-A93DE7049561}"/>
              </a:ext>
            </a:extLst>
          </p:cNvPr>
          <p:cNvSpPr>
            <a:spLocks noGrp="1"/>
          </p:cNvSpPr>
          <p:nvPr>
            <p:ph type="body" sz="quarter" idx="16" hasCustomPrompt="1"/>
          </p:nvPr>
        </p:nvSpPr>
        <p:spPr bwMode="auto">
          <a:xfrm>
            <a:off x="406401" y="1056085"/>
            <a:ext cx="5402920" cy="276999"/>
          </a:xfrm>
        </p:spPr>
        <p:txBody>
          <a:bodyPr wrap="square" anchor="t">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18pt, Vivid Green</a:t>
            </a:r>
          </a:p>
        </p:txBody>
      </p:sp>
      <p:sp>
        <p:nvSpPr>
          <p:cNvPr id="9" name="Title 6">
            <a:extLst>
              <a:ext uri="{FF2B5EF4-FFF2-40B4-BE49-F238E27FC236}">
                <a16:creationId xmlns:a16="http://schemas.microsoft.com/office/drawing/2014/main" id="{DFE26FFD-5C4B-9E2A-6603-E36E00690AA7}"/>
              </a:ext>
            </a:extLst>
          </p:cNvPr>
          <p:cNvSpPr>
            <a:spLocks noGrp="1"/>
          </p:cNvSpPr>
          <p:nvPr>
            <p:ph type="title" hasCustomPrompt="1"/>
          </p:nvPr>
        </p:nvSpPr>
        <p:spPr bwMode="auto">
          <a:xfrm>
            <a:off x="407988" y="644520"/>
            <a:ext cx="5400675" cy="387798"/>
          </a:xfrm>
        </p:spPr>
        <p:txBody>
          <a:bodyPr anchor="b"/>
          <a:lstStyle>
            <a:lvl1pPr>
              <a:defRPr>
                <a:solidFill>
                  <a:schemeClr val="tx2"/>
                </a:solidFill>
              </a:defRPr>
            </a:lvl1pPr>
          </a:lstStyle>
          <a:p>
            <a:r>
              <a:rPr lang="en-US"/>
              <a:t>Headline in Deep Space Blue</a:t>
            </a:r>
            <a:endParaRPr lang="en-IN"/>
          </a:p>
        </p:txBody>
      </p:sp>
    </p:spTree>
    <p:extLst>
      <p:ext uri="{BB962C8B-B14F-4D97-AF65-F5344CB8AC3E}">
        <p14:creationId xmlns:p14="http://schemas.microsoft.com/office/powerpoint/2010/main" val="1777631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2" pos="3659">
          <p15:clr>
            <a:srgbClr val="F26B43"/>
          </p15:clr>
        </p15:guide>
        <p15:guide id="3" pos="3840">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 Title, text and image (1/3)">
    <p:spTree>
      <p:nvGrpSpPr>
        <p:cNvPr id="1" name=""/>
        <p:cNvGrpSpPr/>
        <p:nvPr/>
      </p:nvGrpSpPr>
      <p:grpSpPr>
        <a:xfrm>
          <a:off x="0" y="0"/>
          <a:ext cx="0" cy="0"/>
          <a:chOff x="0" y="0"/>
          <a:chExt cx="0" cy="0"/>
        </a:xfrm>
      </p:grpSpPr>
      <p:sp>
        <p:nvSpPr>
          <p:cNvPr id="2" name="Bildplatzhalter 7">
            <a:extLst>
              <a:ext uri="{FF2B5EF4-FFF2-40B4-BE49-F238E27FC236}">
                <a16:creationId xmlns:a16="http://schemas.microsoft.com/office/drawing/2014/main" id="{CC6CB042-39BB-EFB2-665A-B836BA02850B}"/>
              </a:ext>
            </a:extLst>
          </p:cNvPr>
          <p:cNvSpPr>
            <a:spLocks noGrp="1"/>
          </p:cNvSpPr>
          <p:nvPr>
            <p:ph type="pic" sz="quarter" idx="17" hasCustomPrompt="1"/>
          </p:nvPr>
        </p:nvSpPr>
        <p:spPr bwMode="auto">
          <a:xfrm>
            <a:off x="8128000" y="0"/>
            <a:ext cx="4064000" cy="6858000"/>
          </a:xfrm>
          <a:solidFill>
            <a:srgbClr val="D9DFE0"/>
          </a:solidFill>
        </p:spPr>
        <p:txBody>
          <a:bodyPr lIns="360000" rIns="360000" bIns="1080000" anchor="ctr"/>
          <a:lstStyle>
            <a:lvl1pPr algn="ctr">
              <a:spcBef>
                <a:spcPts val="0"/>
              </a:spcBef>
              <a:defRPr b="0">
                <a:solidFill>
                  <a:srgbClr val="002733"/>
                </a:solidFill>
              </a:defRPr>
            </a:lvl1pPr>
          </a:lstStyle>
          <a:p>
            <a:r>
              <a:rPr lang="en-US" noProof="0"/>
              <a:t>Add image by clicking on icon, then ‘Send to Back’</a:t>
            </a:r>
          </a:p>
        </p:txBody>
      </p:sp>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Nr.›</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06799" y="5309284"/>
            <a:ext cx="3567600"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26" name="Textplatzhalter 6">
            <a:extLst>
              <a:ext uri="{FF2B5EF4-FFF2-40B4-BE49-F238E27FC236}">
                <a16:creationId xmlns:a16="http://schemas.microsoft.com/office/drawing/2014/main" id="{4F6DD5DD-B918-CD7F-813B-91204DFBF020}"/>
              </a:ext>
            </a:extLst>
          </p:cNvPr>
          <p:cNvSpPr>
            <a:spLocks noGrp="1"/>
          </p:cNvSpPr>
          <p:nvPr>
            <p:ph type="body" sz="quarter" idx="16" hasCustomPrompt="1"/>
          </p:nvPr>
        </p:nvSpPr>
        <p:spPr bwMode="auto">
          <a:xfrm>
            <a:off x="4283611" y="5309284"/>
            <a:ext cx="3567600"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6" name="Textplatzhalter 8">
            <a:extLst>
              <a:ext uri="{FF2B5EF4-FFF2-40B4-BE49-F238E27FC236}">
                <a16:creationId xmlns:a16="http://schemas.microsoft.com/office/drawing/2014/main" id="{0373DD90-D7FA-1218-11BF-6A7E17C17FA3}"/>
              </a:ext>
            </a:extLst>
          </p:cNvPr>
          <p:cNvSpPr>
            <a:spLocks noGrp="1"/>
          </p:cNvSpPr>
          <p:nvPr>
            <p:ph type="body" sz="quarter" idx="14" hasCustomPrompt="1"/>
          </p:nvPr>
        </p:nvSpPr>
        <p:spPr bwMode="auto">
          <a:xfrm>
            <a:off x="406401" y="1056085"/>
            <a:ext cx="7454824" cy="276999"/>
          </a:xfrm>
        </p:spPr>
        <p:txBody>
          <a:bodyPr wrap="square" anchor="t">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9" name="Title 6">
            <a:extLst>
              <a:ext uri="{FF2B5EF4-FFF2-40B4-BE49-F238E27FC236}">
                <a16:creationId xmlns:a16="http://schemas.microsoft.com/office/drawing/2014/main" id="{1644E899-EA27-B4DA-A0EE-D1B410EE7BA0}"/>
              </a:ext>
            </a:extLst>
          </p:cNvPr>
          <p:cNvSpPr>
            <a:spLocks noGrp="1"/>
          </p:cNvSpPr>
          <p:nvPr>
            <p:ph type="title" hasCustomPrompt="1"/>
          </p:nvPr>
        </p:nvSpPr>
        <p:spPr bwMode="auto">
          <a:xfrm>
            <a:off x="407988" y="644520"/>
            <a:ext cx="7451726" cy="387798"/>
          </a:xfrm>
        </p:spPr>
        <p:txBody>
          <a:bodyPr anchor="b"/>
          <a:lstStyle>
            <a:lvl1pPr>
              <a:defRPr>
                <a:solidFill>
                  <a:schemeClr val="tx2"/>
                </a:solidFill>
              </a:defRPr>
            </a:lvl1pPr>
          </a:lstStyle>
          <a:p>
            <a:r>
              <a:rPr lang="en-US"/>
              <a:t>Headline in The Group Head Light 28pt</a:t>
            </a:r>
            <a:endParaRPr lang="en-IN"/>
          </a:p>
        </p:txBody>
      </p:sp>
    </p:spTree>
    <p:extLst>
      <p:ext uri="{BB962C8B-B14F-4D97-AF65-F5344CB8AC3E}">
        <p14:creationId xmlns:p14="http://schemas.microsoft.com/office/powerpoint/2010/main" val="1595266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4951">
          <p15:clr>
            <a:srgbClr val="F26B43"/>
          </p15:clr>
        </p15:guide>
        <p15:guide id="2" pos="511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 Quote with image">
    <p:bg>
      <p:bgPr>
        <a:solidFill>
          <a:schemeClr val="accent1"/>
        </a:solidFill>
        <a:effectLst/>
      </p:bgPr>
    </p:bg>
    <p:spTree>
      <p:nvGrpSpPr>
        <p:cNvPr id="1" name=""/>
        <p:cNvGrpSpPr/>
        <p:nvPr/>
      </p:nvGrpSpPr>
      <p:grpSpPr>
        <a:xfrm>
          <a:off x="0" y="0"/>
          <a:ext cx="0" cy="0"/>
          <a:chOff x="0" y="0"/>
          <a:chExt cx="0" cy="0"/>
        </a:xfrm>
      </p:grpSpPr>
      <p:sp>
        <p:nvSpPr>
          <p:cNvPr id="2" name="Bildplatzhalter 7">
            <a:extLst>
              <a:ext uri="{FF2B5EF4-FFF2-40B4-BE49-F238E27FC236}">
                <a16:creationId xmlns:a16="http://schemas.microsoft.com/office/drawing/2014/main" id="{D8F1DD1D-0D28-FD5D-25E3-C1F92D9DBAC0}"/>
              </a:ext>
            </a:extLst>
          </p:cNvPr>
          <p:cNvSpPr>
            <a:spLocks noGrp="1"/>
          </p:cNvSpPr>
          <p:nvPr>
            <p:ph type="pic" sz="quarter" idx="13" hasCustomPrompt="1"/>
          </p:nvPr>
        </p:nvSpPr>
        <p:spPr bwMode="auto">
          <a:xfrm>
            <a:off x="0" y="-15640"/>
            <a:ext cx="12192000" cy="6873640"/>
          </a:xfrm>
          <a:noFill/>
        </p:spPr>
        <p:txBody>
          <a:bodyPr lIns="432000"/>
          <a:lstStyle>
            <a:lvl1pPr>
              <a:spcBef>
                <a:spcPts val="0"/>
              </a:spcBef>
              <a:defRPr b="0">
                <a:solidFill>
                  <a:schemeClr val="tx1"/>
                </a:solidFill>
              </a:defRPr>
            </a:lvl1pPr>
          </a:lstStyle>
          <a:p>
            <a:r>
              <a:rPr lang="en-US" noProof="0"/>
              <a:t>Please select an image by clicking on the “Insert” tab and choosing the “Pictures” command.</a:t>
            </a:r>
          </a:p>
        </p:txBody>
      </p:sp>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Nr.›</a:t>
            </a:fld>
            <a:endParaRPr lang="en-US" noProof="0"/>
          </a:p>
        </p:txBody>
      </p:sp>
      <p:sp>
        <p:nvSpPr>
          <p:cNvPr id="8" name="Textplatzhalter 2">
            <a:extLst>
              <a:ext uri="{FF2B5EF4-FFF2-40B4-BE49-F238E27FC236}">
                <a16:creationId xmlns:a16="http://schemas.microsoft.com/office/drawing/2014/main" id="{10D3F64A-3D63-9A75-75F7-C975820E5E66}"/>
              </a:ext>
            </a:extLst>
          </p:cNvPr>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20B0604020202020204" pitchFamily="34" charset="0"/>
              <a:buNone/>
              <a:defRPr sz="4400" b="0">
                <a:solidFill>
                  <a:schemeClr val="tx1"/>
                </a:solidFill>
                <a:latin typeface="+mj-lt"/>
              </a:defRPr>
            </a:lvl1pPr>
            <a:lvl2pPr marL="0" indent="0">
              <a:lnSpc>
                <a:spcPct val="90000"/>
              </a:lnSpc>
              <a:spcBef>
                <a:spcPts val="0"/>
              </a:spcBef>
              <a:buFont typeface="The Group TEXT" panose="020B0604020202020204" pitchFamily="34"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p>
        </p:txBody>
      </p:sp>
      <p:sp>
        <p:nvSpPr>
          <p:cNvPr id="9" name="Textplatzhalter 2">
            <a:extLst>
              <a:ext uri="{FF2B5EF4-FFF2-40B4-BE49-F238E27FC236}">
                <a16:creationId xmlns:a16="http://schemas.microsoft.com/office/drawing/2014/main" id="{212A0ABC-E720-EB26-0CBD-5D70861878D1}"/>
              </a:ext>
            </a:extLst>
          </p:cNvPr>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20B0604020202020204" pitchFamily="34" charset="0"/>
              <a:buNone/>
              <a:defRPr sz="1600" b="0">
                <a:solidFill>
                  <a:srgbClr val="C2FE06"/>
                </a:solidFill>
              </a:defRPr>
            </a:lvl1pPr>
            <a:lvl2pPr marL="0" indent="0" algn="ctr">
              <a:buFont typeface="The Group TEXT" panose="020B0604020202020204" pitchFamily="34"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Electric Neon</a:t>
            </a:r>
          </a:p>
        </p:txBody>
      </p:sp>
    </p:spTree>
    <p:extLst>
      <p:ext uri="{BB962C8B-B14F-4D97-AF65-F5344CB8AC3E}">
        <p14:creationId xmlns:p14="http://schemas.microsoft.com/office/powerpoint/2010/main" val="1598615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  Quote Deep Space Blue">
    <p:bg>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Nr.›</a:t>
            </a:fld>
            <a:endParaRPr lang="en-US"/>
          </a:p>
        </p:txBody>
      </p:sp>
      <p:pic>
        <p:nvPicPr>
          <p:cNvPr id="2" name="Picture 10" descr="A black background with white text&#10;&#10;Description automatically generated with low confidence">
            <a:extLst>
              <a:ext uri="{FF2B5EF4-FFF2-40B4-BE49-F238E27FC236}">
                <a16:creationId xmlns:a16="http://schemas.microsoft.com/office/drawing/2014/main" id="{CA9F1942-7025-8074-1FA9-500FDA0A318E}"/>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6" name="Textplatzhalter 2">
            <a:extLst>
              <a:ext uri="{FF2B5EF4-FFF2-40B4-BE49-F238E27FC236}">
                <a16:creationId xmlns:a16="http://schemas.microsoft.com/office/drawing/2014/main" id="{8542946F-FDFC-1EBA-D10D-03F735934A86}"/>
              </a:ext>
            </a:extLst>
          </p:cNvPr>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20B0604020202020204" pitchFamily="34" charset="0"/>
              <a:buNone/>
              <a:defRPr sz="4400" b="0">
                <a:solidFill>
                  <a:schemeClr val="tx1"/>
                </a:solidFill>
                <a:latin typeface="+mj-lt"/>
              </a:defRPr>
            </a:lvl1pPr>
            <a:lvl2pPr marL="0" indent="0">
              <a:lnSpc>
                <a:spcPct val="90000"/>
              </a:lnSpc>
              <a:spcBef>
                <a:spcPts val="0"/>
              </a:spcBef>
              <a:buFont typeface="The Group TEXT" panose="020B0604020202020204" pitchFamily="34"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p>
        </p:txBody>
      </p:sp>
      <p:sp>
        <p:nvSpPr>
          <p:cNvPr id="7" name="Textplatzhalter 2">
            <a:extLst>
              <a:ext uri="{FF2B5EF4-FFF2-40B4-BE49-F238E27FC236}">
                <a16:creationId xmlns:a16="http://schemas.microsoft.com/office/drawing/2014/main" id="{B583B281-52A3-4965-2902-133094E9A645}"/>
              </a:ext>
            </a:extLst>
          </p:cNvPr>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20B0604020202020204" pitchFamily="34" charset="0"/>
              <a:buNone/>
              <a:defRPr sz="1600" b="0">
                <a:solidFill>
                  <a:srgbClr val="C2FE06"/>
                </a:solidFill>
              </a:defRPr>
            </a:lvl1pPr>
            <a:lvl2pPr marL="0" indent="0" algn="ctr">
              <a:buFont typeface="The Group TEXT" panose="020B0604020202020204" pitchFamily="34"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Electric Neon</a:t>
            </a:r>
          </a:p>
        </p:txBody>
      </p:sp>
    </p:spTree>
    <p:extLst>
      <p:ext uri="{BB962C8B-B14F-4D97-AF65-F5344CB8AC3E}">
        <p14:creationId xmlns:p14="http://schemas.microsoft.com/office/powerpoint/2010/main" val="23653544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Intro slide White">
    <p:bg bwMode="auto">
      <p:bgRef idx="1001">
        <a:schemeClr val="bg1"/>
      </p:bgRef>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974D658-BEC9-0296-3EBD-B84394FBB385}"/>
              </a:ext>
            </a:extLst>
          </p:cNvPr>
          <p:cNvGrpSpPr/>
          <p:nvPr userDrawn="1"/>
        </p:nvGrpSpPr>
        <p:grpSpPr>
          <a:xfrm>
            <a:off x="2155100" y="3164986"/>
            <a:ext cx="7920000" cy="540000"/>
            <a:chOff x="2155100" y="3164986"/>
            <a:chExt cx="7920000" cy="540000"/>
          </a:xfrm>
        </p:grpSpPr>
        <p:sp>
          <p:nvSpPr>
            <p:cNvPr id="8" name="Rectangle 7">
              <a:extLst>
                <a:ext uri="{FF2B5EF4-FFF2-40B4-BE49-F238E27FC236}">
                  <a16:creationId xmlns:a16="http://schemas.microsoft.com/office/drawing/2014/main" id="{C86E173A-9D00-D12A-7A61-89F45A80F525}"/>
                </a:ext>
              </a:extLst>
            </p:cNvPr>
            <p:cNvSpPr/>
            <p:nvPr userDrawn="1"/>
          </p:nvSpPr>
          <p:spPr>
            <a:xfrm>
              <a:off x="2155100" y="3164986"/>
              <a:ext cx="792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Font typeface="The Group TEXT" panose="020B0604020202020204" pitchFamily="34" charset="0"/>
                <a:buChar char="•"/>
              </a:pPr>
              <a:endParaRPr lang="en-GB" sz="1600">
                <a:solidFill>
                  <a:schemeClr val="accent2"/>
                </a:solidFill>
              </a:endParaRPr>
            </a:p>
          </p:txBody>
        </p:sp>
        <p:pic>
          <p:nvPicPr>
            <p:cNvPr id="2" name="Picture 7">
              <a:extLst>
                <a:ext uri="{FF2B5EF4-FFF2-40B4-BE49-F238E27FC236}">
                  <a16:creationId xmlns:a16="http://schemas.microsoft.com/office/drawing/2014/main" id="{9EAD2BC0-6BA8-FECA-FDDA-7766F9F452E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09800" y="3218497"/>
              <a:ext cx="7772400" cy="421005"/>
            </a:xfrm>
            <a:prstGeom prst="rect">
              <a:avLst/>
            </a:prstGeom>
          </p:spPr>
        </p:pic>
      </p:grpSp>
    </p:spTree>
    <p:extLst>
      <p:ext uri="{BB962C8B-B14F-4D97-AF65-F5344CB8AC3E}">
        <p14:creationId xmlns:p14="http://schemas.microsoft.com/office/powerpoint/2010/main" val="1203962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 Quote White">
    <p:bg>
      <p:bgPr>
        <a:solidFill>
          <a:schemeClr val="bg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Nr.›</a:t>
            </a:fld>
            <a:endParaRPr lang="en-US" noProof="0"/>
          </a:p>
        </p:txBody>
      </p:sp>
      <p:sp>
        <p:nvSpPr>
          <p:cNvPr id="2" name="Textplatzhalter 2">
            <a:extLst>
              <a:ext uri="{FF2B5EF4-FFF2-40B4-BE49-F238E27FC236}">
                <a16:creationId xmlns:a16="http://schemas.microsoft.com/office/drawing/2014/main" id="{A6F6B13F-FDA6-45DA-66D0-1B5BABDD0FC7}"/>
              </a:ext>
            </a:extLst>
          </p:cNvPr>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20B0604020202020204" pitchFamily="34" charset="0"/>
              <a:buNone/>
              <a:defRPr sz="4400" b="0">
                <a:solidFill>
                  <a:schemeClr val="tx2"/>
                </a:solidFill>
                <a:latin typeface="+mj-lt"/>
              </a:defRPr>
            </a:lvl1pPr>
            <a:lvl2pPr marL="0" indent="0">
              <a:lnSpc>
                <a:spcPct val="90000"/>
              </a:lnSpc>
              <a:spcBef>
                <a:spcPts val="0"/>
              </a:spcBef>
              <a:buFont typeface="The Group TEXT" panose="020B0604020202020204" pitchFamily="34"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p>
        </p:txBody>
      </p:sp>
      <p:sp>
        <p:nvSpPr>
          <p:cNvPr id="6" name="Textplatzhalter 2">
            <a:extLst>
              <a:ext uri="{FF2B5EF4-FFF2-40B4-BE49-F238E27FC236}">
                <a16:creationId xmlns:a16="http://schemas.microsoft.com/office/drawing/2014/main" id="{512CE905-259F-C415-1B8D-5D2C8F6D0D6A}"/>
              </a:ext>
            </a:extLst>
          </p:cNvPr>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20B0604020202020204" pitchFamily="34" charset="0"/>
              <a:buNone/>
              <a:defRPr sz="1600" b="0">
                <a:solidFill>
                  <a:schemeClr val="accent2"/>
                </a:solidFill>
              </a:defRPr>
            </a:lvl1pPr>
            <a:lvl2pPr marL="0" indent="0" algn="ctr">
              <a:buFont typeface="The Group TEXT" panose="020B0604020202020204" pitchFamily="34"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Vivid Green</a:t>
            </a:r>
          </a:p>
        </p:txBody>
      </p:sp>
    </p:spTree>
    <p:extLst>
      <p:ext uri="{BB962C8B-B14F-4D97-AF65-F5344CB8AC3E}">
        <p14:creationId xmlns:p14="http://schemas.microsoft.com/office/powerpoint/2010/main" val="552521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 Title, action title and text Deep Space Blue">
    <p:bg bwMode="blackWhite">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Nr.›</a:t>
            </a:fld>
            <a:endParaRPr lang="en-US" noProof="0"/>
          </a:p>
        </p:txBody>
      </p:sp>
      <p:sp>
        <p:nvSpPr>
          <p:cNvPr id="6" name="Content Placeholder 5">
            <a:extLst>
              <a:ext uri="{FF2B5EF4-FFF2-40B4-BE49-F238E27FC236}">
                <a16:creationId xmlns:a16="http://schemas.microsoft.com/office/drawing/2014/main" id="{46B5F060-0A5A-C2BE-75A9-CDA11AAAD94F}"/>
              </a:ext>
            </a:extLst>
          </p:cNvPr>
          <p:cNvSpPr>
            <a:spLocks noGrp="1"/>
          </p:cNvSpPr>
          <p:nvPr>
            <p:ph sz="quarter" idx="14"/>
          </p:nvPr>
        </p:nvSpPr>
        <p:spPr bwMode="auto">
          <a:xfrm>
            <a:off x="406400" y="1844675"/>
            <a:ext cx="11380788" cy="4608513"/>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IN"/>
          </a:p>
        </p:txBody>
      </p:sp>
      <p:sp>
        <p:nvSpPr>
          <p:cNvPr id="7" name="Title 6">
            <a:extLst>
              <a:ext uri="{FF2B5EF4-FFF2-40B4-BE49-F238E27FC236}">
                <a16:creationId xmlns:a16="http://schemas.microsoft.com/office/drawing/2014/main" id="{925326D8-B12C-EFDB-FAF8-949FECBF192B}"/>
              </a:ext>
            </a:extLst>
          </p:cNvPr>
          <p:cNvSpPr>
            <a:spLocks noGrp="1"/>
          </p:cNvSpPr>
          <p:nvPr>
            <p:ph type="title" hasCustomPrompt="1"/>
          </p:nvPr>
        </p:nvSpPr>
        <p:spPr bwMode="auto"/>
        <p:txBody>
          <a:bodyPr anchor="b"/>
          <a:lstStyle>
            <a:lvl1pPr>
              <a:defRPr>
                <a:solidFill>
                  <a:schemeClr val="tx1"/>
                </a:solidFill>
              </a:defRPr>
            </a:lvl1pPr>
          </a:lstStyle>
          <a:p>
            <a:r>
              <a:rPr lang="en-US"/>
              <a:t>Headline in The Group Head Light 28pt, White</a:t>
            </a:r>
            <a:endParaRPr lang="en-IN"/>
          </a:p>
        </p:txBody>
      </p:sp>
      <p:pic>
        <p:nvPicPr>
          <p:cNvPr id="9" name="Picture 10" descr="A black background with white text&#10;&#10;Description automatically generated with low confidence">
            <a:extLst>
              <a:ext uri="{FF2B5EF4-FFF2-40B4-BE49-F238E27FC236}">
                <a16:creationId xmlns:a16="http://schemas.microsoft.com/office/drawing/2014/main" id="{835C1CF9-9E26-D811-EAD7-ABA92DC9B837}"/>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2" name="Textplatzhalter 8">
            <a:extLst>
              <a:ext uri="{FF2B5EF4-FFF2-40B4-BE49-F238E27FC236}">
                <a16:creationId xmlns:a16="http://schemas.microsoft.com/office/drawing/2014/main" id="{56D2AC29-A359-C580-C99E-38850DDD2316}"/>
              </a:ext>
            </a:extLst>
          </p:cNvPr>
          <p:cNvSpPr>
            <a:spLocks noGrp="1"/>
          </p:cNvSpPr>
          <p:nvPr>
            <p:ph type="body" sz="quarter" idx="15"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Tree>
    <p:extLst>
      <p:ext uri="{BB962C8B-B14F-4D97-AF65-F5344CB8AC3E}">
        <p14:creationId xmlns:p14="http://schemas.microsoft.com/office/powerpoint/2010/main" val="1276310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6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 Title, action title and text Whi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Nr.›</a:t>
            </a:fld>
            <a:endParaRPr lang="en-US" noProof="0"/>
          </a:p>
        </p:txBody>
      </p:sp>
      <p:sp>
        <p:nvSpPr>
          <p:cNvPr id="9" name="Textplatzhalter 8">
            <a:extLst>
              <a:ext uri="{FF2B5EF4-FFF2-40B4-BE49-F238E27FC236}">
                <a16:creationId xmlns:a16="http://schemas.microsoft.com/office/drawing/2014/main" id="{7874EFD6-14E9-AAD6-30AA-E5A2849D0B7F}"/>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6" name="Content Placeholder 5">
            <a:extLst>
              <a:ext uri="{FF2B5EF4-FFF2-40B4-BE49-F238E27FC236}">
                <a16:creationId xmlns:a16="http://schemas.microsoft.com/office/drawing/2014/main" id="{B41E7460-C7D3-03A9-6131-23A8F994D67D}"/>
              </a:ext>
            </a:extLst>
          </p:cNvPr>
          <p:cNvSpPr>
            <a:spLocks noGrp="1"/>
          </p:cNvSpPr>
          <p:nvPr>
            <p:ph sz="quarter" idx="15"/>
          </p:nvPr>
        </p:nvSpPr>
        <p:spPr bwMode="auto">
          <a:xfrm>
            <a:off x="407988" y="1844675"/>
            <a:ext cx="11376020" cy="4608513"/>
          </a:xfrm>
        </p:spPr>
        <p:txBody>
          <a:bodyPr/>
          <a:lstStyle>
            <a:lvl1pPr>
              <a:defRPr sz="1400"/>
            </a:lvl1pPr>
            <a:lvl2pPr>
              <a:defRPr sz="1400"/>
            </a:lvl2pPr>
            <a:lvl3pPr>
              <a:defRPr sz="1400"/>
            </a:lvl3pPr>
            <a:lvl4pPr>
              <a:defRPr sz="1400"/>
            </a:lvl4pPr>
            <a:lvl5pPr>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IN"/>
          </a:p>
        </p:txBody>
      </p:sp>
      <p:sp>
        <p:nvSpPr>
          <p:cNvPr id="7" name="Title 6">
            <a:extLst>
              <a:ext uri="{FF2B5EF4-FFF2-40B4-BE49-F238E27FC236}">
                <a16:creationId xmlns:a16="http://schemas.microsoft.com/office/drawing/2014/main" id="{B6670DB8-E887-E7EE-2BAB-1480C153CA36}"/>
              </a:ext>
            </a:extLst>
          </p:cNvPr>
          <p:cNvSpPr>
            <a:spLocks noGrp="1"/>
          </p:cNvSpPr>
          <p:nvPr>
            <p:ph type="title" hasCustomPrompt="1"/>
          </p:nvPr>
        </p:nvSpPr>
        <p:spPr bwMode="auto"/>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678969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6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 Title, action title and text Gradient Vivid Green">
    <p:bg bwMode="ltGray">
      <p:bgPr>
        <a:solidFill>
          <a:srgbClr val="008C82"/>
        </a:solidFill>
        <a:effectLst/>
      </p:bgPr>
    </p:bg>
    <p:spTree>
      <p:nvGrpSpPr>
        <p:cNvPr id="1" name=""/>
        <p:cNvGrpSpPr/>
        <p:nvPr/>
      </p:nvGrpSpPr>
      <p:grpSpPr>
        <a:xfrm>
          <a:off x="0" y="0"/>
          <a:ext cx="0" cy="0"/>
          <a:chOff x="0" y="0"/>
          <a:chExt cx="0" cy="0"/>
        </a:xfrm>
      </p:grpSpPr>
      <p:grpSp>
        <p:nvGrpSpPr>
          <p:cNvPr id="8" name="Graphic 6">
            <a:extLst>
              <a:ext uri="{FF2B5EF4-FFF2-40B4-BE49-F238E27FC236}">
                <a16:creationId xmlns:a16="http://schemas.microsoft.com/office/drawing/2014/main" id="{5C48625A-16E7-66C6-4D2F-01F1256F53D5}"/>
              </a:ext>
            </a:extLst>
          </p:cNvPr>
          <p:cNvGrpSpPr/>
          <p:nvPr userDrawn="1"/>
        </p:nvGrpSpPr>
        <p:grpSpPr bwMode="ltGray">
          <a:xfrm rot="10800000">
            <a:off x="0" y="0"/>
            <a:ext cx="12192000" cy="6858000"/>
            <a:chOff x="0" y="0"/>
            <a:chExt cx="12192000" cy="6857999"/>
          </a:xfrm>
        </p:grpSpPr>
        <p:sp>
          <p:nvSpPr>
            <p:cNvPr id="9" name="Freeform 8">
              <a:extLst>
                <a:ext uri="{FF2B5EF4-FFF2-40B4-BE49-F238E27FC236}">
                  <a16:creationId xmlns:a16="http://schemas.microsoft.com/office/drawing/2014/main" id="{9EBF3CDB-7D69-DE83-B713-0E71F7217C11}"/>
                </a:ext>
              </a:extLst>
            </p:cNvPr>
            <p:cNvSpPr/>
            <p:nvPr/>
          </p:nvSpPr>
          <p:spPr bwMode="ltGray">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0" name="Freeform 9">
              <a:extLst>
                <a:ext uri="{FF2B5EF4-FFF2-40B4-BE49-F238E27FC236}">
                  <a16:creationId xmlns:a16="http://schemas.microsoft.com/office/drawing/2014/main" id="{5F8B1118-C27B-4224-3882-020051D2DB69}"/>
                </a:ext>
              </a:extLst>
            </p:cNvPr>
            <p:cNvSpPr/>
            <p:nvPr/>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0392D3B8-6133-B1A6-911B-51C16B7695C5}"/>
                </a:ext>
              </a:extLst>
            </p:cNvPr>
            <p:cNvSpPr/>
            <p:nvPr userDrawn="1"/>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14" name="Freeform 13">
            <a:extLst>
              <a:ext uri="{FF2B5EF4-FFF2-40B4-BE49-F238E27FC236}">
                <a16:creationId xmlns:a16="http://schemas.microsoft.com/office/drawing/2014/main" id="{812BBC23-72BE-933E-7E16-92C132AD719C}"/>
              </a:ext>
            </a:extLst>
          </p:cNvPr>
          <p:cNvSpPr/>
          <p:nvPr userDrawn="1"/>
        </p:nvSpPr>
        <p:spPr bwMode="ltGray">
          <a:xfrm rot="16200000">
            <a:off x="6605826" y="1271826"/>
            <a:ext cx="6857998" cy="4314351"/>
          </a:xfrm>
          <a:custGeom>
            <a:avLst/>
            <a:gdLst>
              <a:gd name="connsiteX0" fmla="*/ 6857998 w 6857998"/>
              <a:gd name="connsiteY0" fmla="*/ 0 h 4314351"/>
              <a:gd name="connsiteX1" fmla="*/ 6857998 w 6857998"/>
              <a:gd name="connsiteY1" fmla="*/ 4314351 h 4314351"/>
              <a:gd name="connsiteX2" fmla="*/ 0 w 6857998"/>
              <a:gd name="connsiteY2" fmla="*/ 4314351 h 4314351"/>
              <a:gd name="connsiteX3" fmla="*/ 0 w 6857998"/>
              <a:gd name="connsiteY3" fmla="*/ 2571665 h 4314351"/>
              <a:gd name="connsiteX4" fmla="*/ 438488 w 6857998"/>
              <a:gd name="connsiteY4" fmla="*/ 2546480 h 4314351"/>
              <a:gd name="connsiteX5" fmla="*/ 6857998 w 6857998"/>
              <a:gd name="connsiteY5" fmla="*/ 0 h 431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7998" h="4314351">
                <a:moveTo>
                  <a:pt x="6857998" y="0"/>
                </a:moveTo>
                <a:lnTo>
                  <a:pt x="6857998" y="4314351"/>
                </a:lnTo>
                <a:lnTo>
                  <a:pt x="0" y="4314351"/>
                </a:lnTo>
                <a:lnTo>
                  <a:pt x="0" y="2571665"/>
                </a:lnTo>
                <a:lnTo>
                  <a:pt x="438488" y="2546480"/>
                </a:lnTo>
                <a:cubicBezTo>
                  <a:pt x="6189193" y="2144405"/>
                  <a:pt x="6857998" y="0"/>
                  <a:pt x="6857998" y="0"/>
                </a:cubicBezTo>
                <a:close/>
              </a:path>
            </a:pathLst>
          </a:custGeom>
          <a:gradFill>
            <a:gsLst>
              <a:gs pos="0">
                <a:schemeClr val="accent2">
                  <a:alpha val="0"/>
                </a:schemeClr>
              </a:gs>
              <a:gs pos="34000">
                <a:schemeClr val="accent2">
                  <a:alpha val="99617"/>
                </a:schemeClr>
              </a:gs>
              <a:gs pos="100000">
                <a:srgbClr val="FFFFFF">
                  <a:alpha val="59000"/>
                </a:srgbClr>
              </a:gs>
            </a:gsLst>
            <a:lin ang="18600000" scaled="0"/>
          </a:gradFill>
          <a:ln w="3175" cap="flat">
            <a:noFill/>
            <a:prstDash val="solid"/>
            <a:miter/>
          </a:ln>
          <a:effectLst>
            <a:softEdge rad="0"/>
          </a:effectLst>
        </p:spPr>
        <p:txBody>
          <a:bodyPr wrap="square" rtlCol="0" anchor="ctr">
            <a:noAutofit/>
          </a:bodyPr>
          <a:lstStyle/>
          <a:p>
            <a:pPr lvl="0"/>
            <a:endParaRPr lang="en-GB"/>
          </a:p>
        </p:txBody>
      </p:sp>
      <p:pic>
        <p:nvPicPr>
          <p:cNvPr id="12" name="Picture 10" descr="A black background with white text&#10;&#10;Description automatically generated with low confidence">
            <a:extLst>
              <a:ext uri="{FF2B5EF4-FFF2-40B4-BE49-F238E27FC236}">
                <a16:creationId xmlns:a16="http://schemas.microsoft.com/office/drawing/2014/main" id="{37B055B3-B71C-E433-F32B-8653D85FB401}"/>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Nr.›</a:t>
            </a:fld>
            <a:endParaRPr lang="en-US" noProof="0"/>
          </a:p>
        </p:txBody>
      </p:sp>
      <p:sp>
        <p:nvSpPr>
          <p:cNvPr id="6" name="Content Placeholder 5">
            <a:extLst>
              <a:ext uri="{FF2B5EF4-FFF2-40B4-BE49-F238E27FC236}">
                <a16:creationId xmlns:a16="http://schemas.microsoft.com/office/drawing/2014/main" id="{46B5F060-0A5A-C2BE-75A9-CDA11AAAD94F}"/>
              </a:ext>
            </a:extLst>
          </p:cNvPr>
          <p:cNvSpPr>
            <a:spLocks noGrp="1"/>
          </p:cNvSpPr>
          <p:nvPr>
            <p:ph sz="quarter" idx="14"/>
          </p:nvPr>
        </p:nvSpPr>
        <p:spPr bwMode="auto">
          <a:xfrm>
            <a:off x="406400" y="1844675"/>
            <a:ext cx="11380788" cy="4608513"/>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IN"/>
          </a:p>
        </p:txBody>
      </p:sp>
      <p:sp>
        <p:nvSpPr>
          <p:cNvPr id="7" name="Title 6">
            <a:extLst>
              <a:ext uri="{FF2B5EF4-FFF2-40B4-BE49-F238E27FC236}">
                <a16:creationId xmlns:a16="http://schemas.microsoft.com/office/drawing/2014/main" id="{925326D8-B12C-EFDB-FAF8-949FECBF192B}"/>
              </a:ext>
            </a:extLst>
          </p:cNvPr>
          <p:cNvSpPr>
            <a:spLocks noGrp="1"/>
          </p:cNvSpPr>
          <p:nvPr>
            <p:ph type="title" hasCustomPrompt="1"/>
          </p:nvPr>
        </p:nvSpPr>
        <p:spPr bwMode="auto"/>
        <p:txBody>
          <a:bodyPr/>
          <a:lstStyle>
            <a:lvl1pPr>
              <a:defRPr>
                <a:solidFill>
                  <a:schemeClr val="tx1"/>
                </a:solidFill>
              </a:defRPr>
            </a:lvl1pPr>
          </a:lstStyle>
          <a:p>
            <a:r>
              <a:rPr lang="en-US"/>
              <a:t>Headline in The Group Head Light 28pt, White</a:t>
            </a:r>
            <a:endParaRPr lang="en-IN"/>
          </a:p>
        </p:txBody>
      </p:sp>
      <p:sp>
        <p:nvSpPr>
          <p:cNvPr id="2" name="Textplatzhalter 8">
            <a:extLst>
              <a:ext uri="{FF2B5EF4-FFF2-40B4-BE49-F238E27FC236}">
                <a16:creationId xmlns:a16="http://schemas.microsoft.com/office/drawing/2014/main" id="{56D2AC29-A359-C580-C99E-38850DDD2316}"/>
              </a:ext>
            </a:extLst>
          </p:cNvPr>
          <p:cNvSpPr>
            <a:spLocks noGrp="1"/>
          </p:cNvSpPr>
          <p:nvPr>
            <p:ph type="body" sz="quarter" idx="15"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Tree>
    <p:extLst>
      <p:ext uri="{BB962C8B-B14F-4D97-AF65-F5344CB8AC3E}">
        <p14:creationId xmlns:p14="http://schemas.microsoft.com/office/powerpoint/2010/main" val="39260987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6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hree content boxes, Vivid Green">
    <p:bg bwMode="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Nr.›</a:t>
            </a:fld>
            <a:endParaRPr lang="en-US" noProof="0"/>
          </a:p>
        </p:txBody>
      </p:sp>
      <p:sp>
        <p:nvSpPr>
          <p:cNvPr id="13" name="Textplatzhalter 12">
            <a:extLst>
              <a:ext uri="{FF2B5EF4-FFF2-40B4-BE49-F238E27FC236}">
                <a16:creationId xmlns:a16="http://schemas.microsoft.com/office/drawing/2014/main" id="{6A088514-3B15-F475-200A-6B48BE99C679}"/>
              </a:ext>
            </a:extLst>
          </p:cNvPr>
          <p:cNvSpPr>
            <a:spLocks noGrp="1"/>
          </p:cNvSpPr>
          <p:nvPr>
            <p:ph type="body" sz="quarter" idx="36" hasCustomPrompt="1"/>
          </p:nvPr>
        </p:nvSpPr>
        <p:spPr bwMode="auto">
          <a:xfrm>
            <a:off x="406398" y="2226086"/>
            <a:ext cx="3600000" cy="3076575"/>
          </a:xfrm>
          <a:prstGeom prst="rect">
            <a:avLst/>
          </a:prstGeom>
          <a:solidFill>
            <a:srgbClr val="E5F3F2"/>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a:t>
            </a:r>
            <a:r>
              <a:rPr lang="de-DE" err="1"/>
              <a:t>to</a:t>
            </a:r>
            <a:r>
              <a:rPr lang="de-DE"/>
              <a:t> </a:t>
            </a:r>
            <a:r>
              <a:rPr lang="de-DE" err="1"/>
              <a:t>edit</a:t>
            </a:r>
            <a:r>
              <a:rPr lang="de-DE"/>
              <a:t> </a:t>
            </a:r>
            <a:r>
              <a:rPr lang="de-DE" err="1"/>
              <a:t>text</a:t>
            </a:r>
            <a:r>
              <a:rPr lang="de-DE"/>
              <a:t> </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p:txBody>
      </p:sp>
      <p:sp>
        <p:nvSpPr>
          <p:cNvPr id="14" name="Textplatzhalter 12">
            <a:extLst>
              <a:ext uri="{FF2B5EF4-FFF2-40B4-BE49-F238E27FC236}">
                <a16:creationId xmlns:a16="http://schemas.microsoft.com/office/drawing/2014/main" id="{E5EDA244-F91E-6A0C-C698-5FEB0C247F33}"/>
              </a:ext>
            </a:extLst>
          </p:cNvPr>
          <p:cNvSpPr>
            <a:spLocks noGrp="1"/>
          </p:cNvSpPr>
          <p:nvPr>
            <p:ph type="body" sz="quarter" idx="37" hasCustomPrompt="1"/>
          </p:nvPr>
        </p:nvSpPr>
        <p:spPr bwMode="auto">
          <a:xfrm>
            <a:off x="4295997" y="2226085"/>
            <a:ext cx="3600000" cy="3076575"/>
          </a:xfrm>
          <a:prstGeom prst="rect">
            <a:avLst/>
          </a:prstGeom>
          <a:solidFill>
            <a:srgbClr val="E5F3F2"/>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15" name="Textplatzhalter 12">
            <a:extLst>
              <a:ext uri="{FF2B5EF4-FFF2-40B4-BE49-F238E27FC236}">
                <a16:creationId xmlns:a16="http://schemas.microsoft.com/office/drawing/2014/main" id="{A392457F-76B8-4D7A-2564-1DB269E60032}"/>
              </a:ext>
            </a:extLst>
          </p:cNvPr>
          <p:cNvSpPr>
            <a:spLocks noGrp="1"/>
          </p:cNvSpPr>
          <p:nvPr>
            <p:ph type="body" sz="quarter" idx="38" hasCustomPrompt="1"/>
          </p:nvPr>
        </p:nvSpPr>
        <p:spPr bwMode="auto">
          <a:xfrm>
            <a:off x="8184632" y="2226086"/>
            <a:ext cx="3600000" cy="3076575"/>
          </a:xfrm>
          <a:prstGeom prst="rect">
            <a:avLst/>
          </a:prstGeom>
          <a:solidFill>
            <a:srgbClr val="E5F3F2"/>
          </a:solidFill>
        </p:spPr>
        <p:txBody>
          <a:bodyPr lIns="201168" tIns="201168" rIns="201168" bIns="201168"/>
          <a:lstStyle>
            <a:lvl1pPr>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2" name="Textplatzhalter 8">
            <a:extLst>
              <a:ext uri="{FF2B5EF4-FFF2-40B4-BE49-F238E27FC236}">
                <a16:creationId xmlns:a16="http://schemas.microsoft.com/office/drawing/2014/main" id="{C9F64156-E02D-143B-C523-C5808AC8E573}"/>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7" name="Title 6">
            <a:extLst>
              <a:ext uri="{FF2B5EF4-FFF2-40B4-BE49-F238E27FC236}">
                <a16:creationId xmlns:a16="http://schemas.microsoft.com/office/drawing/2014/main" id="{0EA94497-C75F-FD2C-3088-F3033350ED5D}"/>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2583359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hree content boxes, Deep Space Blue">
    <p:bg bwMode="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Nr.›</a:t>
            </a:fld>
            <a:endParaRPr lang="en-US" noProof="0"/>
          </a:p>
        </p:txBody>
      </p:sp>
      <p:sp>
        <p:nvSpPr>
          <p:cNvPr id="13" name="Textplatzhalter 12">
            <a:extLst>
              <a:ext uri="{FF2B5EF4-FFF2-40B4-BE49-F238E27FC236}">
                <a16:creationId xmlns:a16="http://schemas.microsoft.com/office/drawing/2014/main" id="{6A088514-3B15-F475-200A-6B48BE99C679}"/>
              </a:ext>
            </a:extLst>
          </p:cNvPr>
          <p:cNvSpPr>
            <a:spLocks noGrp="1"/>
          </p:cNvSpPr>
          <p:nvPr>
            <p:ph type="body" sz="quarter" idx="36" hasCustomPrompt="1"/>
          </p:nvPr>
        </p:nvSpPr>
        <p:spPr bwMode="auto">
          <a:xfrm>
            <a:off x="406398" y="2226086"/>
            <a:ext cx="3600000" cy="3076575"/>
          </a:xfrm>
          <a:prstGeom prst="rect">
            <a:avLst/>
          </a:prstGeom>
          <a:solidFill>
            <a:srgbClr val="E5E9EB"/>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14" name="Textplatzhalter 12">
            <a:extLst>
              <a:ext uri="{FF2B5EF4-FFF2-40B4-BE49-F238E27FC236}">
                <a16:creationId xmlns:a16="http://schemas.microsoft.com/office/drawing/2014/main" id="{E5EDA244-F91E-6A0C-C698-5FEB0C247F33}"/>
              </a:ext>
            </a:extLst>
          </p:cNvPr>
          <p:cNvSpPr>
            <a:spLocks noGrp="1"/>
          </p:cNvSpPr>
          <p:nvPr>
            <p:ph type="body" sz="quarter" idx="37" hasCustomPrompt="1"/>
          </p:nvPr>
        </p:nvSpPr>
        <p:spPr bwMode="auto">
          <a:xfrm>
            <a:off x="4295997" y="2226085"/>
            <a:ext cx="3600000" cy="3076575"/>
          </a:xfrm>
          <a:prstGeom prst="rect">
            <a:avLst/>
          </a:prstGeom>
          <a:solidFill>
            <a:srgbClr val="E5E9EB"/>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15" name="Textplatzhalter 12">
            <a:extLst>
              <a:ext uri="{FF2B5EF4-FFF2-40B4-BE49-F238E27FC236}">
                <a16:creationId xmlns:a16="http://schemas.microsoft.com/office/drawing/2014/main" id="{A392457F-76B8-4D7A-2564-1DB269E60032}"/>
              </a:ext>
            </a:extLst>
          </p:cNvPr>
          <p:cNvSpPr>
            <a:spLocks noGrp="1"/>
          </p:cNvSpPr>
          <p:nvPr>
            <p:ph type="body" sz="quarter" idx="38" hasCustomPrompt="1"/>
          </p:nvPr>
        </p:nvSpPr>
        <p:spPr bwMode="auto">
          <a:xfrm>
            <a:off x="8184632" y="2226086"/>
            <a:ext cx="3600000" cy="3076575"/>
          </a:xfrm>
          <a:prstGeom prst="rect">
            <a:avLst/>
          </a:prstGeom>
          <a:solidFill>
            <a:srgbClr val="E5E9EB"/>
          </a:solidFill>
        </p:spPr>
        <p:txBody>
          <a:bodyPr lIns="201168" tIns="201168" rIns="201168" bIns="201168"/>
          <a:lstStyle>
            <a:lvl1pPr>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2" name="Textplatzhalter 8">
            <a:extLst>
              <a:ext uri="{FF2B5EF4-FFF2-40B4-BE49-F238E27FC236}">
                <a16:creationId xmlns:a16="http://schemas.microsoft.com/office/drawing/2014/main" id="{E6902332-6F9E-037C-364D-0B598BD7DA8B}"/>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7" name="Title 6">
            <a:extLst>
              <a:ext uri="{FF2B5EF4-FFF2-40B4-BE49-F238E27FC236}">
                <a16:creationId xmlns:a16="http://schemas.microsoft.com/office/drawing/2014/main" id="{D5BB7CE7-15D3-3775-DAC5-2F5EE07A2400}"/>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610628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 Title and Vivid Green ">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58A9EA3B-039C-9721-87CB-05E23159D442}"/>
              </a:ext>
            </a:extLst>
          </p:cNvPr>
          <p:cNvSpPr/>
          <p:nvPr userDrawn="1"/>
        </p:nvSpPr>
        <p:spPr bwMode="auto">
          <a:xfrm>
            <a:off x="4405744" y="0"/>
            <a:ext cx="7786255" cy="6858000"/>
          </a:xfrm>
          <a:prstGeom prst="rect">
            <a:avLst/>
          </a:prstGeom>
          <a:solidFill>
            <a:srgbClr val="008C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5"/>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5"/>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5"/>
                </a:solidFill>
              </a:defRPr>
            </a:lvl1pPr>
          </a:lstStyle>
          <a:p>
            <a:fld id="{53C98C43-8B83-4748-BA0D-B0C90A16569F}" type="slidenum">
              <a:rPr lang="en-US" smtClean="0"/>
              <a:pPr/>
              <a:t>‹Nr.›</a:t>
            </a:fld>
            <a:endParaRPr lang="en-US"/>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06800" y="5309284"/>
            <a:ext cx="3735709"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pic>
        <p:nvPicPr>
          <p:cNvPr id="8" name="Picture 10" descr="A black background with white text&#10;&#10;Description automatically generated with low confidence">
            <a:extLst>
              <a:ext uri="{FF2B5EF4-FFF2-40B4-BE49-F238E27FC236}">
                <a16:creationId xmlns:a16="http://schemas.microsoft.com/office/drawing/2014/main" id="{3C55AA0C-0F4F-FA59-2C34-8089ABC87D49}"/>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9" name="Textplatzhalter 8">
            <a:extLst>
              <a:ext uri="{FF2B5EF4-FFF2-40B4-BE49-F238E27FC236}">
                <a16:creationId xmlns:a16="http://schemas.microsoft.com/office/drawing/2014/main" id="{8D1205B5-6729-E58F-A198-911131134C7C}"/>
              </a:ext>
            </a:extLst>
          </p:cNvPr>
          <p:cNvSpPr>
            <a:spLocks noGrp="1"/>
          </p:cNvSpPr>
          <p:nvPr>
            <p:ph type="body" sz="quarter" idx="14" hasCustomPrompt="1"/>
          </p:nvPr>
        </p:nvSpPr>
        <p:spPr bwMode="auto">
          <a:xfrm>
            <a:off x="406400" y="1844675"/>
            <a:ext cx="3735709" cy="553998"/>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0" name="Title 6">
            <a:extLst>
              <a:ext uri="{FF2B5EF4-FFF2-40B4-BE49-F238E27FC236}">
                <a16:creationId xmlns:a16="http://schemas.microsoft.com/office/drawing/2014/main" id="{80F9649A-5072-5254-09AE-05EB198FEB62}"/>
              </a:ext>
            </a:extLst>
          </p:cNvPr>
          <p:cNvSpPr>
            <a:spLocks noGrp="1"/>
          </p:cNvSpPr>
          <p:nvPr>
            <p:ph type="title" hasCustomPrompt="1"/>
          </p:nvPr>
        </p:nvSpPr>
        <p:spPr bwMode="auto">
          <a:xfrm>
            <a:off x="407988" y="644520"/>
            <a:ext cx="3734103" cy="1551194"/>
          </a:xfrm>
        </p:spPr>
        <p:txBody>
          <a:bodyPr anchor="t"/>
          <a:lstStyle/>
          <a:p>
            <a:r>
              <a:rPr lang="en-US" dirty="0"/>
              <a:t>Headline in The Group Head Light 28pt, Deep Space Blue</a:t>
            </a:r>
            <a:endParaRPr lang="en-IN" dirty="0"/>
          </a:p>
        </p:txBody>
      </p:sp>
    </p:spTree>
    <p:extLst>
      <p:ext uri="{BB962C8B-B14F-4D97-AF65-F5344CB8AC3E}">
        <p14:creationId xmlns:p14="http://schemas.microsoft.com/office/powerpoint/2010/main" val="4005165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 Title only White">
    <p:bg bwMode="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Nr.›</a:t>
            </a:fld>
            <a:endParaRPr lang="en-US" noProof="0"/>
          </a:p>
        </p:txBody>
      </p:sp>
      <p:sp>
        <p:nvSpPr>
          <p:cNvPr id="2" name="Textplatzhalter 8">
            <a:extLst>
              <a:ext uri="{FF2B5EF4-FFF2-40B4-BE49-F238E27FC236}">
                <a16:creationId xmlns:a16="http://schemas.microsoft.com/office/drawing/2014/main" id="{AE52ECEA-8012-25FE-BD2C-383D8E44F96F}"/>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7" name="Title 6">
            <a:extLst>
              <a:ext uri="{FF2B5EF4-FFF2-40B4-BE49-F238E27FC236}">
                <a16:creationId xmlns:a16="http://schemas.microsoft.com/office/drawing/2014/main" id="{B155775F-75A5-B616-F6A8-09B8FCBA1E4C}"/>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543355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 Title only Deep Space Blue">
    <p:bg bwMode="invGray">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pPr/>
              <a:t>‹Nr.›</a:t>
            </a:fld>
            <a:endParaRPr lang="en-US" noProof="0"/>
          </a:p>
        </p:txBody>
      </p:sp>
      <p:cxnSp>
        <p:nvCxnSpPr>
          <p:cNvPr id="16" name="Gerader Verbinder 15">
            <a:extLst>
              <a:ext uri="{FF2B5EF4-FFF2-40B4-BE49-F238E27FC236}">
                <a16:creationId xmlns:a16="http://schemas.microsoft.com/office/drawing/2014/main" id="{9BA273D5-E740-B1B2-D718-95C49227DB9B}"/>
              </a:ext>
            </a:extLst>
          </p:cNvPr>
          <p:cNvCxnSpPr/>
          <p:nvPr userDrawn="1"/>
        </p:nvCxnSpPr>
        <p:spPr bwMode="auto">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3D92A06C-B5C0-54F1-769B-346EFBE73F9C}"/>
              </a:ext>
            </a:extLst>
          </p:cNvPr>
          <p:cNvCxnSpPr/>
          <p:nvPr userDrawn="1"/>
        </p:nvCxnSpPr>
        <p:spPr bwMode="auto">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pic>
        <p:nvPicPr>
          <p:cNvPr id="10" name="Picture 10" descr="A black background with white text&#10;&#10;Description automatically generated with low confidence">
            <a:extLst>
              <a:ext uri="{FF2B5EF4-FFF2-40B4-BE49-F238E27FC236}">
                <a16:creationId xmlns:a16="http://schemas.microsoft.com/office/drawing/2014/main" id="{B18777AD-7D41-5D56-A3B3-98FBB19B4854}"/>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2" name="Textplatzhalter 8">
            <a:extLst>
              <a:ext uri="{FF2B5EF4-FFF2-40B4-BE49-F238E27FC236}">
                <a16:creationId xmlns:a16="http://schemas.microsoft.com/office/drawing/2014/main" id="{E670B96C-0D97-E1AE-953C-968B02DF727E}"/>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tx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
        <p:nvSpPr>
          <p:cNvPr id="6" name="Title 6">
            <a:extLst>
              <a:ext uri="{FF2B5EF4-FFF2-40B4-BE49-F238E27FC236}">
                <a16:creationId xmlns:a16="http://schemas.microsoft.com/office/drawing/2014/main" id="{AEE5187D-DD06-7FE2-56A8-A9D96509E9AF}"/>
              </a:ext>
            </a:extLst>
          </p:cNvPr>
          <p:cNvSpPr>
            <a:spLocks noGrp="1"/>
          </p:cNvSpPr>
          <p:nvPr>
            <p:ph type="title" hasCustomPrompt="1"/>
          </p:nvPr>
        </p:nvSpPr>
        <p:spPr bwMode="auto">
          <a:xfrm>
            <a:off x="407987" y="644520"/>
            <a:ext cx="11376021" cy="387798"/>
          </a:xfrm>
        </p:spPr>
        <p:txBody>
          <a:bodyPr anchor="b"/>
          <a:lstStyle>
            <a:lvl1pPr>
              <a:defRPr>
                <a:solidFill>
                  <a:schemeClr val="tx2"/>
                </a:solidFill>
              </a:defRPr>
            </a:lvl1pPr>
          </a:lstStyle>
          <a:p>
            <a:r>
              <a:rPr lang="en-US"/>
              <a:t>Headline in The Group Head Light 28pt, White</a:t>
            </a:r>
            <a:endParaRPr lang="en-IN"/>
          </a:p>
        </p:txBody>
      </p:sp>
    </p:spTree>
    <p:extLst>
      <p:ext uri="{BB962C8B-B14F-4D97-AF65-F5344CB8AC3E}">
        <p14:creationId xmlns:p14="http://schemas.microsoft.com/office/powerpoint/2010/main" val="676511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 Deep Space Blue only">
    <p:bg bwMode="invGray">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Nr.›</a:t>
            </a:fld>
            <a:endParaRPr lang="en-US"/>
          </a:p>
        </p:txBody>
      </p:sp>
      <p:pic>
        <p:nvPicPr>
          <p:cNvPr id="7" name="Picture 10" descr="A black background with white text&#10;&#10;Description automatically generated with low confidence">
            <a:extLst>
              <a:ext uri="{FF2B5EF4-FFF2-40B4-BE49-F238E27FC236}">
                <a16:creationId xmlns:a16="http://schemas.microsoft.com/office/drawing/2014/main" id="{87D87AEB-EEAA-AC3A-9BDF-CAE63F535367}"/>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Tree>
    <p:extLst>
      <p:ext uri="{BB962C8B-B14F-4D97-AF65-F5344CB8AC3E}">
        <p14:creationId xmlns:p14="http://schemas.microsoft.com/office/powerpoint/2010/main" val="37453683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ith gradient 1">
    <p:bg bwMode="ltGray">
      <p:bgRef idx="1001">
        <a:schemeClr val="bg1"/>
      </p:bgRef>
    </p:bg>
    <p:spTree>
      <p:nvGrpSpPr>
        <p:cNvPr id="1" name=""/>
        <p:cNvGrpSpPr/>
        <p:nvPr/>
      </p:nvGrpSpPr>
      <p:grpSpPr>
        <a:xfrm>
          <a:off x="0" y="0"/>
          <a:ext cx="0" cy="0"/>
          <a:chOff x="0" y="0"/>
          <a:chExt cx="0" cy="0"/>
        </a:xfrm>
      </p:grpSpPr>
      <p:sp>
        <p:nvSpPr>
          <p:cNvPr id="8" name="Graphic 6">
            <a:extLst>
              <a:ext uri="{FF2B5EF4-FFF2-40B4-BE49-F238E27FC236}">
                <a16:creationId xmlns:a16="http://schemas.microsoft.com/office/drawing/2014/main" id="{2909720B-E69F-DC75-F3E5-96D06ACC4EE7}"/>
              </a:ext>
            </a:extLst>
          </p:cNvPr>
          <p:cNvSpPr/>
          <p:nvPr/>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pPr lvl="0"/>
            <a:endParaRPr lang="en-GB"/>
          </a:p>
        </p:txBody>
      </p:sp>
      <p:sp>
        <p:nvSpPr>
          <p:cNvPr id="12" name="Graphic 7">
            <a:extLst>
              <a:ext uri="{FF2B5EF4-FFF2-40B4-BE49-F238E27FC236}">
                <a16:creationId xmlns:a16="http://schemas.microsoft.com/office/drawing/2014/main" id="{F12BC0A6-D91F-9207-0969-037B318871B4}"/>
              </a:ext>
            </a:extLst>
          </p:cNvPr>
          <p:cNvSpPr/>
          <p:nvPr userDrawn="1"/>
        </p:nvSpPr>
        <p:spPr bwMode="inv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a:gsLst>
              <a:gs pos="37000">
                <a:srgbClr val="183F49">
                  <a:alpha val="23000"/>
                </a:srgbClr>
              </a:gs>
              <a:gs pos="24000">
                <a:srgbClr val="0D323D">
                  <a:alpha val="0"/>
                </a:srgbClr>
              </a:gs>
              <a:gs pos="53000">
                <a:srgbClr val="224B55">
                  <a:alpha val="60000"/>
                </a:srgbClr>
              </a:gs>
              <a:gs pos="72000">
                <a:srgbClr val="7E989F">
                  <a:alpha val="45000"/>
                </a:srgbClr>
              </a:gs>
              <a:gs pos="100000">
                <a:srgbClr val="7E989F"/>
              </a:gs>
            </a:gsLst>
            <a:lin ang="18000000" scaled="0"/>
          </a:gradFill>
          <a:ln w="3175" cap="flat">
            <a:noFill/>
            <a:prstDash val="solid"/>
            <a:miter/>
          </a:ln>
          <a:effectLst>
            <a:softEdge rad="0"/>
          </a:effectLst>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B1BDE051-A64C-BC06-C922-E1F5412586CF}"/>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
        <p:nvSpPr>
          <p:cNvPr id="4" name="Rectangle 3">
            <a:extLst>
              <a:ext uri="{FF2B5EF4-FFF2-40B4-BE49-F238E27FC236}">
                <a16:creationId xmlns:a16="http://schemas.microsoft.com/office/drawing/2014/main" id="{B05B9067-30D9-4438-7C75-EBB826D8FF32}"/>
              </a:ext>
            </a:extLst>
          </p:cNvPr>
          <p:cNvSpPr/>
          <p:nvPr userDrawn="1"/>
        </p:nvSpPr>
        <p:spPr>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spTree>
    <p:extLst>
      <p:ext uri="{BB962C8B-B14F-4D97-AF65-F5344CB8AC3E}">
        <p14:creationId xmlns:p14="http://schemas.microsoft.com/office/powerpoint/2010/main" val="1716362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hite only">
    <p:bg bwMode="lt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pPr/>
              <a:t>‹Nr.›</a:t>
            </a:fld>
            <a:endParaRPr lang="en-US" noProof="0"/>
          </a:p>
        </p:txBody>
      </p:sp>
    </p:spTree>
    <p:extLst>
      <p:ext uri="{BB962C8B-B14F-4D97-AF65-F5344CB8AC3E}">
        <p14:creationId xmlns:p14="http://schemas.microsoft.com/office/powerpoint/2010/main" val="4989544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2x images and tex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Nr.›</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4509715"/>
            <a:ext cx="539496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6389048" y="4509715"/>
            <a:ext cx="539496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6" name="Bildplatzhalter 7">
            <a:extLst>
              <a:ext uri="{FF2B5EF4-FFF2-40B4-BE49-F238E27FC236}">
                <a16:creationId xmlns:a16="http://schemas.microsoft.com/office/drawing/2014/main" id="{1C754C6E-C986-8DDF-55E3-A38F42D531B9}"/>
              </a:ext>
            </a:extLst>
          </p:cNvPr>
          <p:cNvSpPr>
            <a:spLocks noGrp="1"/>
          </p:cNvSpPr>
          <p:nvPr>
            <p:ph type="pic" sz="quarter" idx="17" hasCustomPrompt="1"/>
          </p:nvPr>
        </p:nvSpPr>
        <p:spPr bwMode="auto">
          <a:xfrm>
            <a:off x="40798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0" name="Bildplatzhalter 7">
            <a:extLst>
              <a:ext uri="{FF2B5EF4-FFF2-40B4-BE49-F238E27FC236}">
                <a16:creationId xmlns:a16="http://schemas.microsoft.com/office/drawing/2014/main" id="{E1C3B0FF-1B24-35F0-7304-A842261F1AE7}"/>
              </a:ext>
            </a:extLst>
          </p:cNvPr>
          <p:cNvSpPr>
            <a:spLocks noGrp="1"/>
          </p:cNvSpPr>
          <p:nvPr>
            <p:ph type="pic" sz="quarter" idx="18" hasCustomPrompt="1"/>
          </p:nvPr>
        </p:nvSpPr>
        <p:spPr bwMode="auto">
          <a:xfrm>
            <a:off x="638904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9" name="Textplatzhalter 8">
            <a:extLst>
              <a:ext uri="{FF2B5EF4-FFF2-40B4-BE49-F238E27FC236}">
                <a16:creationId xmlns:a16="http://schemas.microsoft.com/office/drawing/2014/main" id="{90AD2F9C-5072-2089-CA7D-3458D36CCFCC}"/>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1" name="Title 6">
            <a:extLst>
              <a:ext uri="{FF2B5EF4-FFF2-40B4-BE49-F238E27FC236}">
                <a16:creationId xmlns:a16="http://schemas.microsoft.com/office/drawing/2014/main" id="{884A0B0E-F6D8-2CAC-F84E-4F1698368521}"/>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3894978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3x images and tex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Nr.›</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0798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433577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826356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4337383"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8263568"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2" name="Textplatzhalter 8">
            <a:extLst>
              <a:ext uri="{FF2B5EF4-FFF2-40B4-BE49-F238E27FC236}">
                <a16:creationId xmlns:a16="http://schemas.microsoft.com/office/drawing/2014/main" id="{B3720269-25E9-8B8D-F135-7E5CA52290DE}"/>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3" name="Title 6">
            <a:extLst>
              <a:ext uri="{FF2B5EF4-FFF2-40B4-BE49-F238E27FC236}">
                <a16:creationId xmlns:a16="http://schemas.microsoft.com/office/drawing/2014/main" id="{B418580F-E9BC-B6CD-A812-478CEF626F95}"/>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4262323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 Title, 4x images and text Deep Space Blu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Nr.›</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3879895"/>
            <a:ext cx="2560320"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11198"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3351743"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6292288"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2" name="Bildplatzhalter 7">
            <a:extLst>
              <a:ext uri="{FF2B5EF4-FFF2-40B4-BE49-F238E27FC236}">
                <a16:creationId xmlns:a16="http://schemas.microsoft.com/office/drawing/2014/main" id="{08666E51-3E00-8381-A7D1-65D1B1330873}"/>
              </a:ext>
            </a:extLst>
          </p:cNvPr>
          <p:cNvSpPr>
            <a:spLocks noGrp="1"/>
          </p:cNvSpPr>
          <p:nvPr>
            <p:ph type="pic" sz="quarter" idx="20" hasCustomPrompt="1"/>
          </p:nvPr>
        </p:nvSpPr>
        <p:spPr bwMode="auto">
          <a:xfrm>
            <a:off x="9232832"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3357839"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6295335"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3" name="Textplatzhalter 6">
            <a:extLst>
              <a:ext uri="{FF2B5EF4-FFF2-40B4-BE49-F238E27FC236}">
                <a16:creationId xmlns:a16="http://schemas.microsoft.com/office/drawing/2014/main" id="{F43021D9-F64C-F261-B4FF-D1B5258BB690}"/>
              </a:ext>
            </a:extLst>
          </p:cNvPr>
          <p:cNvSpPr>
            <a:spLocks noGrp="1"/>
          </p:cNvSpPr>
          <p:nvPr>
            <p:ph type="body" sz="quarter" idx="23" hasCustomPrompt="1"/>
          </p:nvPr>
        </p:nvSpPr>
        <p:spPr bwMode="auto">
          <a:xfrm>
            <a:off x="9232832"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4" name="Textplatzhalter 8">
            <a:extLst>
              <a:ext uri="{FF2B5EF4-FFF2-40B4-BE49-F238E27FC236}">
                <a16:creationId xmlns:a16="http://schemas.microsoft.com/office/drawing/2014/main" id="{FBFA3801-456F-6997-CE07-E51F93F637CC}"/>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5" name="Title 6">
            <a:extLst>
              <a:ext uri="{FF2B5EF4-FFF2-40B4-BE49-F238E27FC236}">
                <a16:creationId xmlns:a16="http://schemas.microsoft.com/office/drawing/2014/main" id="{1A7E4A54-9003-0EB2-7A13-E46EEA1A1855}"/>
              </a:ext>
            </a:extLst>
          </p:cNvPr>
          <p:cNvSpPr>
            <a:spLocks noGrp="1"/>
          </p:cNvSpPr>
          <p:nvPr>
            <p:ph type="title" hasCustomPrompt="1"/>
          </p:nvPr>
        </p:nvSpPr>
        <p:spPr bwMode="auto">
          <a:xfrm>
            <a:off x="407987" y="644520"/>
            <a:ext cx="11376021" cy="387798"/>
          </a:xfrm>
        </p:spPr>
        <p:txBody>
          <a:bodyPr anchor="b"/>
          <a:lstStyle/>
          <a:p>
            <a:r>
              <a:rPr lang="en-US" dirty="0"/>
              <a:t>Headline in The Group Head Light 28pt, White</a:t>
            </a:r>
            <a:endParaRPr lang="en-IN" dirty="0"/>
          </a:p>
        </p:txBody>
      </p:sp>
    </p:spTree>
    <p:extLst>
      <p:ext uri="{BB962C8B-B14F-4D97-AF65-F5344CB8AC3E}">
        <p14:creationId xmlns:p14="http://schemas.microsoft.com/office/powerpoint/2010/main" val="849778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4x images and text Deep Space Blue">
    <p:bg>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Nr.›</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3879895"/>
            <a:ext cx="2560320"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11198"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3351743"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6292288"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12" name="Bildplatzhalter 7">
            <a:extLst>
              <a:ext uri="{FF2B5EF4-FFF2-40B4-BE49-F238E27FC236}">
                <a16:creationId xmlns:a16="http://schemas.microsoft.com/office/drawing/2014/main" id="{08666E51-3E00-8381-A7D1-65D1B1330873}"/>
              </a:ext>
            </a:extLst>
          </p:cNvPr>
          <p:cNvSpPr>
            <a:spLocks noGrp="1"/>
          </p:cNvSpPr>
          <p:nvPr>
            <p:ph type="pic" sz="quarter" idx="20" hasCustomPrompt="1"/>
          </p:nvPr>
        </p:nvSpPr>
        <p:spPr bwMode="auto">
          <a:xfrm>
            <a:off x="9232832"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3357839"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6295335"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3" name="Textplatzhalter 6">
            <a:extLst>
              <a:ext uri="{FF2B5EF4-FFF2-40B4-BE49-F238E27FC236}">
                <a16:creationId xmlns:a16="http://schemas.microsoft.com/office/drawing/2014/main" id="{F43021D9-F64C-F261-B4FF-D1B5258BB690}"/>
              </a:ext>
            </a:extLst>
          </p:cNvPr>
          <p:cNvSpPr>
            <a:spLocks noGrp="1"/>
          </p:cNvSpPr>
          <p:nvPr>
            <p:ph type="body" sz="quarter" idx="23" hasCustomPrompt="1"/>
          </p:nvPr>
        </p:nvSpPr>
        <p:spPr bwMode="auto">
          <a:xfrm>
            <a:off x="9232832"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pic>
        <p:nvPicPr>
          <p:cNvPr id="14" name="Picture 10" descr="A black background with white text&#10;&#10;Description automatically generated with low confidence">
            <a:extLst>
              <a:ext uri="{FF2B5EF4-FFF2-40B4-BE49-F238E27FC236}">
                <a16:creationId xmlns:a16="http://schemas.microsoft.com/office/drawing/2014/main" id="{6DDEE4D8-87A1-F9E0-A86E-57A1D6E1906E}"/>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15" name="Textplatzhalter 8">
            <a:extLst>
              <a:ext uri="{FF2B5EF4-FFF2-40B4-BE49-F238E27FC236}">
                <a16:creationId xmlns:a16="http://schemas.microsoft.com/office/drawing/2014/main" id="{DC75944D-18E3-54DB-F4F8-3EC99B2FE7B1}"/>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
        <p:nvSpPr>
          <p:cNvPr id="16" name="Title 6">
            <a:extLst>
              <a:ext uri="{FF2B5EF4-FFF2-40B4-BE49-F238E27FC236}">
                <a16:creationId xmlns:a16="http://schemas.microsoft.com/office/drawing/2014/main" id="{C73AAF5E-BC34-CBE9-1E80-B74CB39CDF52}"/>
              </a:ext>
            </a:extLst>
          </p:cNvPr>
          <p:cNvSpPr>
            <a:spLocks noGrp="1"/>
          </p:cNvSpPr>
          <p:nvPr>
            <p:ph type="title" hasCustomPrompt="1"/>
          </p:nvPr>
        </p:nvSpPr>
        <p:spPr bwMode="auto">
          <a:xfrm>
            <a:off x="407987" y="644520"/>
            <a:ext cx="11376021" cy="387798"/>
          </a:xfrm>
        </p:spPr>
        <p:txBody>
          <a:bodyPr anchor="b"/>
          <a:lstStyle>
            <a:lvl1pPr>
              <a:defRPr>
                <a:solidFill>
                  <a:schemeClr val="tx1"/>
                </a:solidFill>
              </a:defRPr>
            </a:lvl1pPr>
          </a:lstStyle>
          <a:p>
            <a:r>
              <a:rPr lang="en-US" dirty="0"/>
              <a:t>Headline in The Group Head Light 28pt, Deep Space Blue</a:t>
            </a:r>
            <a:endParaRPr lang="en-IN" dirty="0"/>
          </a:p>
        </p:txBody>
      </p:sp>
    </p:spTree>
    <p:extLst>
      <p:ext uri="{BB962C8B-B14F-4D97-AF65-F5344CB8AC3E}">
        <p14:creationId xmlns:p14="http://schemas.microsoft.com/office/powerpoint/2010/main" val="322947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10x images and tex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Nr.›</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11199"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2769935"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5128671"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2" name="Bildplatzhalter 7">
            <a:extLst>
              <a:ext uri="{FF2B5EF4-FFF2-40B4-BE49-F238E27FC236}">
                <a16:creationId xmlns:a16="http://schemas.microsoft.com/office/drawing/2014/main" id="{08666E51-3E00-8381-A7D1-65D1B1330873}"/>
              </a:ext>
            </a:extLst>
          </p:cNvPr>
          <p:cNvSpPr>
            <a:spLocks noGrp="1"/>
          </p:cNvSpPr>
          <p:nvPr>
            <p:ph type="pic" sz="quarter" idx="20" hasCustomPrompt="1"/>
          </p:nvPr>
        </p:nvSpPr>
        <p:spPr bwMode="auto">
          <a:xfrm>
            <a:off x="9846143"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2769935"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5128671"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3" name="Textplatzhalter 6">
            <a:extLst>
              <a:ext uri="{FF2B5EF4-FFF2-40B4-BE49-F238E27FC236}">
                <a16:creationId xmlns:a16="http://schemas.microsoft.com/office/drawing/2014/main" id="{F43021D9-F64C-F261-B4FF-D1B5258BB690}"/>
              </a:ext>
            </a:extLst>
          </p:cNvPr>
          <p:cNvSpPr>
            <a:spLocks noGrp="1"/>
          </p:cNvSpPr>
          <p:nvPr>
            <p:ph type="body" sz="quarter" idx="23" hasCustomPrompt="1"/>
          </p:nvPr>
        </p:nvSpPr>
        <p:spPr bwMode="auto">
          <a:xfrm>
            <a:off x="9846143"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2" name="Bildplatzhalter 7">
            <a:extLst>
              <a:ext uri="{FF2B5EF4-FFF2-40B4-BE49-F238E27FC236}">
                <a16:creationId xmlns:a16="http://schemas.microsoft.com/office/drawing/2014/main" id="{4205E19D-DE5A-6E8A-57B5-D5E5D7C4D262}"/>
              </a:ext>
            </a:extLst>
          </p:cNvPr>
          <p:cNvSpPr>
            <a:spLocks noGrp="1"/>
          </p:cNvSpPr>
          <p:nvPr>
            <p:ph type="pic" sz="quarter" idx="24" hasCustomPrompt="1"/>
          </p:nvPr>
        </p:nvSpPr>
        <p:spPr bwMode="auto">
          <a:xfrm>
            <a:off x="7487407"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4" name="Textplatzhalter 6">
            <a:extLst>
              <a:ext uri="{FF2B5EF4-FFF2-40B4-BE49-F238E27FC236}">
                <a16:creationId xmlns:a16="http://schemas.microsoft.com/office/drawing/2014/main" id="{3D574955-287F-18C0-46B1-F10BA9132A31}"/>
              </a:ext>
            </a:extLst>
          </p:cNvPr>
          <p:cNvSpPr>
            <a:spLocks noGrp="1"/>
          </p:cNvSpPr>
          <p:nvPr>
            <p:ph type="body" sz="quarter" idx="25" hasCustomPrompt="1"/>
          </p:nvPr>
        </p:nvSpPr>
        <p:spPr bwMode="auto">
          <a:xfrm>
            <a:off x="7487407"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26" name="Textplatzhalter 6">
            <a:extLst>
              <a:ext uri="{FF2B5EF4-FFF2-40B4-BE49-F238E27FC236}">
                <a16:creationId xmlns:a16="http://schemas.microsoft.com/office/drawing/2014/main" id="{C2C52EBB-3193-5C49-7D0C-E49F105CCEEB}"/>
              </a:ext>
            </a:extLst>
          </p:cNvPr>
          <p:cNvSpPr>
            <a:spLocks noGrp="1"/>
          </p:cNvSpPr>
          <p:nvPr>
            <p:ph type="body" sz="quarter" idx="26" hasCustomPrompt="1"/>
          </p:nvPr>
        </p:nvSpPr>
        <p:spPr bwMode="auto">
          <a:xfrm>
            <a:off x="411199"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27" name="Bildplatzhalter 7">
            <a:extLst>
              <a:ext uri="{FF2B5EF4-FFF2-40B4-BE49-F238E27FC236}">
                <a16:creationId xmlns:a16="http://schemas.microsoft.com/office/drawing/2014/main" id="{DE2D3857-7AAB-0F23-7D8A-C718A496CCE5}"/>
              </a:ext>
            </a:extLst>
          </p:cNvPr>
          <p:cNvSpPr>
            <a:spLocks noGrp="1"/>
          </p:cNvSpPr>
          <p:nvPr>
            <p:ph type="pic" sz="quarter" idx="27" hasCustomPrompt="1"/>
          </p:nvPr>
        </p:nvSpPr>
        <p:spPr bwMode="auto">
          <a:xfrm>
            <a:off x="411199"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28" name="Bildplatzhalter 7">
            <a:extLst>
              <a:ext uri="{FF2B5EF4-FFF2-40B4-BE49-F238E27FC236}">
                <a16:creationId xmlns:a16="http://schemas.microsoft.com/office/drawing/2014/main" id="{D6F6C533-DF58-C3FA-F78E-80E365B8DA76}"/>
              </a:ext>
            </a:extLst>
          </p:cNvPr>
          <p:cNvSpPr>
            <a:spLocks noGrp="1"/>
          </p:cNvSpPr>
          <p:nvPr>
            <p:ph type="pic" sz="quarter" idx="28" hasCustomPrompt="1"/>
          </p:nvPr>
        </p:nvSpPr>
        <p:spPr bwMode="auto">
          <a:xfrm>
            <a:off x="2769935"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29" name="Bildplatzhalter 7">
            <a:extLst>
              <a:ext uri="{FF2B5EF4-FFF2-40B4-BE49-F238E27FC236}">
                <a16:creationId xmlns:a16="http://schemas.microsoft.com/office/drawing/2014/main" id="{5CD00243-A9EA-9FC8-FA75-607A002A8A40}"/>
              </a:ext>
            </a:extLst>
          </p:cNvPr>
          <p:cNvSpPr>
            <a:spLocks noGrp="1"/>
          </p:cNvSpPr>
          <p:nvPr>
            <p:ph type="pic" sz="quarter" idx="29" hasCustomPrompt="1"/>
          </p:nvPr>
        </p:nvSpPr>
        <p:spPr bwMode="auto">
          <a:xfrm>
            <a:off x="5128671"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30" name="Bildplatzhalter 7">
            <a:extLst>
              <a:ext uri="{FF2B5EF4-FFF2-40B4-BE49-F238E27FC236}">
                <a16:creationId xmlns:a16="http://schemas.microsoft.com/office/drawing/2014/main" id="{805018AC-0B06-1C0D-DEE3-68EABF9497E6}"/>
              </a:ext>
            </a:extLst>
          </p:cNvPr>
          <p:cNvSpPr>
            <a:spLocks noGrp="1"/>
          </p:cNvSpPr>
          <p:nvPr>
            <p:ph type="pic" sz="quarter" idx="30" hasCustomPrompt="1"/>
          </p:nvPr>
        </p:nvSpPr>
        <p:spPr bwMode="auto">
          <a:xfrm>
            <a:off x="9846143"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31" name="Textplatzhalter 6">
            <a:extLst>
              <a:ext uri="{FF2B5EF4-FFF2-40B4-BE49-F238E27FC236}">
                <a16:creationId xmlns:a16="http://schemas.microsoft.com/office/drawing/2014/main" id="{6F09DE4D-2605-0578-FE7B-3F03D26B2D40}"/>
              </a:ext>
            </a:extLst>
          </p:cNvPr>
          <p:cNvSpPr>
            <a:spLocks noGrp="1"/>
          </p:cNvSpPr>
          <p:nvPr>
            <p:ph type="body" sz="quarter" idx="31" hasCustomPrompt="1"/>
          </p:nvPr>
        </p:nvSpPr>
        <p:spPr bwMode="auto">
          <a:xfrm>
            <a:off x="2769935"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32" name="Textplatzhalter 6">
            <a:extLst>
              <a:ext uri="{FF2B5EF4-FFF2-40B4-BE49-F238E27FC236}">
                <a16:creationId xmlns:a16="http://schemas.microsoft.com/office/drawing/2014/main" id="{F3C0621E-7002-C0F2-80BC-21F46EC31F47}"/>
              </a:ext>
            </a:extLst>
          </p:cNvPr>
          <p:cNvSpPr>
            <a:spLocks noGrp="1"/>
          </p:cNvSpPr>
          <p:nvPr>
            <p:ph type="body" sz="quarter" idx="32" hasCustomPrompt="1"/>
          </p:nvPr>
        </p:nvSpPr>
        <p:spPr bwMode="auto">
          <a:xfrm>
            <a:off x="5128671"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33" name="Textplatzhalter 6">
            <a:extLst>
              <a:ext uri="{FF2B5EF4-FFF2-40B4-BE49-F238E27FC236}">
                <a16:creationId xmlns:a16="http://schemas.microsoft.com/office/drawing/2014/main" id="{7107CC5D-0B01-34E3-84FD-89E0DA85D584}"/>
              </a:ext>
            </a:extLst>
          </p:cNvPr>
          <p:cNvSpPr>
            <a:spLocks noGrp="1"/>
          </p:cNvSpPr>
          <p:nvPr>
            <p:ph type="body" sz="quarter" idx="33" hasCustomPrompt="1"/>
          </p:nvPr>
        </p:nvSpPr>
        <p:spPr bwMode="auto">
          <a:xfrm>
            <a:off x="9846143"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34" name="Bildplatzhalter 7">
            <a:extLst>
              <a:ext uri="{FF2B5EF4-FFF2-40B4-BE49-F238E27FC236}">
                <a16:creationId xmlns:a16="http://schemas.microsoft.com/office/drawing/2014/main" id="{45A2D1AD-88AD-81B0-B67B-BCAA05253616}"/>
              </a:ext>
            </a:extLst>
          </p:cNvPr>
          <p:cNvSpPr>
            <a:spLocks noGrp="1"/>
          </p:cNvSpPr>
          <p:nvPr>
            <p:ph type="pic" sz="quarter" idx="34" hasCustomPrompt="1"/>
          </p:nvPr>
        </p:nvSpPr>
        <p:spPr bwMode="auto">
          <a:xfrm>
            <a:off x="7487407"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35" name="Textplatzhalter 6">
            <a:extLst>
              <a:ext uri="{FF2B5EF4-FFF2-40B4-BE49-F238E27FC236}">
                <a16:creationId xmlns:a16="http://schemas.microsoft.com/office/drawing/2014/main" id="{40B402FA-F429-99CC-3695-52172AD93DAF}"/>
              </a:ext>
            </a:extLst>
          </p:cNvPr>
          <p:cNvSpPr>
            <a:spLocks noGrp="1"/>
          </p:cNvSpPr>
          <p:nvPr>
            <p:ph type="body" sz="quarter" idx="35" hasCustomPrompt="1"/>
          </p:nvPr>
        </p:nvSpPr>
        <p:spPr bwMode="auto">
          <a:xfrm>
            <a:off x="7487407"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7" name="Textplatzhalter 8">
            <a:extLst>
              <a:ext uri="{FF2B5EF4-FFF2-40B4-BE49-F238E27FC236}">
                <a16:creationId xmlns:a16="http://schemas.microsoft.com/office/drawing/2014/main" id="{4FB01E25-7E49-2A7E-6F88-73F830EEEE07}"/>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8" name="Title 6">
            <a:extLst>
              <a:ext uri="{FF2B5EF4-FFF2-40B4-BE49-F238E27FC236}">
                <a16:creationId xmlns:a16="http://schemas.microsoft.com/office/drawing/2014/main" id="{E5BF525C-873C-D13C-39F7-A03CA991BAA5}"/>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1074495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 Title, text and graph">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Nr.›</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06800" y="1848473"/>
            <a:ext cx="5544739" cy="1143903"/>
          </a:xfrm>
        </p:spPr>
        <p:txBody>
          <a:bodyPr bIns="0" anchor="t" anchorCtr="0">
            <a:spAutoFit/>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6" name="Textplatzhalter 2">
            <a:extLst>
              <a:ext uri="{FF2B5EF4-FFF2-40B4-BE49-F238E27FC236}">
                <a16:creationId xmlns:a16="http://schemas.microsoft.com/office/drawing/2014/main" id="{D207B34C-32D1-F6F6-F8F4-B8F891B79D68}"/>
              </a:ext>
            </a:extLst>
          </p:cNvPr>
          <p:cNvSpPr>
            <a:spLocks noGrp="1"/>
          </p:cNvSpPr>
          <p:nvPr>
            <p:ph type="body" sz="quarter" idx="19" hasCustomPrompt="1"/>
          </p:nvPr>
        </p:nvSpPr>
        <p:spPr bwMode="auto">
          <a:xfrm>
            <a:off x="6240452" y="1848473"/>
            <a:ext cx="5545905" cy="215444"/>
          </a:xfrm>
        </p:spPr>
        <p:txBody>
          <a:bodyPr wrap="square">
            <a:spAutoFit/>
          </a:bodyPr>
          <a:lstStyle>
            <a:lvl1pPr marL="0" indent="0">
              <a:spcBef>
                <a:spcPts val="0"/>
              </a:spcBef>
              <a:buFont typeface="The Group TEXT" panose="020B0604020202020204" pitchFamily="34" charset="0"/>
              <a:buNone/>
              <a:defRPr sz="1400" b="1">
                <a:solidFill>
                  <a:schemeClr val="accent2"/>
                </a:solidFill>
              </a:defRPr>
            </a:lvl1pPr>
            <a:lvl2pPr marL="0" indent="0">
              <a:spcBef>
                <a:spcPts val="0"/>
              </a:spcBef>
              <a:buFont typeface="The Group TEXT" panose="020B0604020202020204" pitchFamily="34" charset="0"/>
              <a:buNone/>
              <a:defRPr sz="1400" b="1"/>
            </a:lvl2pPr>
            <a:lvl3pPr marL="0" indent="0">
              <a:spcBef>
                <a:spcPts val="0"/>
              </a:spcBef>
              <a:buNone/>
              <a:defRPr sz="1400" b="1"/>
            </a:lvl3pPr>
            <a:lvl4pPr marL="0" indent="0">
              <a:spcBef>
                <a:spcPts val="0"/>
              </a:spcBef>
              <a:buNone/>
              <a:defRPr sz="1400" b="1"/>
            </a:lvl4pPr>
            <a:lvl5pPr marL="0" indent="0">
              <a:spcBef>
                <a:spcPts val="0"/>
              </a:spcBef>
              <a:buNone/>
              <a:defRPr sz="1400" b="1"/>
            </a:lvl5pPr>
            <a:lvl6pPr marL="0" indent="0">
              <a:spcBef>
                <a:spcPts val="0"/>
              </a:spcBef>
              <a:buNone/>
              <a:defRPr sz="1400" b="1"/>
            </a:lvl6pPr>
            <a:lvl7pPr marL="0" indent="0">
              <a:spcBef>
                <a:spcPts val="0"/>
              </a:spcBef>
              <a:buNone/>
              <a:defRPr sz="1400" b="1"/>
            </a:lvl7pPr>
            <a:lvl8pPr marL="0" indent="0">
              <a:spcBef>
                <a:spcPts val="0"/>
              </a:spcBef>
              <a:buNone/>
              <a:defRPr sz="1400" b="1"/>
            </a:lvl8pPr>
            <a:lvl9pPr marL="0" indent="0">
              <a:spcBef>
                <a:spcPts val="0"/>
              </a:spcBef>
              <a:buNone/>
              <a:defRPr sz="1400" b="1"/>
            </a:lvl9pPr>
          </a:lstStyle>
          <a:p>
            <a:pPr lvl="0"/>
            <a:r>
              <a:rPr lang="en-US" noProof="0"/>
              <a:t>Click to edit chart title</a:t>
            </a:r>
          </a:p>
        </p:txBody>
      </p:sp>
      <p:sp>
        <p:nvSpPr>
          <p:cNvPr id="8" name="Textplatzhalter 2">
            <a:extLst>
              <a:ext uri="{FF2B5EF4-FFF2-40B4-BE49-F238E27FC236}">
                <a16:creationId xmlns:a16="http://schemas.microsoft.com/office/drawing/2014/main" id="{73E8E045-5430-C79F-2809-7A1E3BC25678}"/>
              </a:ext>
            </a:extLst>
          </p:cNvPr>
          <p:cNvSpPr>
            <a:spLocks noGrp="1"/>
          </p:cNvSpPr>
          <p:nvPr>
            <p:ph type="body" sz="quarter" idx="20" hasCustomPrompt="1"/>
          </p:nvPr>
        </p:nvSpPr>
        <p:spPr bwMode="auto">
          <a:xfrm>
            <a:off x="6238480" y="6330076"/>
            <a:ext cx="5550301" cy="123111"/>
          </a:xfrm>
        </p:spPr>
        <p:txBody>
          <a:bodyPr wrap="square" anchor="b" anchorCtr="0">
            <a:spAutoFit/>
          </a:bodyPr>
          <a:lstStyle>
            <a:lvl1pPr marL="0" indent="0">
              <a:spcBef>
                <a:spcPts val="0"/>
              </a:spcBef>
              <a:buFont typeface="The Group TEXT" panose="020B0604020202020204" pitchFamily="34" charset="0"/>
              <a:buNone/>
              <a:defRPr sz="800" b="0"/>
            </a:lvl1pPr>
            <a:lvl2pPr marL="0" indent="0">
              <a:spcBef>
                <a:spcPts val="0"/>
              </a:spcBef>
              <a:buFont typeface="The Group TEXT" panose="020B0604020202020204" pitchFamily="34" charset="0"/>
              <a:buNone/>
              <a:defRPr sz="800" b="0"/>
            </a:lvl2pPr>
            <a:lvl3pPr marL="0" indent="0">
              <a:spcBef>
                <a:spcPts val="0"/>
              </a:spcBef>
              <a:buNone/>
              <a:defRPr sz="800" b="0"/>
            </a:lvl3pPr>
            <a:lvl4pPr marL="0" indent="0">
              <a:spcBef>
                <a:spcPts val="0"/>
              </a:spcBef>
              <a:buNone/>
              <a:defRPr sz="800" b="0"/>
            </a:lvl4pPr>
            <a:lvl5pPr marL="0" indent="0">
              <a:spcBef>
                <a:spcPts val="0"/>
              </a:spcBef>
              <a:buNone/>
              <a:defRPr sz="800" b="0"/>
            </a:lvl5pPr>
            <a:lvl6pPr marL="0" indent="0">
              <a:spcBef>
                <a:spcPts val="0"/>
              </a:spcBef>
              <a:buNone/>
              <a:defRPr sz="800" b="0"/>
            </a:lvl6pPr>
            <a:lvl7pPr marL="0" indent="0">
              <a:spcBef>
                <a:spcPts val="0"/>
              </a:spcBef>
              <a:buNone/>
              <a:defRPr sz="800" b="0"/>
            </a:lvl7pPr>
            <a:lvl8pPr marL="0" indent="0">
              <a:spcBef>
                <a:spcPts val="0"/>
              </a:spcBef>
              <a:buNone/>
              <a:defRPr sz="800" b="0"/>
            </a:lvl8pPr>
            <a:lvl9pPr marL="0" indent="0">
              <a:spcBef>
                <a:spcPts val="0"/>
              </a:spcBef>
              <a:buNone/>
              <a:defRPr sz="800" b="0"/>
            </a:lvl9pPr>
          </a:lstStyle>
          <a:p>
            <a:pPr lvl="0"/>
            <a:r>
              <a:rPr lang="en-US" noProof="0"/>
              <a:t>Click to edit footnote/source</a:t>
            </a:r>
          </a:p>
        </p:txBody>
      </p:sp>
      <p:sp>
        <p:nvSpPr>
          <p:cNvPr id="11" name="Textplatzhalter 2">
            <a:extLst>
              <a:ext uri="{FF2B5EF4-FFF2-40B4-BE49-F238E27FC236}">
                <a16:creationId xmlns:a16="http://schemas.microsoft.com/office/drawing/2014/main" id="{A53ECB80-A465-21BC-A187-FC61DA346442}"/>
              </a:ext>
            </a:extLst>
          </p:cNvPr>
          <p:cNvSpPr>
            <a:spLocks noGrp="1"/>
          </p:cNvSpPr>
          <p:nvPr>
            <p:ph type="body" sz="quarter" idx="21" hasCustomPrompt="1"/>
          </p:nvPr>
        </p:nvSpPr>
        <p:spPr bwMode="auto">
          <a:xfrm>
            <a:off x="6240484" y="2117611"/>
            <a:ext cx="5548256" cy="215444"/>
          </a:xfrm>
        </p:spPr>
        <p:txBody>
          <a:bodyPr wrap="square">
            <a:spAutoFit/>
          </a:bodyPr>
          <a:lstStyle>
            <a:lvl1pPr marL="0" indent="0">
              <a:spcBef>
                <a:spcPts val="0"/>
              </a:spcBef>
              <a:buFont typeface="The Group TEXT" panose="020B0604020202020204" pitchFamily="34" charset="0"/>
              <a:buNone/>
              <a:defRPr sz="1400" b="0">
                <a:solidFill>
                  <a:schemeClr val="accent2"/>
                </a:solidFill>
              </a:defRPr>
            </a:lvl1pPr>
            <a:lvl2pPr marL="0" indent="0">
              <a:spcBef>
                <a:spcPts val="0"/>
              </a:spcBef>
              <a:buFont typeface="The Group TEXT" panose="020B0604020202020204" pitchFamily="34" charset="0"/>
              <a:buNone/>
              <a:defRPr sz="1400" b="0"/>
            </a:lvl2pPr>
            <a:lvl3pPr marL="0" indent="0">
              <a:spcBef>
                <a:spcPts val="0"/>
              </a:spcBef>
              <a:buNone/>
              <a:defRPr sz="1400" b="0"/>
            </a:lvl3pPr>
            <a:lvl4pPr marL="0" indent="0">
              <a:spcBef>
                <a:spcPts val="0"/>
              </a:spcBef>
              <a:buNone/>
              <a:defRPr sz="1400" b="0"/>
            </a:lvl4pPr>
            <a:lvl5pPr marL="0" indent="0">
              <a:spcBef>
                <a:spcPts val="0"/>
              </a:spcBef>
              <a:buNone/>
              <a:defRPr sz="1400" b="0"/>
            </a:lvl5pPr>
            <a:lvl6pPr marL="0" indent="0">
              <a:spcBef>
                <a:spcPts val="0"/>
              </a:spcBef>
              <a:buNone/>
              <a:defRPr sz="1400" b="0"/>
            </a:lvl6pPr>
            <a:lvl7pPr marL="0" indent="0">
              <a:spcBef>
                <a:spcPts val="0"/>
              </a:spcBef>
              <a:buNone/>
              <a:defRPr sz="1400" b="0"/>
            </a:lvl7pPr>
            <a:lvl8pPr marL="0" indent="0">
              <a:spcBef>
                <a:spcPts val="0"/>
              </a:spcBef>
              <a:buNone/>
              <a:defRPr sz="1400" b="0"/>
            </a:lvl8pPr>
            <a:lvl9pPr marL="0" indent="0">
              <a:spcBef>
                <a:spcPts val="0"/>
              </a:spcBef>
              <a:buNone/>
              <a:defRPr sz="1400" b="0"/>
            </a:lvl9pPr>
          </a:lstStyle>
          <a:p>
            <a:pPr lvl="0"/>
            <a:r>
              <a:rPr lang="en-US" noProof="0"/>
              <a:t>Click to edit unit measure</a:t>
            </a:r>
          </a:p>
        </p:txBody>
      </p:sp>
      <p:sp>
        <p:nvSpPr>
          <p:cNvPr id="13" name="Diagrammplatzhalter 12">
            <a:extLst>
              <a:ext uri="{FF2B5EF4-FFF2-40B4-BE49-F238E27FC236}">
                <a16:creationId xmlns:a16="http://schemas.microsoft.com/office/drawing/2014/main" id="{A1FAE776-5EEC-7973-8E17-DC6E9B06EB59}"/>
              </a:ext>
            </a:extLst>
          </p:cNvPr>
          <p:cNvSpPr>
            <a:spLocks noGrp="1"/>
          </p:cNvSpPr>
          <p:nvPr>
            <p:ph type="chart" sz="quarter" idx="22" hasCustomPrompt="1"/>
          </p:nvPr>
        </p:nvSpPr>
        <p:spPr bwMode="auto">
          <a:xfrm>
            <a:off x="6240462" y="2386750"/>
            <a:ext cx="5546689" cy="3909276"/>
          </a:xfrm>
        </p:spPr>
        <p:txBody>
          <a:bodyPr/>
          <a:lstStyle>
            <a:lvl1pPr>
              <a:spcBef>
                <a:spcPts val="0"/>
              </a:spcBef>
              <a:defRPr sz="1400" b="0">
                <a:solidFill>
                  <a:schemeClr val="tx2"/>
                </a:solidFill>
              </a:defRPr>
            </a:lvl1pPr>
          </a:lstStyle>
          <a:p>
            <a:r>
              <a:rPr lang="en-US" noProof="0"/>
              <a:t>Add chart by clicking on icon</a:t>
            </a:r>
          </a:p>
        </p:txBody>
      </p:sp>
      <p:sp>
        <p:nvSpPr>
          <p:cNvPr id="9" name="Textplatzhalter 8">
            <a:extLst>
              <a:ext uri="{FF2B5EF4-FFF2-40B4-BE49-F238E27FC236}">
                <a16:creationId xmlns:a16="http://schemas.microsoft.com/office/drawing/2014/main" id="{B1F31402-8932-BEC5-3B36-515B73FBB52C}"/>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0" name="Title 6">
            <a:extLst>
              <a:ext uri="{FF2B5EF4-FFF2-40B4-BE49-F238E27FC236}">
                <a16:creationId xmlns:a16="http://schemas.microsoft.com/office/drawing/2014/main" id="{ADE3637A-8048-704D-6521-F87FA8FB5F37}"/>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3230632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5" pos="3749">
          <p15:clr>
            <a:srgbClr val="FBAE40"/>
          </p15:clr>
        </p15:guide>
        <p15:guide id="6" pos="393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olkswagen Group brands on Deep Space Blue">
    <p:bg>
      <p:bgRef idx="1001">
        <a:schemeClr val="bg2"/>
      </p:bgRef>
    </p:bg>
    <p:spTree>
      <p:nvGrpSpPr>
        <p:cNvPr id="1" name=""/>
        <p:cNvGrpSpPr/>
        <p:nvPr/>
      </p:nvGrpSpPr>
      <p:grpSpPr>
        <a:xfrm>
          <a:off x="0" y="0"/>
          <a:ext cx="0" cy="0"/>
          <a:chOff x="0" y="0"/>
          <a:chExt cx="0" cy="0"/>
        </a:xfrm>
      </p:grpSpPr>
      <p:sp>
        <p:nvSpPr>
          <p:cNvPr id="34" name="Freeform 33">
            <a:extLst>
              <a:ext uri="{FF2B5EF4-FFF2-40B4-BE49-F238E27FC236}">
                <a16:creationId xmlns:a16="http://schemas.microsoft.com/office/drawing/2014/main" id="{28BED584-263E-6D12-3082-BC5E670F1014}"/>
              </a:ext>
            </a:extLst>
          </p:cNvPr>
          <p:cNvSpPr/>
          <p:nvPr userDrawn="1"/>
        </p:nvSpPr>
        <p:spPr>
          <a:xfrm>
            <a:off x="847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3" name="Freeform 32">
            <a:extLst>
              <a:ext uri="{FF2B5EF4-FFF2-40B4-BE49-F238E27FC236}">
                <a16:creationId xmlns:a16="http://schemas.microsoft.com/office/drawing/2014/main" id="{722DE50E-A6EE-320D-5DA3-8366A3A067AB}"/>
              </a:ext>
            </a:extLst>
          </p:cNvPr>
          <p:cNvSpPr/>
          <p:nvPr userDrawn="1"/>
        </p:nvSpPr>
        <p:spPr>
          <a:xfrm>
            <a:off x="847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5" name="Freeform 34">
            <a:extLst>
              <a:ext uri="{FF2B5EF4-FFF2-40B4-BE49-F238E27FC236}">
                <a16:creationId xmlns:a16="http://schemas.microsoft.com/office/drawing/2014/main" id="{D9418850-F5ED-6E88-7411-11ED163EA5B3}"/>
              </a:ext>
            </a:extLst>
          </p:cNvPr>
          <p:cNvSpPr/>
          <p:nvPr userDrawn="1"/>
        </p:nvSpPr>
        <p:spPr>
          <a:xfrm>
            <a:off x="847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6" name="Freeform 35">
            <a:extLst>
              <a:ext uri="{FF2B5EF4-FFF2-40B4-BE49-F238E27FC236}">
                <a16:creationId xmlns:a16="http://schemas.microsoft.com/office/drawing/2014/main" id="{C55D8731-6678-C1A4-7E87-877A8FBD8412}"/>
              </a:ext>
            </a:extLst>
          </p:cNvPr>
          <p:cNvSpPr/>
          <p:nvPr userDrawn="1"/>
        </p:nvSpPr>
        <p:spPr>
          <a:xfrm>
            <a:off x="6889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7" name="Freeform 36">
            <a:extLst>
              <a:ext uri="{FF2B5EF4-FFF2-40B4-BE49-F238E27FC236}">
                <a16:creationId xmlns:a16="http://schemas.microsoft.com/office/drawing/2014/main" id="{A35FA53E-CBF3-49D6-E047-38D0730F4B71}"/>
              </a:ext>
            </a:extLst>
          </p:cNvPr>
          <p:cNvSpPr/>
          <p:nvPr userDrawn="1"/>
        </p:nvSpPr>
        <p:spPr>
          <a:xfrm>
            <a:off x="6889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8" name="Freeform 37">
            <a:extLst>
              <a:ext uri="{FF2B5EF4-FFF2-40B4-BE49-F238E27FC236}">
                <a16:creationId xmlns:a16="http://schemas.microsoft.com/office/drawing/2014/main" id="{4F1A607E-2BC0-271C-7D89-08F7C136418B}"/>
              </a:ext>
            </a:extLst>
          </p:cNvPr>
          <p:cNvSpPr/>
          <p:nvPr userDrawn="1"/>
        </p:nvSpPr>
        <p:spPr>
          <a:xfrm>
            <a:off x="6889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9" name="Freeform 38">
            <a:extLst>
              <a:ext uri="{FF2B5EF4-FFF2-40B4-BE49-F238E27FC236}">
                <a16:creationId xmlns:a16="http://schemas.microsoft.com/office/drawing/2014/main" id="{10493F5E-7145-AAF0-E7FA-EB27265C2C8F}"/>
              </a:ext>
            </a:extLst>
          </p:cNvPr>
          <p:cNvSpPr/>
          <p:nvPr userDrawn="1"/>
        </p:nvSpPr>
        <p:spPr>
          <a:xfrm>
            <a:off x="5302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0" name="Freeform 39">
            <a:extLst>
              <a:ext uri="{FF2B5EF4-FFF2-40B4-BE49-F238E27FC236}">
                <a16:creationId xmlns:a16="http://schemas.microsoft.com/office/drawing/2014/main" id="{C8112BC9-3DD1-C38B-DACE-2893B62E4C44}"/>
              </a:ext>
            </a:extLst>
          </p:cNvPr>
          <p:cNvSpPr/>
          <p:nvPr userDrawn="1"/>
        </p:nvSpPr>
        <p:spPr>
          <a:xfrm>
            <a:off x="5302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1" name="Freeform 40">
            <a:extLst>
              <a:ext uri="{FF2B5EF4-FFF2-40B4-BE49-F238E27FC236}">
                <a16:creationId xmlns:a16="http://schemas.microsoft.com/office/drawing/2014/main" id="{C3D5DD6A-A18C-FF81-C35B-DCF8AF60697E}"/>
              </a:ext>
            </a:extLst>
          </p:cNvPr>
          <p:cNvSpPr/>
          <p:nvPr userDrawn="1"/>
        </p:nvSpPr>
        <p:spPr>
          <a:xfrm>
            <a:off x="5302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2" name="Freeform 41">
            <a:extLst>
              <a:ext uri="{FF2B5EF4-FFF2-40B4-BE49-F238E27FC236}">
                <a16:creationId xmlns:a16="http://schemas.microsoft.com/office/drawing/2014/main" id="{FC0A74A6-0201-91D8-6D5F-022944A1EFC6}"/>
              </a:ext>
            </a:extLst>
          </p:cNvPr>
          <p:cNvSpPr/>
          <p:nvPr userDrawn="1"/>
        </p:nvSpPr>
        <p:spPr>
          <a:xfrm>
            <a:off x="3714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2" name="Freeform 61">
            <a:extLst>
              <a:ext uri="{FF2B5EF4-FFF2-40B4-BE49-F238E27FC236}">
                <a16:creationId xmlns:a16="http://schemas.microsoft.com/office/drawing/2014/main" id="{E1D91296-C451-D967-CDF0-002A30B8EA76}"/>
              </a:ext>
            </a:extLst>
          </p:cNvPr>
          <p:cNvSpPr/>
          <p:nvPr userDrawn="1"/>
        </p:nvSpPr>
        <p:spPr>
          <a:xfrm>
            <a:off x="3714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3" name="Freeform 62">
            <a:extLst>
              <a:ext uri="{FF2B5EF4-FFF2-40B4-BE49-F238E27FC236}">
                <a16:creationId xmlns:a16="http://schemas.microsoft.com/office/drawing/2014/main" id="{FF0F9EB7-7BA1-99D8-16DC-77D0FA1DA29D}"/>
              </a:ext>
            </a:extLst>
          </p:cNvPr>
          <p:cNvSpPr/>
          <p:nvPr userDrawn="1"/>
        </p:nvSpPr>
        <p:spPr>
          <a:xfrm>
            <a:off x="3714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4" name="Freeform 63">
            <a:extLst>
              <a:ext uri="{FF2B5EF4-FFF2-40B4-BE49-F238E27FC236}">
                <a16:creationId xmlns:a16="http://schemas.microsoft.com/office/drawing/2014/main" id="{19E179FC-E9AA-5B85-E775-35F35F925A8A}"/>
              </a:ext>
            </a:extLst>
          </p:cNvPr>
          <p:cNvSpPr/>
          <p:nvPr userDrawn="1"/>
        </p:nvSpPr>
        <p:spPr>
          <a:xfrm>
            <a:off x="212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5" name="Freeform 64">
            <a:extLst>
              <a:ext uri="{FF2B5EF4-FFF2-40B4-BE49-F238E27FC236}">
                <a16:creationId xmlns:a16="http://schemas.microsoft.com/office/drawing/2014/main" id="{DF4CD780-3DAD-896A-C2B3-E7864932B92C}"/>
              </a:ext>
            </a:extLst>
          </p:cNvPr>
          <p:cNvSpPr/>
          <p:nvPr userDrawn="1"/>
        </p:nvSpPr>
        <p:spPr>
          <a:xfrm>
            <a:off x="212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6" name="Freeform 65">
            <a:extLst>
              <a:ext uri="{FF2B5EF4-FFF2-40B4-BE49-F238E27FC236}">
                <a16:creationId xmlns:a16="http://schemas.microsoft.com/office/drawing/2014/main" id="{4AAE992C-7FB4-B790-032B-3BEA518A0ED8}"/>
              </a:ext>
            </a:extLst>
          </p:cNvPr>
          <p:cNvSpPr/>
          <p:nvPr userDrawn="1"/>
        </p:nvSpPr>
        <p:spPr>
          <a:xfrm>
            <a:off x="212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67" name="Graphic 79">
            <a:extLst>
              <a:ext uri="{FF2B5EF4-FFF2-40B4-BE49-F238E27FC236}">
                <a16:creationId xmlns:a16="http://schemas.microsoft.com/office/drawing/2014/main" id="{49B48950-D085-2A9D-9512-56D39F6BD418}"/>
              </a:ext>
            </a:extLst>
          </p:cNvPr>
          <p:cNvGrpSpPr/>
          <p:nvPr userDrawn="1"/>
        </p:nvGrpSpPr>
        <p:grpSpPr>
          <a:xfrm>
            <a:off x="4004901" y="3163569"/>
            <a:ext cx="1036080" cy="530860"/>
            <a:chOff x="-9711099" y="3163569"/>
            <a:chExt cx="1036080" cy="530860"/>
          </a:xfrm>
          <a:solidFill>
            <a:srgbClr val="FFFFFF"/>
          </a:solidFill>
        </p:grpSpPr>
        <p:sp>
          <p:nvSpPr>
            <p:cNvPr id="68" name="Freeform 67">
              <a:extLst>
                <a:ext uri="{FF2B5EF4-FFF2-40B4-BE49-F238E27FC236}">
                  <a16:creationId xmlns:a16="http://schemas.microsoft.com/office/drawing/2014/main" id="{23E7FB47-019E-C596-361A-746B0F515177}"/>
                </a:ext>
              </a:extLst>
            </p:cNvPr>
            <p:cNvSpPr/>
            <p:nvPr/>
          </p:nvSpPr>
          <p:spPr>
            <a:xfrm>
              <a:off x="-9628504" y="3585209"/>
              <a:ext cx="99695" cy="107950"/>
            </a:xfrm>
            <a:custGeom>
              <a:avLst/>
              <a:gdLst>
                <a:gd name="connsiteX0" fmla="*/ 79142 w 99695"/>
                <a:gd name="connsiteY0" fmla="*/ 49678 h 107950"/>
                <a:gd name="connsiteX1" fmla="*/ 91207 w 99695"/>
                <a:gd name="connsiteY1" fmla="*/ 26183 h 107950"/>
                <a:gd name="connsiteX2" fmla="*/ 57552 w 99695"/>
                <a:gd name="connsiteY2" fmla="*/ -1122 h 107950"/>
                <a:gd name="connsiteX3" fmla="*/ -868 w 99695"/>
                <a:gd name="connsiteY3" fmla="*/ -1122 h 107950"/>
                <a:gd name="connsiteX4" fmla="*/ -868 w 99695"/>
                <a:gd name="connsiteY4" fmla="*/ 106828 h 107950"/>
                <a:gd name="connsiteX5" fmla="*/ 65172 w 99695"/>
                <a:gd name="connsiteY5" fmla="*/ 106828 h 107950"/>
                <a:gd name="connsiteX6" fmla="*/ 84222 w 99695"/>
                <a:gd name="connsiteY6" fmla="*/ 102383 h 107950"/>
                <a:gd name="connsiteX7" fmla="*/ 98827 w 99695"/>
                <a:gd name="connsiteY7" fmla="*/ 76348 h 107950"/>
                <a:gd name="connsiteX8" fmla="*/ 79142 w 99695"/>
                <a:gd name="connsiteY8" fmla="*/ 49678 h 107950"/>
                <a:gd name="connsiteX9" fmla="*/ 20087 w 99695"/>
                <a:gd name="connsiteY9" fmla="*/ 17293 h 107950"/>
                <a:gd name="connsiteX10" fmla="*/ 20087 w 99695"/>
                <a:gd name="connsiteY10" fmla="*/ 17293 h 107950"/>
                <a:gd name="connsiteX11" fmla="*/ 56917 w 99695"/>
                <a:gd name="connsiteY11" fmla="*/ 17293 h 107950"/>
                <a:gd name="connsiteX12" fmla="*/ 70252 w 99695"/>
                <a:gd name="connsiteY12" fmla="*/ 29358 h 107950"/>
                <a:gd name="connsiteX13" fmla="*/ 64537 w 99695"/>
                <a:gd name="connsiteY13" fmla="*/ 40153 h 107950"/>
                <a:gd name="connsiteX14" fmla="*/ 57552 w 99695"/>
                <a:gd name="connsiteY14" fmla="*/ 42058 h 107950"/>
                <a:gd name="connsiteX15" fmla="*/ 18817 w 99695"/>
                <a:gd name="connsiteY15" fmla="*/ 42058 h 107950"/>
                <a:gd name="connsiteX16" fmla="*/ 20087 w 99695"/>
                <a:gd name="connsiteY16" fmla="*/ 17293 h 107950"/>
                <a:gd name="connsiteX17" fmla="*/ 72792 w 99695"/>
                <a:gd name="connsiteY17" fmla="*/ 86508 h 107950"/>
                <a:gd name="connsiteX18" fmla="*/ 59457 w 99695"/>
                <a:gd name="connsiteY18" fmla="*/ 89683 h 107950"/>
                <a:gd name="connsiteX19" fmla="*/ 20087 w 99695"/>
                <a:gd name="connsiteY19" fmla="*/ 89683 h 107950"/>
                <a:gd name="connsiteX20" fmla="*/ 20087 w 99695"/>
                <a:gd name="connsiteY20" fmla="*/ 61108 h 107950"/>
                <a:gd name="connsiteX21" fmla="*/ 20087 w 99695"/>
                <a:gd name="connsiteY21" fmla="*/ 61108 h 107950"/>
                <a:gd name="connsiteX22" fmla="*/ 58822 w 99695"/>
                <a:gd name="connsiteY22" fmla="*/ 61108 h 107950"/>
                <a:gd name="connsiteX23" fmla="*/ 78507 w 99695"/>
                <a:gd name="connsiteY23" fmla="*/ 75713 h 107950"/>
                <a:gd name="connsiteX24" fmla="*/ 72792 w 99695"/>
                <a:gd name="connsiteY24" fmla="*/ 86508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9695" h="107950">
                  <a:moveTo>
                    <a:pt x="79142" y="49678"/>
                  </a:moveTo>
                  <a:cubicBezTo>
                    <a:pt x="86127" y="45233"/>
                    <a:pt x="91207" y="36343"/>
                    <a:pt x="91207" y="26183"/>
                  </a:cubicBezTo>
                  <a:cubicBezTo>
                    <a:pt x="91207" y="12848"/>
                    <a:pt x="79777" y="-1122"/>
                    <a:pt x="57552" y="-1122"/>
                  </a:cubicBezTo>
                  <a:cubicBezTo>
                    <a:pt x="38502" y="-487"/>
                    <a:pt x="17547" y="-487"/>
                    <a:pt x="-868" y="-1122"/>
                  </a:cubicBezTo>
                  <a:cubicBezTo>
                    <a:pt x="-233" y="35073"/>
                    <a:pt x="-233" y="71268"/>
                    <a:pt x="-868" y="106828"/>
                  </a:cubicBezTo>
                  <a:lnTo>
                    <a:pt x="65172" y="106828"/>
                  </a:lnTo>
                  <a:cubicBezTo>
                    <a:pt x="72157" y="106828"/>
                    <a:pt x="78507" y="105558"/>
                    <a:pt x="84222" y="102383"/>
                  </a:cubicBezTo>
                  <a:cubicBezTo>
                    <a:pt x="93112" y="97938"/>
                    <a:pt x="98827" y="89048"/>
                    <a:pt x="98827" y="76348"/>
                  </a:cubicBezTo>
                  <a:cubicBezTo>
                    <a:pt x="98827" y="64283"/>
                    <a:pt x="91842" y="53488"/>
                    <a:pt x="79142" y="49678"/>
                  </a:cubicBezTo>
                  <a:moveTo>
                    <a:pt x="20087" y="17293"/>
                  </a:moveTo>
                  <a:lnTo>
                    <a:pt x="20087" y="17293"/>
                  </a:lnTo>
                  <a:cubicBezTo>
                    <a:pt x="30247" y="16658"/>
                    <a:pt x="48662" y="16658"/>
                    <a:pt x="56917" y="17293"/>
                  </a:cubicBezTo>
                  <a:cubicBezTo>
                    <a:pt x="66442" y="17928"/>
                    <a:pt x="70252" y="22373"/>
                    <a:pt x="70252" y="29358"/>
                  </a:cubicBezTo>
                  <a:cubicBezTo>
                    <a:pt x="70252" y="33803"/>
                    <a:pt x="68347" y="37613"/>
                    <a:pt x="64537" y="40153"/>
                  </a:cubicBezTo>
                  <a:cubicBezTo>
                    <a:pt x="62632" y="41423"/>
                    <a:pt x="60727" y="42058"/>
                    <a:pt x="57552" y="42058"/>
                  </a:cubicBezTo>
                  <a:cubicBezTo>
                    <a:pt x="48662" y="42693"/>
                    <a:pt x="28342" y="42693"/>
                    <a:pt x="18817" y="42058"/>
                  </a:cubicBezTo>
                  <a:cubicBezTo>
                    <a:pt x="20087" y="33803"/>
                    <a:pt x="20087" y="25548"/>
                    <a:pt x="20087" y="17293"/>
                  </a:cubicBezTo>
                  <a:moveTo>
                    <a:pt x="72792" y="86508"/>
                  </a:moveTo>
                  <a:cubicBezTo>
                    <a:pt x="69617" y="88413"/>
                    <a:pt x="65172" y="89683"/>
                    <a:pt x="59457" y="89683"/>
                  </a:cubicBezTo>
                  <a:cubicBezTo>
                    <a:pt x="47392" y="90318"/>
                    <a:pt x="33422" y="90318"/>
                    <a:pt x="20087" y="89683"/>
                  </a:cubicBezTo>
                  <a:cubicBezTo>
                    <a:pt x="19452" y="80158"/>
                    <a:pt x="19452" y="71268"/>
                    <a:pt x="20087" y="61108"/>
                  </a:cubicBezTo>
                  <a:lnTo>
                    <a:pt x="20087" y="61108"/>
                  </a:lnTo>
                  <a:cubicBezTo>
                    <a:pt x="32787" y="60473"/>
                    <a:pt x="47392" y="60473"/>
                    <a:pt x="58822" y="61108"/>
                  </a:cubicBezTo>
                  <a:cubicBezTo>
                    <a:pt x="71522" y="61743"/>
                    <a:pt x="78507" y="66823"/>
                    <a:pt x="78507" y="75713"/>
                  </a:cubicBezTo>
                  <a:cubicBezTo>
                    <a:pt x="78507" y="80158"/>
                    <a:pt x="76602" y="83968"/>
                    <a:pt x="72792" y="86508"/>
                  </a:cubicBezTo>
                </a:path>
              </a:pathLst>
            </a:custGeom>
            <a:solidFill>
              <a:srgbClr val="FFFFFF"/>
            </a:solidFill>
            <a:ln w="6350" cap="flat">
              <a:noFill/>
              <a:prstDash val="solid"/>
              <a:miter/>
            </a:ln>
          </p:spPr>
          <p:txBody>
            <a:bodyPr rtlCol="0" anchor="ctr"/>
            <a:lstStyle/>
            <a:p>
              <a:endParaRPr lang="en-GB"/>
            </a:p>
          </p:txBody>
        </p:sp>
        <p:sp>
          <p:nvSpPr>
            <p:cNvPr id="69" name="Freeform 68">
              <a:extLst>
                <a:ext uri="{FF2B5EF4-FFF2-40B4-BE49-F238E27FC236}">
                  <a16:creationId xmlns:a16="http://schemas.microsoft.com/office/drawing/2014/main" id="{872B6DAA-6AA8-CABF-9E63-518DC6E96F34}"/>
                </a:ext>
              </a:extLst>
            </p:cNvPr>
            <p:cNvSpPr/>
            <p:nvPr/>
          </p:nvSpPr>
          <p:spPr>
            <a:xfrm>
              <a:off x="-9112250" y="3585844"/>
              <a:ext cx="88900" cy="107950"/>
            </a:xfrm>
            <a:custGeom>
              <a:avLst/>
              <a:gdLst>
                <a:gd name="connsiteX0" fmla="*/ 19452 w 88900"/>
                <a:gd name="connsiteY0" fmla="*/ 88414 h 107950"/>
                <a:gd name="connsiteX1" fmla="*/ 19452 w 88900"/>
                <a:gd name="connsiteY1" fmla="*/ -1122 h 107950"/>
                <a:gd name="connsiteX2" fmla="*/ -868 w 88900"/>
                <a:gd name="connsiteY2" fmla="*/ -1122 h 107950"/>
                <a:gd name="connsiteX3" fmla="*/ -868 w 88900"/>
                <a:gd name="connsiteY3" fmla="*/ -1122 h 107950"/>
                <a:gd name="connsiteX4" fmla="*/ -868 w 88900"/>
                <a:gd name="connsiteY4" fmla="*/ -1122 h 107950"/>
                <a:gd name="connsiteX5" fmla="*/ -868 w 88900"/>
                <a:gd name="connsiteY5" fmla="*/ 106828 h 107950"/>
                <a:gd name="connsiteX6" fmla="*/ 88032 w 88900"/>
                <a:gd name="connsiteY6" fmla="*/ 106828 h 107950"/>
                <a:gd name="connsiteX7" fmla="*/ 88032 w 88900"/>
                <a:gd name="connsiteY7" fmla="*/ 106828 h 107950"/>
                <a:gd name="connsiteX8" fmla="*/ 88032 w 88900"/>
                <a:gd name="connsiteY8" fmla="*/ 106828 h 107950"/>
                <a:gd name="connsiteX9" fmla="*/ 88032 w 88900"/>
                <a:gd name="connsiteY9" fmla="*/ 87778 h 107950"/>
                <a:gd name="connsiteX10" fmla="*/ 19452 w 88900"/>
                <a:gd name="connsiteY1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900" h="107950">
                  <a:moveTo>
                    <a:pt x="19452" y="88414"/>
                  </a:moveTo>
                  <a:cubicBezTo>
                    <a:pt x="18817" y="58568"/>
                    <a:pt x="18817" y="28723"/>
                    <a:pt x="19452" y="-1122"/>
                  </a:cubicBezTo>
                  <a:cubicBezTo>
                    <a:pt x="12467" y="-1122"/>
                    <a:pt x="5482" y="-1122"/>
                    <a:pt x="-868" y="-1122"/>
                  </a:cubicBezTo>
                  <a:lnTo>
                    <a:pt x="-868" y="-1122"/>
                  </a:lnTo>
                  <a:lnTo>
                    <a:pt x="-868" y="-1122"/>
                  </a:lnTo>
                  <a:cubicBezTo>
                    <a:pt x="-233" y="35073"/>
                    <a:pt x="-233" y="71268"/>
                    <a:pt x="-868" y="106828"/>
                  </a:cubicBezTo>
                  <a:cubicBezTo>
                    <a:pt x="28977" y="106193"/>
                    <a:pt x="58187" y="106193"/>
                    <a:pt x="88032" y="106828"/>
                  </a:cubicBezTo>
                  <a:lnTo>
                    <a:pt x="88032" y="106828"/>
                  </a:lnTo>
                  <a:lnTo>
                    <a:pt x="88032" y="106828"/>
                  </a:lnTo>
                  <a:cubicBezTo>
                    <a:pt x="88032" y="100478"/>
                    <a:pt x="88032" y="94128"/>
                    <a:pt x="88032" y="87778"/>
                  </a:cubicBezTo>
                  <a:cubicBezTo>
                    <a:pt x="65172" y="88414"/>
                    <a:pt x="42312" y="88414"/>
                    <a:pt x="19452" y="88414"/>
                  </a:cubicBezTo>
                </a:path>
              </a:pathLst>
            </a:custGeom>
            <a:solidFill>
              <a:srgbClr val="FFFFFF"/>
            </a:solidFill>
            <a:ln w="6350" cap="flat">
              <a:noFill/>
              <a:prstDash val="solid"/>
              <a:miter/>
            </a:ln>
          </p:spPr>
          <p:txBody>
            <a:bodyPr rtlCol="0" anchor="ctr"/>
            <a:lstStyle/>
            <a:p>
              <a:endParaRPr lang="en-GB"/>
            </a:p>
          </p:txBody>
        </p:sp>
        <p:sp>
          <p:nvSpPr>
            <p:cNvPr id="70" name="Freeform 69">
              <a:extLst>
                <a:ext uri="{FF2B5EF4-FFF2-40B4-BE49-F238E27FC236}">
                  <a16:creationId xmlns:a16="http://schemas.microsoft.com/office/drawing/2014/main" id="{3D0D3E9C-14B7-5968-7804-716E142824BF}"/>
                </a:ext>
              </a:extLst>
            </p:cNvPr>
            <p:cNvSpPr/>
            <p:nvPr/>
          </p:nvSpPr>
          <p:spPr>
            <a:xfrm>
              <a:off x="-9373870" y="3585844"/>
              <a:ext cx="100329" cy="107950"/>
            </a:xfrm>
            <a:custGeom>
              <a:avLst/>
              <a:gdLst>
                <a:gd name="connsiteX0" fmla="*/ 81047 w 100329"/>
                <a:gd name="connsiteY0" fmla="*/ -1122 h 107950"/>
                <a:gd name="connsiteX1" fmla="*/ 81047 w 100329"/>
                <a:gd name="connsiteY1" fmla="*/ -1122 h 107950"/>
                <a:gd name="connsiteX2" fmla="*/ 81047 w 100329"/>
                <a:gd name="connsiteY2" fmla="*/ -1122 h 107950"/>
                <a:gd name="connsiteX3" fmla="*/ 81047 w 100329"/>
                <a:gd name="connsiteY3" fmla="*/ 71268 h 107950"/>
                <a:gd name="connsiteX4" fmla="*/ 18182 w 100329"/>
                <a:gd name="connsiteY4" fmla="*/ -1122 h 107950"/>
                <a:gd name="connsiteX5" fmla="*/ -868 w 100329"/>
                <a:gd name="connsiteY5" fmla="*/ -1122 h 107950"/>
                <a:gd name="connsiteX6" fmla="*/ -868 w 100329"/>
                <a:gd name="connsiteY6" fmla="*/ -1122 h 107950"/>
                <a:gd name="connsiteX7" fmla="*/ -868 w 100329"/>
                <a:gd name="connsiteY7" fmla="*/ -1122 h 107950"/>
                <a:gd name="connsiteX8" fmla="*/ -868 w 100329"/>
                <a:gd name="connsiteY8" fmla="*/ 106828 h 107950"/>
                <a:gd name="connsiteX9" fmla="*/ 17547 w 100329"/>
                <a:gd name="connsiteY9" fmla="*/ 106828 h 107950"/>
                <a:gd name="connsiteX10" fmla="*/ 17547 w 100329"/>
                <a:gd name="connsiteY10" fmla="*/ 106828 h 107950"/>
                <a:gd name="connsiteX11" fmla="*/ 17547 w 100329"/>
                <a:gd name="connsiteY11" fmla="*/ 106828 h 107950"/>
                <a:gd name="connsiteX12" fmla="*/ 17547 w 100329"/>
                <a:gd name="connsiteY12" fmla="*/ 29993 h 107950"/>
                <a:gd name="connsiteX13" fmla="*/ 83587 w 100329"/>
                <a:gd name="connsiteY13" fmla="*/ 106828 h 107950"/>
                <a:gd name="connsiteX14" fmla="*/ 99462 w 100329"/>
                <a:gd name="connsiteY14" fmla="*/ 106828 h 107950"/>
                <a:gd name="connsiteX15" fmla="*/ 99462 w 100329"/>
                <a:gd name="connsiteY15" fmla="*/ 106828 h 107950"/>
                <a:gd name="connsiteX16" fmla="*/ 99462 w 100329"/>
                <a:gd name="connsiteY16" fmla="*/ 106828 h 107950"/>
                <a:gd name="connsiteX17" fmla="*/ 99462 w 100329"/>
                <a:gd name="connsiteY17" fmla="*/ -1122 h 107950"/>
                <a:gd name="connsiteX18" fmla="*/ 81047 w 100329"/>
                <a:gd name="connsiteY18" fmla="*/ -1122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0329" h="107950">
                  <a:moveTo>
                    <a:pt x="81047" y="-1122"/>
                  </a:moveTo>
                  <a:lnTo>
                    <a:pt x="81047" y="-1122"/>
                  </a:lnTo>
                  <a:lnTo>
                    <a:pt x="81047" y="-1122"/>
                  </a:lnTo>
                  <a:cubicBezTo>
                    <a:pt x="81682" y="23008"/>
                    <a:pt x="81682" y="47139"/>
                    <a:pt x="81047" y="71268"/>
                  </a:cubicBezTo>
                  <a:cubicBezTo>
                    <a:pt x="59457" y="47139"/>
                    <a:pt x="38502" y="23008"/>
                    <a:pt x="18182" y="-1122"/>
                  </a:cubicBezTo>
                  <a:cubicBezTo>
                    <a:pt x="11832" y="-1122"/>
                    <a:pt x="5482" y="-486"/>
                    <a:pt x="-868" y="-1122"/>
                  </a:cubicBezTo>
                  <a:lnTo>
                    <a:pt x="-868" y="-1122"/>
                  </a:lnTo>
                  <a:lnTo>
                    <a:pt x="-868" y="-1122"/>
                  </a:lnTo>
                  <a:cubicBezTo>
                    <a:pt x="-233" y="35073"/>
                    <a:pt x="-233" y="70633"/>
                    <a:pt x="-868" y="106828"/>
                  </a:cubicBezTo>
                  <a:cubicBezTo>
                    <a:pt x="5482" y="106828"/>
                    <a:pt x="11832" y="106828"/>
                    <a:pt x="17547" y="106828"/>
                  </a:cubicBezTo>
                  <a:lnTo>
                    <a:pt x="17547" y="106828"/>
                  </a:lnTo>
                  <a:lnTo>
                    <a:pt x="17547" y="106828"/>
                  </a:lnTo>
                  <a:cubicBezTo>
                    <a:pt x="16912" y="81428"/>
                    <a:pt x="16912" y="56028"/>
                    <a:pt x="17547" y="29993"/>
                  </a:cubicBezTo>
                  <a:cubicBezTo>
                    <a:pt x="40407" y="56028"/>
                    <a:pt x="62632" y="81428"/>
                    <a:pt x="83587" y="106828"/>
                  </a:cubicBezTo>
                  <a:cubicBezTo>
                    <a:pt x="88667" y="106828"/>
                    <a:pt x="93747" y="106828"/>
                    <a:pt x="99462" y="106828"/>
                  </a:cubicBezTo>
                  <a:lnTo>
                    <a:pt x="99462" y="106828"/>
                  </a:lnTo>
                  <a:lnTo>
                    <a:pt x="99462" y="106828"/>
                  </a:lnTo>
                  <a:cubicBezTo>
                    <a:pt x="98827" y="70633"/>
                    <a:pt x="98827" y="34439"/>
                    <a:pt x="99462" y="-1122"/>
                  </a:cubicBezTo>
                  <a:cubicBezTo>
                    <a:pt x="93112" y="-1122"/>
                    <a:pt x="87397" y="-1122"/>
                    <a:pt x="81047" y="-1122"/>
                  </a:cubicBezTo>
                </a:path>
              </a:pathLst>
            </a:custGeom>
            <a:solidFill>
              <a:srgbClr val="FFFFFF"/>
            </a:solidFill>
            <a:ln w="6350" cap="flat">
              <a:noFill/>
              <a:prstDash val="solid"/>
              <a:miter/>
            </a:ln>
          </p:spPr>
          <p:txBody>
            <a:bodyPr rtlCol="0" anchor="ctr"/>
            <a:lstStyle/>
            <a:p>
              <a:endParaRPr lang="en-GB"/>
            </a:p>
          </p:txBody>
        </p:sp>
        <p:sp>
          <p:nvSpPr>
            <p:cNvPr id="71" name="Freeform 70">
              <a:extLst>
                <a:ext uri="{FF2B5EF4-FFF2-40B4-BE49-F238E27FC236}">
                  <a16:creationId xmlns:a16="http://schemas.microsoft.com/office/drawing/2014/main" id="{14664324-0C92-3A6E-B1F0-B779F185D619}"/>
                </a:ext>
              </a:extLst>
            </p:cNvPr>
            <p:cNvSpPr/>
            <p:nvPr/>
          </p:nvSpPr>
          <p:spPr>
            <a:xfrm>
              <a:off x="-9498329" y="3585844"/>
              <a:ext cx="94614" cy="107950"/>
            </a:xfrm>
            <a:custGeom>
              <a:avLst/>
              <a:gdLst>
                <a:gd name="connsiteX0" fmla="*/ 20087 w 94614"/>
                <a:gd name="connsiteY0" fmla="*/ 88414 h 107950"/>
                <a:gd name="connsiteX1" fmla="*/ 20087 w 94614"/>
                <a:gd name="connsiteY1" fmla="*/ 61108 h 107950"/>
                <a:gd name="connsiteX2" fmla="*/ 69617 w 94614"/>
                <a:gd name="connsiteY2" fmla="*/ 61108 h 107950"/>
                <a:gd name="connsiteX3" fmla="*/ 69617 w 94614"/>
                <a:gd name="connsiteY3" fmla="*/ 61108 h 107950"/>
                <a:gd name="connsiteX4" fmla="*/ 69617 w 94614"/>
                <a:gd name="connsiteY4" fmla="*/ 61108 h 107950"/>
                <a:gd name="connsiteX5" fmla="*/ 69617 w 94614"/>
                <a:gd name="connsiteY5" fmla="*/ 42058 h 107950"/>
                <a:gd name="connsiteX6" fmla="*/ 20087 w 94614"/>
                <a:gd name="connsiteY6" fmla="*/ 42058 h 107950"/>
                <a:gd name="connsiteX7" fmla="*/ 20087 w 94614"/>
                <a:gd name="connsiteY7" fmla="*/ 17928 h 107950"/>
                <a:gd name="connsiteX8" fmla="*/ 92477 w 94614"/>
                <a:gd name="connsiteY8" fmla="*/ 17928 h 107950"/>
                <a:gd name="connsiteX9" fmla="*/ 92477 w 94614"/>
                <a:gd name="connsiteY9" fmla="*/ 17928 h 107950"/>
                <a:gd name="connsiteX10" fmla="*/ 92477 w 94614"/>
                <a:gd name="connsiteY10" fmla="*/ 17928 h 107950"/>
                <a:gd name="connsiteX11" fmla="*/ 92477 w 94614"/>
                <a:gd name="connsiteY11" fmla="*/ -1122 h 107950"/>
                <a:gd name="connsiteX12" fmla="*/ -868 w 94614"/>
                <a:gd name="connsiteY12" fmla="*/ -1122 h 107950"/>
                <a:gd name="connsiteX13" fmla="*/ -868 w 94614"/>
                <a:gd name="connsiteY13" fmla="*/ -1122 h 107950"/>
                <a:gd name="connsiteX14" fmla="*/ -868 w 94614"/>
                <a:gd name="connsiteY14" fmla="*/ -1122 h 107950"/>
                <a:gd name="connsiteX15" fmla="*/ -868 w 94614"/>
                <a:gd name="connsiteY15" fmla="*/ 106828 h 107950"/>
                <a:gd name="connsiteX16" fmla="*/ 93747 w 94614"/>
                <a:gd name="connsiteY16" fmla="*/ 106828 h 107950"/>
                <a:gd name="connsiteX17" fmla="*/ 93747 w 94614"/>
                <a:gd name="connsiteY17" fmla="*/ 106828 h 107950"/>
                <a:gd name="connsiteX18" fmla="*/ 93747 w 94614"/>
                <a:gd name="connsiteY18" fmla="*/ 106828 h 107950"/>
                <a:gd name="connsiteX19" fmla="*/ 93747 w 94614"/>
                <a:gd name="connsiteY19" fmla="*/ 87778 h 107950"/>
                <a:gd name="connsiteX20" fmla="*/ 20087 w 94614"/>
                <a:gd name="connsiteY2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4614" h="107950">
                  <a:moveTo>
                    <a:pt x="20087" y="88414"/>
                  </a:moveTo>
                  <a:cubicBezTo>
                    <a:pt x="19452" y="79523"/>
                    <a:pt x="19452" y="70633"/>
                    <a:pt x="20087" y="61108"/>
                  </a:cubicBezTo>
                  <a:cubicBezTo>
                    <a:pt x="36597" y="60473"/>
                    <a:pt x="53107" y="60473"/>
                    <a:pt x="69617" y="61108"/>
                  </a:cubicBezTo>
                  <a:lnTo>
                    <a:pt x="69617" y="61108"/>
                  </a:lnTo>
                  <a:lnTo>
                    <a:pt x="69617" y="61108"/>
                  </a:lnTo>
                  <a:cubicBezTo>
                    <a:pt x="69617" y="54758"/>
                    <a:pt x="69617" y="48408"/>
                    <a:pt x="69617" y="42058"/>
                  </a:cubicBezTo>
                  <a:cubicBezTo>
                    <a:pt x="53107" y="42693"/>
                    <a:pt x="36597" y="42693"/>
                    <a:pt x="20087" y="42058"/>
                  </a:cubicBezTo>
                  <a:cubicBezTo>
                    <a:pt x="19452" y="33803"/>
                    <a:pt x="19452" y="25548"/>
                    <a:pt x="20087" y="17928"/>
                  </a:cubicBezTo>
                  <a:cubicBezTo>
                    <a:pt x="44217" y="17293"/>
                    <a:pt x="68347" y="17293"/>
                    <a:pt x="92477" y="17928"/>
                  </a:cubicBezTo>
                  <a:lnTo>
                    <a:pt x="92477" y="17928"/>
                  </a:lnTo>
                  <a:lnTo>
                    <a:pt x="92477" y="17928"/>
                  </a:lnTo>
                  <a:cubicBezTo>
                    <a:pt x="92477" y="11578"/>
                    <a:pt x="92477" y="5228"/>
                    <a:pt x="92477" y="-1122"/>
                  </a:cubicBezTo>
                  <a:cubicBezTo>
                    <a:pt x="61997" y="-486"/>
                    <a:pt x="30882" y="-486"/>
                    <a:pt x="-868" y="-1122"/>
                  </a:cubicBezTo>
                  <a:lnTo>
                    <a:pt x="-868" y="-1122"/>
                  </a:lnTo>
                  <a:lnTo>
                    <a:pt x="-868" y="-1122"/>
                  </a:lnTo>
                  <a:cubicBezTo>
                    <a:pt x="-233" y="35073"/>
                    <a:pt x="-233" y="71268"/>
                    <a:pt x="-868" y="106828"/>
                  </a:cubicBezTo>
                  <a:cubicBezTo>
                    <a:pt x="30882" y="106193"/>
                    <a:pt x="61997" y="106193"/>
                    <a:pt x="93747" y="106828"/>
                  </a:cubicBezTo>
                  <a:lnTo>
                    <a:pt x="93747" y="106828"/>
                  </a:lnTo>
                  <a:lnTo>
                    <a:pt x="93747" y="106828"/>
                  </a:lnTo>
                  <a:cubicBezTo>
                    <a:pt x="93747" y="100478"/>
                    <a:pt x="93747" y="94128"/>
                    <a:pt x="93747" y="87778"/>
                  </a:cubicBezTo>
                  <a:cubicBezTo>
                    <a:pt x="68982" y="88414"/>
                    <a:pt x="44852" y="88414"/>
                    <a:pt x="20087" y="88414"/>
                  </a:cubicBezTo>
                </a:path>
              </a:pathLst>
            </a:custGeom>
            <a:solidFill>
              <a:srgbClr val="FFFFFF"/>
            </a:solidFill>
            <a:ln w="6350" cap="flat">
              <a:noFill/>
              <a:prstDash val="solid"/>
              <a:miter/>
            </a:ln>
          </p:spPr>
          <p:txBody>
            <a:bodyPr rtlCol="0" anchor="ctr"/>
            <a:lstStyle/>
            <a:p>
              <a:endParaRPr lang="en-GB"/>
            </a:p>
          </p:txBody>
        </p:sp>
        <p:sp>
          <p:nvSpPr>
            <p:cNvPr id="72" name="Freeform 71">
              <a:extLst>
                <a:ext uri="{FF2B5EF4-FFF2-40B4-BE49-F238E27FC236}">
                  <a16:creationId xmlns:a16="http://schemas.microsoft.com/office/drawing/2014/main" id="{98CD4FA8-003A-A4E0-4D2B-469549DF417F}"/>
                </a:ext>
              </a:extLst>
            </p:cNvPr>
            <p:cNvSpPr/>
            <p:nvPr/>
          </p:nvSpPr>
          <p:spPr>
            <a:xfrm>
              <a:off x="-8870950" y="3585844"/>
              <a:ext cx="119379" cy="107950"/>
            </a:xfrm>
            <a:custGeom>
              <a:avLst/>
              <a:gdLst>
                <a:gd name="connsiteX0" fmla="*/ 118512 w 119379"/>
                <a:gd name="connsiteY0" fmla="*/ -1122 h 107950"/>
                <a:gd name="connsiteX1" fmla="*/ 93112 w 119379"/>
                <a:gd name="connsiteY1" fmla="*/ -1122 h 107950"/>
                <a:gd name="connsiteX2" fmla="*/ 93112 w 119379"/>
                <a:gd name="connsiteY2" fmla="*/ -1122 h 107950"/>
                <a:gd name="connsiteX3" fmla="*/ 93112 w 119379"/>
                <a:gd name="connsiteY3" fmla="*/ -1122 h 107950"/>
                <a:gd name="connsiteX4" fmla="*/ 58822 w 119379"/>
                <a:gd name="connsiteY4" fmla="*/ 40789 h 107950"/>
                <a:gd name="connsiteX5" fmla="*/ 24532 w 119379"/>
                <a:gd name="connsiteY5" fmla="*/ -1122 h 107950"/>
                <a:gd name="connsiteX6" fmla="*/ -868 w 119379"/>
                <a:gd name="connsiteY6" fmla="*/ -1122 h 107950"/>
                <a:gd name="connsiteX7" fmla="*/ -868 w 119379"/>
                <a:gd name="connsiteY7" fmla="*/ -1122 h 107950"/>
                <a:gd name="connsiteX8" fmla="*/ -868 w 119379"/>
                <a:gd name="connsiteY8" fmla="*/ -1122 h 107950"/>
                <a:gd name="connsiteX9" fmla="*/ 48662 w 119379"/>
                <a:gd name="connsiteY9" fmla="*/ 60473 h 107950"/>
                <a:gd name="connsiteX10" fmla="*/ 48662 w 119379"/>
                <a:gd name="connsiteY10" fmla="*/ 106828 h 107950"/>
                <a:gd name="connsiteX11" fmla="*/ 68982 w 119379"/>
                <a:gd name="connsiteY11" fmla="*/ 106828 h 107950"/>
                <a:gd name="connsiteX12" fmla="*/ 68982 w 119379"/>
                <a:gd name="connsiteY12" fmla="*/ 106828 h 107950"/>
                <a:gd name="connsiteX13" fmla="*/ 68982 w 119379"/>
                <a:gd name="connsiteY13" fmla="*/ 106828 h 107950"/>
                <a:gd name="connsiteX14" fmla="*/ 68982 w 119379"/>
                <a:gd name="connsiteY14" fmla="*/ 60473 h 107950"/>
                <a:gd name="connsiteX15" fmla="*/ 118512 w 119379"/>
                <a:gd name="connsiteY15" fmla="*/ -1122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379" h="107950">
                  <a:moveTo>
                    <a:pt x="118512" y="-1122"/>
                  </a:moveTo>
                  <a:cubicBezTo>
                    <a:pt x="110257" y="-1122"/>
                    <a:pt x="102002" y="-1122"/>
                    <a:pt x="93112" y="-1122"/>
                  </a:cubicBezTo>
                  <a:lnTo>
                    <a:pt x="93112" y="-1122"/>
                  </a:lnTo>
                  <a:lnTo>
                    <a:pt x="93112" y="-1122"/>
                  </a:lnTo>
                  <a:cubicBezTo>
                    <a:pt x="82317" y="12848"/>
                    <a:pt x="70887" y="26818"/>
                    <a:pt x="58822" y="40789"/>
                  </a:cubicBezTo>
                  <a:cubicBezTo>
                    <a:pt x="46757" y="26818"/>
                    <a:pt x="35327" y="12848"/>
                    <a:pt x="24532" y="-1122"/>
                  </a:cubicBezTo>
                  <a:cubicBezTo>
                    <a:pt x="16277" y="-1122"/>
                    <a:pt x="8022" y="-1122"/>
                    <a:pt x="-868" y="-1122"/>
                  </a:cubicBezTo>
                  <a:lnTo>
                    <a:pt x="-868" y="-1122"/>
                  </a:lnTo>
                  <a:lnTo>
                    <a:pt x="-868" y="-1122"/>
                  </a:lnTo>
                  <a:cubicBezTo>
                    <a:pt x="16277" y="19198"/>
                    <a:pt x="32787" y="40153"/>
                    <a:pt x="48662" y="60473"/>
                  </a:cubicBezTo>
                  <a:cubicBezTo>
                    <a:pt x="49297" y="76348"/>
                    <a:pt x="49297" y="91589"/>
                    <a:pt x="48662" y="106828"/>
                  </a:cubicBezTo>
                  <a:cubicBezTo>
                    <a:pt x="55647" y="106828"/>
                    <a:pt x="61997" y="106828"/>
                    <a:pt x="68982" y="106828"/>
                  </a:cubicBezTo>
                  <a:lnTo>
                    <a:pt x="68982" y="106828"/>
                  </a:lnTo>
                  <a:lnTo>
                    <a:pt x="68982" y="106828"/>
                  </a:lnTo>
                  <a:cubicBezTo>
                    <a:pt x="68347" y="91589"/>
                    <a:pt x="68347" y="75714"/>
                    <a:pt x="68982" y="60473"/>
                  </a:cubicBezTo>
                  <a:cubicBezTo>
                    <a:pt x="84857" y="40153"/>
                    <a:pt x="101367" y="19198"/>
                    <a:pt x="118512" y="-1122"/>
                  </a:cubicBezTo>
                </a:path>
              </a:pathLst>
            </a:custGeom>
            <a:solidFill>
              <a:srgbClr val="FFFFFF"/>
            </a:solidFill>
            <a:ln w="6350" cap="flat">
              <a:noFill/>
              <a:prstDash val="solid"/>
              <a:miter/>
            </a:ln>
          </p:spPr>
          <p:txBody>
            <a:bodyPr rtlCol="0" anchor="ctr"/>
            <a:lstStyle/>
            <a:p>
              <a:endParaRPr lang="en-GB"/>
            </a:p>
          </p:txBody>
        </p:sp>
        <p:sp>
          <p:nvSpPr>
            <p:cNvPr id="73" name="Freeform 72">
              <a:extLst>
                <a:ext uri="{FF2B5EF4-FFF2-40B4-BE49-F238E27FC236}">
                  <a16:creationId xmlns:a16="http://schemas.microsoft.com/office/drawing/2014/main" id="{8FFA68FD-C322-7FAC-375D-180784D506D7}"/>
                </a:ext>
              </a:extLst>
            </p:cNvPr>
            <p:cNvSpPr/>
            <p:nvPr/>
          </p:nvSpPr>
          <p:spPr>
            <a:xfrm>
              <a:off x="-8993504" y="3585844"/>
              <a:ext cx="91439" cy="107950"/>
            </a:xfrm>
            <a:custGeom>
              <a:avLst/>
              <a:gdLst>
                <a:gd name="connsiteX0" fmla="*/ 19452 w 91439"/>
                <a:gd name="connsiteY0" fmla="*/ 88414 h 107950"/>
                <a:gd name="connsiteX1" fmla="*/ 19452 w 91439"/>
                <a:gd name="connsiteY1" fmla="*/ 61108 h 107950"/>
                <a:gd name="connsiteX2" fmla="*/ 67712 w 91439"/>
                <a:gd name="connsiteY2" fmla="*/ 61108 h 107950"/>
                <a:gd name="connsiteX3" fmla="*/ 67712 w 91439"/>
                <a:gd name="connsiteY3" fmla="*/ 61108 h 107950"/>
                <a:gd name="connsiteX4" fmla="*/ 67712 w 91439"/>
                <a:gd name="connsiteY4" fmla="*/ 61108 h 107950"/>
                <a:gd name="connsiteX5" fmla="*/ 67712 w 91439"/>
                <a:gd name="connsiteY5" fmla="*/ 42058 h 107950"/>
                <a:gd name="connsiteX6" fmla="*/ 19452 w 91439"/>
                <a:gd name="connsiteY6" fmla="*/ 42058 h 107950"/>
                <a:gd name="connsiteX7" fmla="*/ 19452 w 91439"/>
                <a:gd name="connsiteY7" fmla="*/ 17928 h 107950"/>
                <a:gd name="connsiteX8" fmla="*/ 89302 w 91439"/>
                <a:gd name="connsiteY8" fmla="*/ 17928 h 107950"/>
                <a:gd name="connsiteX9" fmla="*/ 89302 w 91439"/>
                <a:gd name="connsiteY9" fmla="*/ 17928 h 107950"/>
                <a:gd name="connsiteX10" fmla="*/ 89302 w 91439"/>
                <a:gd name="connsiteY10" fmla="*/ 17928 h 107950"/>
                <a:gd name="connsiteX11" fmla="*/ 89302 w 91439"/>
                <a:gd name="connsiteY11" fmla="*/ -1122 h 107950"/>
                <a:gd name="connsiteX12" fmla="*/ -868 w 91439"/>
                <a:gd name="connsiteY12" fmla="*/ -1122 h 107950"/>
                <a:gd name="connsiteX13" fmla="*/ -868 w 91439"/>
                <a:gd name="connsiteY13" fmla="*/ -1122 h 107950"/>
                <a:gd name="connsiteX14" fmla="*/ -868 w 91439"/>
                <a:gd name="connsiteY14" fmla="*/ -1122 h 107950"/>
                <a:gd name="connsiteX15" fmla="*/ -868 w 91439"/>
                <a:gd name="connsiteY15" fmla="*/ 106828 h 107950"/>
                <a:gd name="connsiteX16" fmla="*/ 90572 w 91439"/>
                <a:gd name="connsiteY16" fmla="*/ 106828 h 107950"/>
                <a:gd name="connsiteX17" fmla="*/ 90572 w 91439"/>
                <a:gd name="connsiteY17" fmla="*/ 106828 h 107950"/>
                <a:gd name="connsiteX18" fmla="*/ 90572 w 91439"/>
                <a:gd name="connsiteY18" fmla="*/ 106828 h 107950"/>
                <a:gd name="connsiteX19" fmla="*/ 90572 w 91439"/>
                <a:gd name="connsiteY19" fmla="*/ 87778 h 107950"/>
                <a:gd name="connsiteX20" fmla="*/ 19452 w 91439"/>
                <a:gd name="connsiteY2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439" h="107950">
                  <a:moveTo>
                    <a:pt x="19452" y="88414"/>
                  </a:moveTo>
                  <a:cubicBezTo>
                    <a:pt x="18817" y="79523"/>
                    <a:pt x="18817" y="70633"/>
                    <a:pt x="19452" y="61108"/>
                  </a:cubicBezTo>
                  <a:cubicBezTo>
                    <a:pt x="35327" y="60473"/>
                    <a:pt x="51837" y="60473"/>
                    <a:pt x="67712" y="61108"/>
                  </a:cubicBezTo>
                  <a:lnTo>
                    <a:pt x="67712" y="61108"/>
                  </a:lnTo>
                  <a:lnTo>
                    <a:pt x="67712" y="61108"/>
                  </a:lnTo>
                  <a:cubicBezTo>
                    <a:pt x="67712" y="54758"/>
                    <a:pt x="67712" y="48408"/>
                    <a:pt x="67712" y="42058"/>
                  </a:cubicBezTo>
                  <a:cubicBezTo>
                    <a:pt x="51837" y="42693"/>
                    <a:pt x="35327" y="42693"/>
                    <a:pt x="19452" y="42058"/>
                  </a:cubicBezTo>
                  <a:cubicBezTo>
                    <a:pt x="18817" y="33803"/>
                    <a:pt x="18817" y="25548"/>
                    <a:pt x="19452" y="17928"/>
                  </a:cubicBezTo>
                  <a:cubicBezTo>
                    <a:pt x="42947" y="17293"/>
                    <a:pt x="66442" y="17293"/>
                    <a:pt x="89302" y="17928"/>
                  </a:cubicBezTo>
                  <a:lnTo>
                    <a:pt x="89302" y="17928"/>
                  </a:lnTo>
                  <a:lnTo>
                    <a:pt x="89302" y="17928"/>
                  </a:lnTo>
                  <a:cubicBezTo>
                    <a:pt x="89302" y="11578"/>
                    <a:pt x="89302" y="5228"/>
                    <a:pt x="89302" y="-1122"/>
                  </a:cubicBezTo>
                  <a:cubicBezTo>
                    <a:pt x="59457" y="-486"/>
                    <a:pt x="29612" y="-486"/>
                    <a:pt x="-868" y="-1122"/>
                  </a:cubicBezTo>
                  <a:lnTo>
                    <a:pt x="-868" y="-1122"/>
                  </a:lnTo>
                  <a:lnTo>
                    <a:pt x="-868" y="-1122"/>
                  </a:lnTo>
                  <a:cubicBezTo>
                    <a:pt x="-233" y="35073"/>
                    <a:pt x="-233" y="71268"/>
                    <a:pt x="-868" y="106828"/>
                  </a:cubicBezTo>
                  <a:cubicBezTo>
                    <a:pt x="29612" y="106193"/>
                    <a:pt x="60092" y="106193"/>
                    <a:pt x="90572" y="106828"/>
                  </a:cubicBezTo>
                  <a:lnTo>
                    <a:pt x="90572" y="106828"/>
                  </a:lnTo>
                  <a:lnTo>
                    <a:pt x="90572" y="106828"/>
                  </a:lnTo>
                  <a:cubicBezTo>
                    <a:pt x="90572" y="100478"/>
                    <a:pt x="90572" y="94128"/>
                    <a:pt x="90572" y="87778"/>
                  </a:cubicBezTo>
                  <a:cubicBezTo>
                    <a:pt x="67077" y="88414"/>
                    <a:pt x="43582" y="88414"/>
                    <a:pt x="19452" y="88414"/>
                  </a:cubicBezTo>
                </a:path>
              </a:pathLst>
            </a:custGeom>
            <a:solidFill>
              <a:srgbClr val="FFFFFF"/>
            </a:solidFill>
            <a:ln w="6350" cap="flat">
              <a:noFill/>
              <a:prstDash val="solid"/>
              <a:miter/>
            </a:ln>
          </p:spPr>
          <p:txBody>
            <a:bodyPr rtlCol="0" anchor="ctr"/>
            <a:lstStyle/>
            <a:p>
              <a:endParaRPr lang="en-GB"/>
            </a:p>
          </p:txBody>
        </p:sp>
        <p:sp>
          <p:nvSpPr>
            <p:cNvPr id="74" name="Freeform 73">
              <a:extLst>
                <a:ext uri="{FF2B5EF4-FFF2-40B4-BE49-F238E27FC236}">
                  <a16:creationId xmlns:a16="http://schemas.microsoft.com/office/drawing/2014/main" id="{54E6EDC0-E6AD-F043-3AA7-541F0B9D77BA}"/>
                </a:ext>
              </a:extLst>
            </p:cNvPr>
            <p:cNvSpPr/>
            <p:nvPr/>
          </p:nvSpPr>
          <p:spPr>
            <a:xfrm>
              <a:off x="-9239884" y="3585844"/>
              <a:ext cx="99694" cy="108585"/>
            </a:xfrm>
            <a:custGeom>
              <a:avLst/>
              <a:gdLst>
                <a:gd name="connsiteX0" fmla="*/ -868 w 99694"/>
                <a:gd name="connsiteY0" fmla="*/ -1122 h 108585"/>
                <a:gd name="connsiteX1" fmla="*/ -868 w 99694"/>
                <a:gd name="connsiteY1" fmla="*/ -1122 h 108585"/>
                <a:gd name="connsiteX2" fmla="*/ -868 w 99694"/>
                <a:gd name="connsiteY2" fmla="*/ -1122 h 108585"/>
                <a:gd name="connsiteX3" fmla="*/ -868 w 99694"/>
                <a:gd name="connsiteY3" fmla="*/ 17928 h 108585"/>
                <a:gd name="connsiteX4" fmla="*/ 38502 w 99694"/>
                <a:gd name="connsiteY4" fmla="*/ 17928 h 108585"/>
                <a:gd name="connsiteX5" fmla="*/ 38502 w 99694"/>
                <a:gd name="connsiteY5" fmla="*/ 107464 h 108585"/>
                <a:gd name="connsiteX6" fmla="*/ 59457 w 99694"/>
                <a:gd name="connsiteY6" fmla="*/ 107464 h 108585"/>
                <a:gd name="connsiteX7" fmla="*/ 59457 w 99694"/>
                <a:gd name="connsiteY7" fmla="*/ 107464 h 108585"/>
                <a:gd name="connsiteX8" fmla="*/ 59457 w 99694"/>
                <a:gd name="connsiteY8" fmla="*/ 107464 h 108585"/>
                <a:gd name="connsiteX9" fmla="*/ 59457 w 99694"/>
                <a:gd name="connsiteY9" fmla="*/ 17928 h 108585"/>
                <a:gd name="connsiteX10" fmla="*/ 98827 w 99694"/>
                <a:gd name="connsiteY10" fmla="*/ 17928 h 108585"/>
                <a:gd name="connsiteX11" fmla="*/ 98827 w 99694"/>
                <a:gd name="connsiteY11" fmla="*/ 17928 h 108585"/>
                <a:gd name="connsiteX12" fmla="*/ 98827 w 99694"/>
                <a:gd name="connsiteY12" fmla="*/ 17928 h 108585"/>
                <a:gd name="connsiteX13" fmla="*/ 98827 w 99694"/>
                <a:gd name="connsiteY13" fmla="*/ -1122 h 108585"/>
                <a:gd name="connsiteX14" fmla="*/ -868 w 99694"/>
                <a:gd name="connsiteY14" fmla="*/ -1122 h 10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694" h="108585">
                  <a:moveTo>
                    <a:pt x="-868" y="-1122"/>
                  </a:moveTo>
                  <a:lnTo>
                    <a:pt x="-868" y="-1122"/>
                  </a:lnTo>
                  <a:lnTo>
                    <a:pt x="-868" y="-1122"/>
                  </a:lnTo>
                  <a:cubicBezTo>
                    <a:pt x="-868" y="5228"/>
                    <a:pt x="-868" y="11578"/>
                    <a:pt x="-868" y="17928"/>
                  </a:cubicBezTo>
                  <a:cubicBezTo>
                    <a:pt x="12467" y="17293"/>
                    <a:pt x="25802" y="17293"/>
                    <a:pt x="38502" y="17928"/>
                  </a:cubicBezTo>
                  <a:cubicBezTo>
                    <a:pt x="39137" y="47773"/>
                    <a:pt x="39137" y="77618"/>
                    <a:pt x="38502" y="107464"/>
                  </a:cubicBezTo>
                  <a:cubicBezTo>
                    <a:pt x="45487" y="107464"/>
                    <a:pt x="52472" y="107464"/>
                    <a:pt x="59457" y="107464"/>
                  </a:cubicBezTo>
                  <a:lnTo>
                    <a:pt x="59457" y="107464"/>
                  </a:lnTo>
                  <a:lnTo>
                    <a:pt x="59457" y="107464"/>
                  </a:lnTo>
                  <a:cubicBezTo>
                    <a:pt x="58822" y="77618"/>
                    <a:pt x="58822" y="47773"/>
                    <a:pt x="59457" y="17928"/>
                  </a:cubicBezTo>
                  <a:cubicBezTo>
                    <a:pt x="72792" y="17293"/>
                    <a:pt x="85492" y="17293"/>
                    <a:pt x="98827" y="17928"/>
                  </a:cubicBezTo>
                  <a:lnTo>
                    <a:pt x="98827" y="17928"/>
                  </a:lnTo>
                  <a:lnTo>
                    <a:pt x="98827" y="17928"/>
                  </a:lnTo>
                  <a:cubicBezTo>
                    <a:pt x="98827" y="11578"/>
                    <a:pt x="98827" y="5228"/>
                    <a:pt x="98827" y="-1122"/>
                  </a:cubicBezTo>
                  <a:cubicBezTo>
                    <a:pt x="65172" y="-486"/>
                    <a:pt x="32152" y="-486"/>
                    <a:pt x="-868" y="-1122"/>
                  </a:cubicBezTo>
                </a:path>
              </a:pathLst>
            </a:custGeom>
            <a:solidFill>
              <a:srgbClr val="FFFFFF"/>
            </a:solidFill>
            <a:ln w="6350" cap="flat">
              <a:noFill/>
              <a:prstDash val="solid"/>
              <a:miter/>
            </a:ln>
          </p:spPr>
          <p:txBody>
            <a:bodyPr rtlCol="0" anchor="ctr"/>
            <a:lstStyle/>
            <a:p>
              <a:endParaRPr lang="en-GB"/>
            </a:p>
          </p:txBody>
        </p:sp>
        <p:sp>
          <p:nvSpPr>
            <p:cNvPr id="75" name="Freeform 74">
              <a:extLst>
                <a:ext uri="{FF2B5EF4-FFF2-40B4-BE49-F238E27FC236}">
                  <a16:creationId xmlns:a16="http://schemas.microsoft.com/office/drawing/2014/main" id="{9B8C5BFC-7A34-F6AA-A243-2A9CD688C1F1}"/>
                </a:ext>
              </a:extLst>
            </p:cNvPr>
            <p:cNvSpPr/>
            <p:nvPr/>
          </p:nvSpPr>
          <p:spPr>
            <a:xfrm>
              <a:off x="-9273540" y="3244163"/>
              <a:ext cx="164465" cy="158820"/>
            </a:xfrm>
            <a:custGeom>
              <a:avLst/>
              <a:gdLst>
                <a:gd name="connsiteX0" fmla="*/ 138832 w 164465"/>
                <a:gd name="connsiteY0" fmla="*/ 75130 h 158820"/>
                <a:gd name="connsiteX1" fmla="*/ 136927 w 164465"/>
                <a:gd name="connsiteY1" fmla="*/ 73225 h 158820"/>
                <a:gd name="connsiteX2" fmla="*/ 139467 w 164465"/>
                <a:gd name="connsiteY2" fmla="*/ 70685 h 158820"/>
                <a:gd name="connsiteX3" fmla="*/ 158517 w 164465"/>
                <a:gd name="connsiteY3" fmla="*/ 40205 h 158820"/>
                <a:gd name="connsiteX4" fmla="*/ 78507 w 164465"/>
                <a:gd name="connsiteY4" fmla="*/ -1070 h 158820"/>
                <a:gd name="connsiteX5" fmla="*/ 7387 w 164465"/>
                <a:gd name="connsiteY5" fmla="*/ 21790 h 158820"/>
                <a:gd name="connsiteX6" fmla="*/ -868 w 164465"/>
                <a:gd name="connsiteY6" fmla="*/ 31315 h 158820"/>
                <a:gd name="connsiteX7" fmla="*/ 2307 w 164465"/>
                <a:gd name="connsiteY7" fmla="*/ 35760 h 158820"/>
                <a:gd name="connsiteX8" fmla="*/ 9292 w 164465"/>
                <a:gd name="connsiteY8" fmla="*/ 42745 h 158820"/>
                <a:gd name="connsiteX9" fmla="*/ 9292 w 164465"/>
                <a:gd name="connsiteY9" fmla="*/ 117040 h 158820"/>
                <a:gd name="connsiteX10" fmla="*/ 2942 w 164465"/>
                <a:gd name="connsiteY10" fmla="*/ 124025 h 158820"/>
                <a:gd name="connsiteX11" fmla="*/ -233 w 164465"/>
                <a:gd name="connsiteY11" fmla="*/ 128470 h 158820"/>
                <a:gd name="connsiteX12" fmla="*/ 9292 w 164465"/>
                <a:gd name="connsiteY12" fmla="*/ 136725 h 158820"/>
                <a:gd name="connsiteX13" fmla="*/ 82317 w 164465"/>
                <a:gd name="connsiteY13" fmla="*/ 157680 h 158820"/>
                <a:gd name="connsiteX14" fmla="*/ 163597 w 164465"/>
                <a:gd name="connsiteY14" fmla="*/ 111325 h 158820"/>
                <a:gd name="connsiteX15" fmla="*/ 138832 w 164465"/>
                <a:gd name="connsiteY15" fmla="*/ 75130 h 158820"/>
                <a:gd name="connsiteX16" fmla="*/ 80412 w 164465"/>
                <a:gd name="connsiteY16" fmla="*/ 9725 h 158820"/>
                <a:gd name="connsiteX17" fmla="*/ 115972 w 164465"/>
                <a:gd name="connsiteY17" fmla="*/ 40205 h 158820"/>
                <a:gd name="connsiteX18" fmla="*/ 82317 w 164465"/>
                <a:gd name="connsiteY18" fmla="*/ 71320 h 158820"/>
                <a:gd name="connsiteX19" fmla="*/ 48027 w 164465"/>
                <a:gd name="connsiteY19" fmla="*/ 40840 h 158820"/>
                <a:gd name="connsiteX20" fmla="*/ 80412 w 164465"/>
                <a:gd name="connsiteY20" fmla="*/ 9725 h 158820"/>
                <a:gd name="connsiteX21" fmla="*/ 84222 w 164465"/>
                <a:gd name="connsiteY21" fmla="*/ 146885 h 158820"/>
                <a:gd name="connsiteX22" fmla="*/ 47392 w 164465"/>
                <a:gd name="connsiteY22" fmla="*/ 113230 h 158820"/>
                <a:gd name="connsiteX23" fmla="*/ 82317 w 164465"/>
                <a:gd name="connsiteY23" fmla="*/ 79575 h 158820"/>
                <a:gd name="connsiteX24" fmla="*/ 120417 w 164465"/>
                <a:gd name="connsiteY24" fmla="*/ 112595 h 158820"/>
                <a:gd name="connsiteX25" fmla="*/ 84222 w 164465"/>
                <a:gd name="connsiteY25" fmla="*/ 146885 h 158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4465" h="158820">
                  <a:moveTo>
                    <a:pt x="138832" y="75130"/>
                  </a:moveTo>
                  <a:cubicBezTo>
                    <a:pt x="138197" y="74495"/>
                    <a:pt x="137562" y="74495"/>
                    <a:pt x="136927" y="73225"/>
                  </a:cubicBezTo>
                  <a:cubicBezTo>
                    <a:pt x="136927" y="72590"/>
                    <a:pt x="137562" y="71955"/>
                    <a:pt x="139467" y="70685"/>
                  </a:cubicBezTo>
                  <a:cubicBezTo>
                    <a:pt x="147722" y="65605"/>
                    <a:pt x="159152" y="58620"/>
                    <a:pt x="158517" y="40205"/>
                  </a:cubicBezTo>
                  <a:cubicBezTo>
                    <a:pt x="157882" y="19885"/>
                    <a:pt x="133752" y="-2340"/>
                    <a:pt x="78507" y="-1070"/>
                  </a:cubicBezTo>
                  <a:cubicBezTo>
                    <a:pt x="50567" y="-435"/>
                    <a:pt x="23262" y="8455"/>
                    <a:pt x="7387" y="21790"/>
                  </a:cubicBezTo>
                  <a:cubicBezTo>
                    <a:pt x="4847" y="23695"/>
                    <a:pt x="-868" y="28775"/>
                    <a:pt x="-868" y="31315"/>
                  </a:cubicBezTo>
                  <a:cubicBezTo>
                    <a:pt x="-868" y="32585"/>
                    <a:pt x="402" y="33855"/>
                    <a:pt x="2307" y="35760"/>
                  </a:cubicBezTo>
                  <a:cubicBezTo>
                    <a:pt x="4847" y="38300"/>
                    <a:pt x="9292" y="42745"/>
                    <a:pt x="9292" y="42745"/>
                  </a:cubicBezTo>
                  <a:lnTo>
                    <a:pt x="9292" y="117040"/>
                  </a:lnTo>
                  <a:cubicBezTo>
                    <a:pt x="7387" y="118945"/>
                    <a:pt x="5482" y="120850"/>
                    <a:pt x="2942" y="124025"/>
                  </a:cubicBezTo>
                  <a:cubicBezTo>
                    <a:pt x="1672" y="125295"/>
                    <a:pt x="-233" y="126565"/>
                    <a:pt x="-233" y="128470"/>
                  </a:cubicBezTo>
                  <a:cubicBezTo>
                    <a:pt x="-233" y="130375"/>
                    <a:pt x="6752" y="134820"/>
                    <a:pt x="9292" y="136725"/>
                  </a:cubicBezTo>
                  <a:cubicBezTo>
                    <a:pt x="19452" y="144980"/>
                    <a:pt x="46122" y="156410"/>
                    <a:pt x="82317" y="157680"/>
                  </a:cubicBezTo>
                  <a:cubicBezTo>
                    <a:pt x="127402" y="158315"/>
                    <a:pt x="162962" y="142440"/>
                    <a:pt x="163597" y="111325"/>
                  </a:cubicBezTo>
                  <a:cubicBezTo>
                    <a:pt x="162962" y="92275"/>
                    <a:pt x="146452" y="80210"/>
                    <a:pt x="138832" y="75130"/>
                  </a:cubicBezTo>
                  <a:moveTo>
                    <a:pt x="80412" y="9725"/>
                  </a:moveTo>
                  <a:cubicBezTo>
                    <a:pt x="92477" y="9725"/>
                    <a:pt x="116607" y="10995"/>
                    <a:pt x="115972" y="40205"/>
                  </a:cubicBezTo>
                  <a:cubicBezTo>
                    <a:pt x="115337" y="64335"/>
                    <a:pt x="101367" y="71955"/>
                    <a:pt x="82317" y="71320"/>
                  </a:cubicBezTo>
                  <a:cubicBezTo>
                    <a:pt x="62632" y="70685"/>
                    <a:pt x="48662" y="64970"/>
                    <a:pt x="48027" y="40840"/>
                  </a:cubicBezTo>
                  <a:cubicBezTo>
                    <a:pt x="47392" y="14170"/>
                    <a:pt x="67712" y="9725"/>
                    <a:pt x="80412" y="9725"/>
                  </a:cubicBezTo>
                  <a:moveTo>
                    <a:pt x="84222" y="146885"/>
                  </a:moveTo>
                  <a:cubicBezTo>
                    <a:pt x="62632" y="146250"/>
                    <a:pt x="48662" y="139900"/>
                    <a:pt x="47392" y="113230"/>
                  </a:cubicBezTo>
                  <a:cubicBezTo>
                    <a:pt x="46122" y="85290"/>
                    <a:pt x="67712" y="79575"/>
                    <a:pt x="82317" y="79575"/>
                  </a:cubicBezTo>
                  <a:cubicBezTo>
                    <a:pt x="95017" y="79575"/>
                    <a:pt x="121052" y="80845"/>
                    <a:pt x="120417" y="112595"/>
                  </a:cubicBezTo>
                  <a:cubicBezTo>
                    <a:pt x="119782" y="139900"/>
                    <a:pt x="104542" y="147520"/>
                    <a:pt x="84222" y="146885"/>
                  </a:cubicBezTo>
                </a:path>
              </a:pathLst>
            </a:custGeom>
            <a:solidFill>
              <a:srgbClr val="FFFFFF"/>
            </a:solidFill>
            <a:ln w="6350" cap="flat">
              <a:noFill/>
              <a:prstDash val="solid"/>
              <a:miter/>
            </a:ln>
          </p:spPr>
          <p:txBody>
            <a:bodyPr rtlCol="0" anchor="ctr"/>
            <a:lstStyle/>
            <a:p>
              <a:endParaRPr lang="en-GB"/>
            </a:p>
          </p:txBody>
        </p:sp>
        <p:sp>
          <p:nvSpPr>
            <p:cNvPr id="76" name="Freeform 75">
              <a:extLst>
                <a:ext uri="{FF2B5EF4-FFF2-40B4-BE49-F238E27FC236}">
                  <a16:creationId xmlns:a16="http://schemas.microsoft.com/office/drawing/2014/main" id="{846FCD6F-D2EB-2CF5-C426-89B88175BBC2}"/>
                </a:ext>
              </a:extLst>
            </p:cNvPr>
            <p:cNvSpPr/>
            <p:nvPr/>
          </p:nvSpPr>
          <p:spPr>
            <a:xfrm>
              <a:off x="-9107170" y="3369944"/>
              <a:ext cx="99695" cy="96520"/>
            </a:xfrm>
            <a:custGeom>
              <a:avLst/>
              <a:gdLst>
                <a:gd name="connsiteX0" fmla="*/ 39137 w 99695"/>
                <a:gd name="connsiteY0" fmla="*/ 65553 h 96520"/>
                <a:gd name="connsiteX1" fmla="*/ -868 w 99695"/>
                <a:gd name="connsiteY1" fmla="*/ 88414 h 96520"/>
                <a:gd name="connsiteX2" fmla="*/ 1037 w 99695"/>
                <a:gd name="connsiteY2" fmla="*/ 91589 h 96520"/>
                <a:gd name="connsiteX3" fmla="*/ 2307 w 99695"/>
                <a:gd name="connsiteY3" fmla="*/ 95398 h 96520"/>
                <a:gd name="connsiteX4" fmla="*/ 43582 w 99695"/>
                <a:gd name="connsiteY4" fmla="*/ 71903 h 96520"/>
                <a:gd name="connsiteX5" fmla="*/ 98827 w 99695"/>
                <a:gd name="connsiteY5" fmla="*/ -1122 h 96520"/>
                <a:gd name="connsiteX6" fmla="*/ 90572 w 99695"/>
                <a:gd name="connsiteY6" fmla="*/ -486 h 96520"/>
                <a:gd name="connsiteX7" fmla="*/ 39137 w 99695"/>
                <a:gd name="connsiteY7" fmla="*/ 65553 h 9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695" h="96520">
                  <a:moveTo>
                    <a:pt x="39137" y="65553"/>
                  </a:moveTo>
                  <a:cubicBezTo>
                    <a:pt x="27072" y="74443"/>
                    <a:pt x="13737" y="82064"/>
                    <a:pt x="-868" y="88414"/>
                  </a:cubicBezTo>
                  <a:lnTo>
                    <a:pt x="1037" y="91589"/>
                  </a:lnTo>
                  <a:cubicBezTo>
                    <a:pt x="1037" y="91589"/>
                    <a:pt x="1672" y="92858"/>
                    <a:pt x="2307" y="95398"/>
                  </a:cubicBezTo>
                  <a:cubicBezTo>
                    <a:pt x="16912" y="89048"/>
                    <a:pt x="30882" y="80793"/>
                    <a:pt x="43582" y="71903"/>
                  </a:cubicBezTo>
                  <a:cubicBezTo>
                    <a:pt x="70252" y="52218"/>
                    <a:pt x="89302" y="26183"/>
                    <a:pt x="98827" y="-1122"/>
                  </a:cubicBezTo>
                  <a:cubicBezTo>
                    <a:pt x="96287" y="-486"/>
                    <a:pt x="93747" y="-486"/>
                    <a:pt x="90572" y="-486"/>
                  </a:cubicBezTo>
                  <a:cubicBezTo>
                    <a:pt x="81047" y="24278"/>
                    <a:pt x="63902" y="47139"/>
                    <a:pt x="39137" y="65553"/>
                  </a:cubicBezTo>
                </a:path>
              </a:pathLst>
            </a:custGeom>
            <a:solidFill>
              <a:srgbClr val="FFFFFF"/>
            </a:solidFill>
            <a:ln w="6350" cap="flat">
              <a:noFill/>
              <a:prstDash val="solid"/>
              <a:miter/>
            </a:ln>
          </p:spPr>
          <p:txBody>
            <a:bodyPr rtlCol="0" anchor="ctr"/>
            <a:lstStyle/>
            <a:p>
              <a:endParaRPr lang="en-GB"/>
            </a:p>
          </p:txBody>
        </p:sp>
        <p:sp>
          <p:nvSpPr>
            <p:cNvPr id="77" name="Freeform 76">
              <a:extLst>
                <a:ext uri="{FF2B5EF4-FFF2-40B4-BE49-F238E27FC236}">
                  <a16:creationId xmlns:a16="http://schemas.microsoft.com/office/drawing/2014/main" id="{82AB66A8-5544-89E1-E186-9EE00A706257}"/>
                </a:ext>
              </a:extLst>
            </p:cNvPr>
            <p:cNvSpPr/>
            <p:nvPr/>
          </p:nvSpPr>
          <p:spPr>
            <a:xfrm>
              <a:off x="-9278620" y="3163569"/>
              <a:ext cx="174625" cy="22225"/>
            </a:xfrm>
            <a:custGeom>
              <a:avLst/>
              <a:gdLst>
                <a:gd name="connsiteX0" fmla="*/ 84857 w 174625"/>
                <a:gd name="connsiteY0" fmla="*/ 6498 h 22225"/>
                <a:gd name="connsiteX1" fmla="*/ 166137 w 174625"/>
                <a:gd name="connsiteY1" fmla="*/ 21103 h 22225"/>
                <a:gd name="connsiteX2" fmla="*/ 173757 w 174625"/>
                <a:gd name="connsiteY2" fmla="*/ 16023 h 22225"/>
                <a:gd name="connsiteX3" fmla="*/ 84857 w 174625"/>
                <a:gd name="connsiteY3" fmla="*/ -1122 h 22225"/>
                <a:gd name="connsiteX4" fmla="*/ -868 w 174625"/>
                <a:gd name="connsiteY4" fmla="*/ 14753 h 22225"/>
                <a:gd name="connsiteX5" fmla="*/ 7387 w 174625"/>
                <a:gd name="connsiteY5" fmla="*/ 19833 h 22225"/>
                <a:gd name="connsiteX6" fmla="*/ 84857 w 174625"/>
                <a:gd name="connsiteY6" fmla="*/ 6498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625" h="22225">
                  <a:moveTo>
                    <a:pt x="84857" y="6498"/>
                  </a:moveTo>
                  <a:cubicBezTo>
                    <a:pt x="113432" y="6498"/>
                    <a:pt x="141372" y="11578"/>
                    <a:pt x="166137" y="21103"/>
                  </a:cubicBezTo>
                  <a:cubicBezTo>
                    <a:pt x="168042" y="19198"/>
                    <a:pt x="171217" y="17293"/>
                    <a:pt x="173757" y="16023"/>
                  </a:cubicBezTo>
                  <a:cubicBezTo>
                    <a:pt x="146452" y="4593"/>
                    <a:pt x="115972" y="-1122"/>
                    <a:pt x="84857" y="-1122"/>
                  </a:cubicBezTo>
                  <a:cubicBezTo>
                    <a:pt x="53742" y="-1122"/>
                    <a:pt x="25167" y="4593"/>
                    <a:pt x="-868" y="14753"/>
                  </a:cubicBezTo>
                  <a:cubicBezTo>
                    <a:pt x="1672" y="16023"/>
                    <a:pt x="4847" y="17293"/>
                    <a:pt x="7387" y="19833"/>
                  </a:cubicBezTo>
                  <a:cubicBezTo>
                    <a:pt x="30882" y="11578"/>
                    <a:pt x="57552" y="6498"/>
                    <a:pt x="84857" y="6498"/>
                  </a:cubicBezTo>
                </a:path>
              </a:pathLst>
            </a:custGeom>
            <a:solidFill>
              <a:srgbClr val="FFFFFF"/>
            </a:solidFill>
            <a:ln w="6350" cap="flat">
              <a:noFill/>
              <a:prstDash val="solid"/>
              <a:miter/>
            </a:ln>
          </p:spPr>
          <p:txBody>
            <a:bodyPr rtlCol="0" anchor="ctr"/>
            <a:lstStyle/>
            <a:p>
              <a:endParaRPr lang="en-GB"/>
            </a:p>
          </p:txBody>
        </p:sp>
        <p:sp>
          <p:nvSpPr>
            <p:cNvPr id="78" name="Freeform 77">
              <a:extLst>
                <a:ext uri="{FF2B5EF4-FFF2-40B4-BE49-F238E27FC236}">
                  <a16:creationId xmlns:a16="http://schemas.microsoft.com/office/drawing/2014/main" id="{BB295D9F-F7AD-B445-47F3-B7EA7000B97C}"/>
                </a:ext>
              </a:extLst>
            </p:cNvPr>
            <p:cNvSpPr/>
            <p:nvPr/>
          </p:nvSpPr>
          <p:spPr>
            <a:xfrm>
              <a:off x="-9381490" y="3366769"/>
              <a:ext cx="105410" cy="102870"/>
            </a:xfrm>
            <a:custGeom>
              <a:avLst/>
              <a:gdLst>
                <a:gd name="connsiteX0" fmla="*/ 8022 w 105410"/>
                <a:gd name="connsiteY0" fmla="*/ 783 h 102870"/>
                <a:gd name="connsiteX1" fmla="*/ -868 w 105410"/>
                <a:gd name="connsiteY1" fmla="*/ -1122 h 102870"/>
                <a:gd name="connsiteX2" fmla="*/ 55012 w 105410"/>
                <a:gd name="connsiteY2" fmla="*/ 75078 h 102870"/>
                <a:gd name="connsiteX3" fmla="*/ 102002 w 105410"/>
                <a:gd name="connsiteY3" fmla="*/ 101748 h 102870"/>
                <a:gd name="connsiteX4" fmla="*/ 103907 w 105410"/>
                <a:gd name="connsiteY4" fmla="*/ 95398 h 102870"/>
                <a:gd name="connsiteX5" fmla="*/ 104542 w 105410"/>
                <a:gd name="connsiteY5" fmla="*/ 94764 h 102870"/>
                <a:gd name="connsiteX6" fmla="*/ 60092 w 105410"/>
                <a:gd name="connsiteY6" fmla="*/ 69364 h 102870"/>
                <a:gd name="connsiteX7" fmla="*/ 8022 w 105410"/>
                <a:gd name="connsiteY7" fmla="*/ 783 h 10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410" h="102870">
                  <a:moveTo>
                    <a:pt x="8022" y="783"/>
                  </a:moveTo>
                  <a:cubicBezTo>
                    <a:pt x="3577" y="783"/>
                    <a:pt x="1037" y="-486"/>
                    <a:pt x="-868" y="-1122"/>
                  </a:cubicBezTo>
                  <a:cubicBezTo>
                    <a:pt x="8657" y="28089"/>
                    <a:pt x="27707" y="54758"/>
                    <a:pt x="55012" y="75078"/>
                  </a:cubicBezTo>
                  <a:cubicBezTo>
                    <a:pt x="68982" y="85873"/>
                    <a:pt x="84857" y="94764"/>
                    <a:pt x="102002" y="101748"/>
                  </a:cubicBezTo>
                  <a:cubicBezTo>
                    <a:pt x="102002" y="99843"/>
                    <a:pt x="102637" y="97939"/>
                    <a:pt x="103907" y="95398"/>
                  </a:cubicBezTo>
                  <a:cubicBezTo>
                    <a:pt x="103907" y="95398"/>
                    <a:pt x="104542" y="94764"/>
                    <a:pt x="104542" y="94764"/>
                  </a:cubicBezTo>
                  <a:cubicBezTo>
                    <a:pt x="88667" y="88414"/>
                    <a:pt x="73427" y="79523"/>
                    <a:pt x="60092" y="69364"/>
                  </a:cubicBezTo>
                  <a:cubicBezTo>
                    <a:pt x="35327" y="50314"/>
                    <a:pt x="17547" y="26818"/>
                    <a:pt x="8022" y="783"/>
                  </a:cubicBezTo>
                </a:path>
              </a:pathLst>
            </a:custGeom>
            <a:solidFill>
              <a:srgbClr val="FFFFFF"/>
            </a:solidFill>
            <a:ln w="6350" cap="flat">
              <a:noFill/>
              <a:prstDash val="solid"/>
              <a:miter/>
            </a:ln>
          </p:spPr>
          <p:txBody>
            <a:bodyPr rtlCol="0" anchor="ctr"/>
            <a:lstStyle/>
            <a:p>
              <a:endParaRPr lang="en-GB"/>
            </a:p>
          </p:txBody>
        </p:sp>
        <p:sp>
          <p:nvSpPr>
            <p:cNvPr id="79" name="Freeform 78">
              <a:extLst>
                <a:ext uri="{FF2B5EF4-FFF2-40B4-BE49-F238E27FC236}">
                  <a16:creationId xmlns:a16="http://schemas.microsoft.com/office/drawing/2014/main" id="{AC3A04D4-1654-915B-2982-8681DFD57E99}"/>
                </a:ext>
              </a:extLst>
            </p:cNvPr>
            <p:cNvSpPr/>
            <p:nvPr/>
          </p:nvSpPr>
          <p:spPr>
            <a:xfrm>
              <a:off x="-9126220" y="3364230"/>
              <a:ext cx="102235" cy="91439"/>
            </a:xfrm>
            <a:custGeom>
              <a:avLst/>
              <a:gdLst>
                <a:gd name="connsiteX0" fmla="*/ 101367 w 102235"/>
                <a:gd name="connsiteY0" fmla="*/ 3958 h 91439"/>
                <a:gd name="connsiteX1" fmla="*/ 86762 w 102235"/>
                <a:gd name="connsiteY1" fmla="*/ -1122 h 91439"/>
                <a:gd name="connsiteX2" fmla="*/ 85492 w 102235"/>
                <a:gd name="connsiteY2" fmla="*/ 2688 h 91439"/>
                <a:gd name="connsiteX3" fmla="*/ 72157 w 102235"/>
                <a:gd name="connsiteY3" fmla="*/ 9038 h 91439"/>
                <a:gd name="connsiteX4" fmla="*/ 69617 w 102235"/>
                <a:gd name="connsiteY4" fmla="*/ 9038 h 91439"/>
                <a:gd name="connsiteX5" fmla="*/ 63902 w 102235"/>
                <a:gd name="connsiteY5" fmla="*/ 7767 h 91439"/>
                <a:gd name="connsiteX6" fmla="*/ 61362 w 102235"/>
                <a:gd name="connsiteY6" fmla="*/ 7133 h 91439"/>
                <a:gd name="connsiteX7" fmla="*/ -868 w 102235"/>
                <a:gd name="connsiteY7" fmla="*/ 59203 h 91439"/>
                <a:gd name="connsiteX8" fmla="*/ -233 w 102235"/>
                <a:gd name="connsiteY8" fmla="*/ 63013 h 91439"/>
                <a:gd name="connsiteX9" fmla="*/ 15642 w 102235"/>
                <a:gd name="connsiteY9" fmla="*/ 90317 h 91439"/>
                <a:gd name="connsiteX10" fmla="*/ 53742 w 102235"/>
                <a:gd name="connsiteY10" fmla="*/ 67458 h 91439"/>
                <a:gd name="connsiteX11" fmla="*/ 101367 w 102235"/>
                <a:gd name="connsiteY11" fmla="*/ 3958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5" h="91439">
                  <a:moveTo>
                    <a:pt x="101367" y="3958"/>
                  </a:moveTo>
                  <a:cubicBezTo>
                    <a:pt x="96287" y="3323"/>
                    <a:pt x="91207" y="1417"/>
                    <a:pt x="86762" y="-1122"/>
                  </a:cubicBezTo>
                  <a:cubicBezTo>
                    <a:pt x="86127" y="148"/>
                    <a:pt x="86127" y="1417"/>
                    <a:pt x="85492" y="2688"/>
                  </a:cubicBezTo>
                  <a:cubicBezTo>
                    <a:pt x="82952" y="7767"/>
                    <a:pt x="77237" y="9038"/>
                    <a:pt x="72157" y="9038"/>
                  </a:cubicBezTo>
                  <a:cubicBezTo>
                    <a:pt x="71522" y="9038"/>
                    <a:pt x="70252" y="9038"/>
                    <a:pt x="69617" y="9038"/>
                  </a:cubicBezTo>
                  <a:cubicBezTo>
                    <a:pt x="67712" y="9038"/>
                    <a:pt x="65807" y="8403"/>
                    <a:pt x="63902" y="7767"/>
                  </a:cubicBezTo>
                  <a:cubicBezTo>
                    <a:pt x="63267" y="7767"/>
                    <a:pt x="62632" y="7133"/>
                    <a:pt x="61362" y="7133"/>
                  </a:cubicBezTo>
                  <a:cubicBezTo>
                    <a:pt x="48662" y="29358"/>
                    <a:pt x="26437" y="47773"/>
                    <a:pt x="-868" y="59203"/>
                  </a:cubicBezTo>
                  <a:cubicBezTo>
                    <a:pt x="-868" y="60473"/>
                    <a:pt x="-868" y="61742"/>
                    <a:pt x="-233" y="63013"/>
                  </a:cubicBezTo>
                  <a:lnTo>
                    <a:pt x="15642" y="90317"/>
                  </a:lnTo>
                  <a:cubicBezTo>
                    <a:pt x="29612" y="83967"/>
                    <a:pt x="42312" y="76348"/>
                    <a:pt x="53742" y="67458"/>
                  </a:cubicBezTo>
                  <a:cubicBezTo>
                    <a:pt x="75967" y="49678"/>
                    <a:pt x="92477" y="27453"/>
                    <a:pt x="101367" y="3958"/>
                  </a:cubicBezTo>
                </a:path>
              </a:pathLst>
            </a:custGeom>
            <a:solidFill>
              <a:srgbClr val="FFFFFF"/>
            </a:solidFill>
            <a:ln w="6350" cap="flat">
              <a:noFill/>
              <a:prstDash val="solid"/>
              <a:miter/>
            </a:ln>
          </p:spPr>
          <p:txBody>
            <a:bodyPr rtlCol="0" anchor="ctr"/>
            <a:lstStyle/>
            <a:p>
              <a:endParaRPr lang="en-GB"/>
            </a:p>
          </p:txBody>
        </p:sp>
        <p:sp>
          <p:nvSpPr>
            <p:cNvPr id="80" name="Freeform 79">
              <a:extLst>
                <a:ext uri="{FF2B5EF4-FFF2-40B4-BE49-F238E27FC236}">
                  <a16:creationId xmlns:a16="http://schemas.microsoft.com/office/drawing/2014/main" id="{141C00B9-451F-C2C9-EF45-2056FA403892}"/>
                </a:ext>
              </a:extLst>
            </p:cNvPr>
            <p:cNvSpPr/>
            <p:nvPr/>
          </p:nvSpPr>
          <p:spPr>
            <a:xfrm>
              <a:off x="-9307162" y="3178175"/>
              <a:ext cx="230440" cy="80009"/>
            </a:xfrm>
            <a:custGeom>
              <a:avLst/>
              <a:gdLst>
                <a:gd name="connsiteX0" fmla="*/ 30849 w 230440"/>
                <a:gd name="connsiteY0" fmla="*/ 38248 h 80009"/>
                <a:gd name="connsiteX1" fmla="*/ 20054 w 230440"/>
                <a:gd name="connsiteY1" fmla="*/ 49043 h 80009"/>
                <a:gd name="connsiteX2" fmla="*/ 13070 w 230440"/>
                <a:gd name="connsiteY2" fmla="*/ 55393 h 80009"/>
                <a:gd name="connsiteX3" fmla="*/ 11799 w 230440"/>
                <a:gd name="connsiteY3" fmla="*/ 56663 h 80009"/>
                <a:gd name="connsiteX4" fmla="*/ -265 w 230440"/>
                <a:gd name="connsiteY4" fmla="*/ 76983 h 80009"/>
                <a:gd name="connsiteX5" fmla="*/ 370 w 230440"/>
                <a:gd name="connsiteY5" fmla="*/ 77618 h 80009"/>
                <a:gd name="connsiteX6" fmla="*/ 1004 w 230440"/>
                <a:gd name="connsiteY6" fmla="*/ 78888 h 80009"/>
                <a:gd name="connsiteX7" fmla="*/ 114035 w 230440"/>
                <a:gd name="connsiteY7" fmla="*/ 35708 h 80009"/>
                <a:gd name="connsiteX8" fmla="*/ 227699 w 230440"/>
                <a:gd name="connsiteY8" fmla="*/ 78888 h 80009"/>
                <a:gd name="connsiteX9" fmla="*/ 228335 w 230440"/>
                <a:gd name="connsiteY9" fmla="*/ 77618 h 80009"/>
                <a:gd name="connsiteX10" fmla="*/ 228970 w 230440"/>
                <a:gd name="connsiteY10" fmla="*/ 76983 h 80009"/>
                <a:gd name="connsiteX11" fmla="*/ 216904 w 230440"/>
                <a:gd name="connsiteY11" fmla="*/ 56663 h 80009"/>
                <a:gd name="connsiteX12" fmla="*/ 215635 w 230440"/>
                <a:gd name="connsiteY12" fmla="*/ 55393 h 80009"/>
                <a:gd name="connsiteX13" fmla="*/ 208649 w 230440"/>
                <a:gd name="connsiteY13" fmla="*/ 49043 h 80009"/>
                <a:gd name="connsiteX14" fmla="*/ 197854 w 230440"/>
                <a:gd name="connsiteY14" fmla="*/ 38248 h 80009"/>
                <a:gd name="connsiteX15" fmla="*/ 197220 w 230440"/>
                <a:gd name="connsiteY15" fmla="*/ 36978 h 80009"/>
                <a:gd name="connsiteX16" fmla="*/ 188329 w 230440"/>
                <a:gd name="connsiteY16" fmla="*/ 17928 h 80009"/>
                <a:gd name="connsiteX17" fmla="*/ 189599 w 230440"/>
                <a:gd name="connsiteY17" fmla="*/ 12848 h 80009"/>
                <a:gd name="connsiteX18" fmla="*/ 112129 w 230440"/>
                <a:gd name="connsiteY18" fmla="*/ -1122 h 80009"/>
                <a:gd name="connsiteX19" fmla="*/ 39104 w 230440"/>
                <a:gd name="connsiteY19" fmla="*/ 10943 h 80009"/>
                <a:gd name="connsiteX20" fmla="*/ 41010 w 230440"/>
                <a:gd name="connsiteY20" fmla="*/ 17928 h 80009"/>
                <a:gd name="connsiteX21" fmla="*/ 32120 w 230440"/>
                <a:gd name="connsiteY21" fmla="*/ 36978 h 80009"/>
                <a:gd name="connsiteX22" fmla="*/ 30849 w 230440"/>
                <a:gd name="connsiteY22" fmla="*/ 38248 h 80009"/>
                <a:gd name="connsiteX23" fmla="*/ 30849 w 230440"/>
                <a:gd name="connsiteY23" fmla="*/ 38248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0440" h="80009">
                  <a:moveTo>
                    <a:pt x="30849" y="38248"/>
                  </a:moveTo>
                  <a:cubicBezTo>
                    <a:pt x="27674" y="42058"/>
                    <a:pt x="23865" y="45868"/>
                    <a:pt x="20054" y="49043"/>
                  </a:cubicBezTo>
                  <a:cubicBezTo>
                    <a:pt x="17515" y="50948"/>
                    <a:pt x="15610" y="53488"/>
                    <a:pt x="13070" y="55393"/>
                  </a:cubicBezTo>
                  <a:cubicBezTo>
                    <a:pt x="12435" y="56028"/>
                    <a:pt x="12435" y="56028"/>
                    <a:pt x="11799" y="56663"/>
                  </a:cubicBezTo>
                  <a:cubicBezTo>
                    <a:pt x="6720" y="61743"/>
                    <a:pt x="-3440" y="71268"/>
                    <a:pt x="-265" y="76983"/>
                  </a:cubicBezTo>
                  <a:cubicBezTo>
                    <a:pt x="-265" y="76983"/>
                    <a:pt x="-265" y="77618"/>
                    <a:pt x="370" y="77618"/>
                  </a:cubicBezTo>
                  <a:cubicBezTo>
                    <a:pt x="370" y="78253"/>
                    <a:pt x="1004" y="78253"/>
                    <a:pt x="1004" y="78888"/>
                  </a:cubicBezTo>
                  <a:cubicBezTo>
                    <a:pt x="27040" y="52853"/>
                    <a:pt x="68315" y="35708"/>
                    <a:pt x="114035" y="35708"/>
                  </a:cubicBezTo>
                  <a:cubicBezTo>
                    <a:pt x="160390" y="35708"/>
                    <a:pt x="201665" y="52853"/>
                    <a:pt x="227699" y="78888"/>
                  </a:cubicBezTo>
                  <a:cubicBezTo>
                    <a:pt x="227699" y="78253"/>
                    <a:pt x="228335" y="78253"/>
                    <a:pt x="228335" y="77618"/>
                  </a:cubicBezTo>
                  <a:cubicBezTo>
                    <a:pt x="228335" y="77618"/>
                    <a:pt x="228335" y="76983"/>
                    <a:pt x="228970" y="76983"/>
                  </a:cubicBezTo>
                  <a:cubicBezTo>
                    <a:pt x="232145" y="71268"/>
                    <a:pt x="221985" y="61743"/>
                    <a:pt x="216904" y="56663"/>
                  </a:cubicBezTo>
                  <a:cubicBezTo>
                    <a:pt x="216270" y="56028"/>
                    <a:pt x="215635" y="55393"/>
                    <a:pt x="215635" y="55393"/>
                  </a:cubicBezTo>
                  <a:cubicBezTo>
                    <a:pt x="213729" y="53488"/>
                    <a:pt x="211190" y="50948"/>
                    <a:pt x="208649" y="49043"/>
                  </a:cubicBezTo>
                  <a:cubicBezTo>
                    <a:pt x="204840" y="45868"/>
                    <a:pt x="201029" y="42058"/>
                    <a:pt x="197854" y="38248"/>
                  </a:cubicBezTo>
                  <a:lnTo>
                    <a:pt x="197220" y="36978"/>
                  </a:lnTo>
                  <a:cubicBezTo>
                    <a:pt x="193410" y="32533"/>
                    <a:pt x="187695" y="26183"/>
                    <a:pt x="188329" y="17928"/>
                  </a:cubicBezTo>
                  <a:cubicBezTo>
                    <a:pt x="188329" y="16023"/>
                    <a:pt x="188965" y="14118"/>
                    <a:pt x="189599" y="12848"/>
                  </a:cubicBezTo>
                  <a:cubicBezTo>
                    <a:pt x="165470" y="3958"/>
                    <a:pt x="139435" y="-1122"/>
                    <a:pt x="112129" y="-1122"/>
                  </a:cubicBezTo>
                  <a:cubicBezTo>
                    <a:pt x="86729" y="-1122"/>
                    <a:pt x="61965" y="3323"/>
                    <a:pt x="39104" y="10943"/>
                  </a:cubicBezTo>
                  <a:cubicBezTo>
                    <a:pt x="40374" y="12848"/>
                    <a:pt x="41010" y="15388"/>
                    <a:pt x="41010" y="17928"/>
                  </a:cubicBezTo>
                  <a:cubicBezTo>
                    <a:pt x="41645" y="26183"/>
                    <a:pt x="35929" y="32533"/>
                    <a:pt x="32120" y="36978"/>
                  </a:cubicBezTo>
                  <a:lnTo>
                    <a:pt x="30849" y="38248"/>
                  </a:lnTo>
                  <a:lnTo>
                    <a:pt x="30849" y="38248"/>
                  </a:lnTo>
                  <a:close/>
                </a:path>
              </a:pathLst>
            </a:custGeom>
            <a:solidFill>
              <a:srgbClr val="FFFFFF"/>
            </a:solidFill>
            <a:ln w="6350" cap="flat">
              <a:noFill/>
              <a:prstDash val="solid"/>
              <a:miter/>
            </a:ln>
          </p:spPr>
          <p:txBody>
            <a:bodyPr rtlCol="0" anchor="ctr"/>
            <a:lstStyle/>
            <a:p>
              <a:endParaRPr lang="en-GB"/>
            </a:p>
          </p:txBody>
        </p:sp>
        <p:sp>
          <p:nvSpPr>
            <p:cNvPr id="81" name="Freeform 80">
              <a:extLst>
                <a:ext uri="{FF2B5EF4-FFF2-40B4-BE49-F238E27FC236}">
                  <a16:creationId xmlns:a16="http://schemas.microsoft.com/office/drawing/2014/main" id="{E61CBADF-FE7D-EC6F-7054-C04BAF7DE688}"/>
                </a:ext>
              </a:extLst>
            </p:cNvPr>
            <p:cNvSpPr/>
            <p:nvPr/>
          </p:nvSpPr>
          <p:spPr>
            <a:xfrm>
              <a:off x="-9364345" y="3361055"/>
              <a:ext cx="110490" cy="94614"/>
            </a:xfrm>
            <a:custGeom>
              <a:avLst/>
              <a:gdLst>
                <a:gd name="connsiteX0" fmla="*/ 109622 w 110490"/>
                <a:gd name="connsiteY0" fmla="*/ 61108 h 94614"/>
                <a:gd name="connsiteX1" fmla="*/ 41677 w 110490"/>
                <a:gd name="connsiteY1" fmla="*/ 3958 h 94614"/>
                <a:gd name="connsiteX2" fmla="*/ 30882 w 110490"/>
                <a:gd name="connsiteY2" fmla="*/ 6498 h 94614"/>
                <a:gd name="connsiteX3" fmla="*/ 26437 w 110490"/>
                <a:gd name="connsiteY3" fmla="*/ 5863 h 94614"/>
                <a:gd name="connsiteX4" fmla="*/ 20087 w 110490"/>
                <a:gd name="connsiteY4" fmla="*/ 2688 h 94614"/>
                <a:gd name="connsiteX5" fmla="*/ 16912 w 110490"/>
                <a:gd name="connsiteY5" fmla="*/ -1122 h 94614"/>
                <a:gd name="connsiteX6" fmla="*/ 1037 w 110490"/>
                <a:gd name="connsiteY6" fmla="*/ 3958 h 94614"/>
                <a:gd name="connsiteX7" fmla="*/ -868 w 110490"/>
                <a:gd name="connsiteY7" fmla="*/ 4592 h 94614"/>
                <a:gd name="connsiteX8" fmla="*/ 47392 w 110490"/>
                <a:gd name="connsiteY8" fmla="*/ 68728 h 94614"/>
                <a:gd name="connsiteX9" fmla="*/ 90572 w 110490"/>
                <a:gd name="connsiteY9" fmla="*/ 93492 h 94614"/>
                <a:gd name="connsiteX10" fmla="*/ 108352 w 110490"/>
                <a:gd name="connsiteY10" fmla="*/ 64283 h 94614"/>
                <a:gd name="connsiteX11" fmla="*/ 109622 w 110490"/>
                <a:gd name="connsiteY11" fmla="*/ 61108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490" h="94614">
                  <a:moveTo>
                    <a:pt x="109622" y="61108"/>
                  </a:moveTo>
                  <a:cubicBezTo>
                    <a:pt x="79142" y="49042"/>
                    <a:pt x="55012" y="28723"/>
                    <a:pt x="41677" y="3958"/>
                  </a:cubicBezTo>
                  <a:cubicBezTo>
                    <a:pt x="37867" y="5863"/>
                    <a:pt x="34692" y="6498"/>
                    <a:pt x="30882" y="6498"/>
                  </a:cubicBezTo>
                  <a:cubicBezTo>
                    <a:pt x="29612" y="6498"/>
                    <a:pt x="27707" y="6498"/>
                    <a:pt x="26437" y="5863"/>
                  </a:cubicBezTo>
                  <a:cubicBezTo>
                    <a:pt x="23897" y="5228"/>
                    <a:pt x="21992" y="3958"/>
                    <a:pt x="20087" y="2688"/>
                  </a:cubicBezTo>
                  <a:cubicBezTo>
                    <a:pt x="20087" y="2688"/>
                    <a:pt x="17547" y="783"/>
                    <a:pt x="16912" y="-1122"/>
                  </a:cubicBezTo>
                  <a:cubicBezTo>
                    <a:pt x="9292" y="2053"/>
                    <a:pt x="5482" y="2688"/>
                    <a:pt x="1037" y="3958"/>
                  </a:cubicBezTo>
                  <a:cubicBezTo>
                    <a:pt x="402" y="3958"/>
                    <a:pt x="-233" y="3958"/>
                    <a:pt x="-868" y="4592"/>
                  </a:cubicBezTo>
                  <a:cubicBezTo>
                    <a:pt x="8022" y="28723"/>
                    <a:pt x="24532" y="50948"/>
                    <a:pt x="47392" y="68728"/>
                  </a:cubicBezTo>
                  <a:cubicBezTo>
                    <a:pt x="60092" y="78888"/>
                    <a:pt x="74697" y="87142"/>
                    <a:pt x="90572" y="93492"/>
                  </a:cubicBezTo>
                  <a:cubicBezTo>
                    <a:pt x="95652" y="85873"/>
                    <a:pt x="103272" y="73173"/>
                    <a:pt x="108352" y="64283"/>
                  </a:cubicBezTo>
                  <a:cubicBezTo>
                    <a:pt x="108352" y="63648"/>
                    <a:pt x="108987" y="62378"/>
                    <a:pt x="109622" y="61108"/>
                  </a:cubicBezTo>
                </a:path>
              </a:pathLst>
            </a:custGeom>
            <a:solidFill>
              <a:srgbClr val="FFFFFF"/>
            </a:solidFill>
            <a:ln w="6350" cap="flat">
              <a:noFill/>
              <a:prstDash val="solid"/>
              <a:miter/>
            </a:ln>
          </p:spPr>
          <p:txBody>
            <a:bodyPr rtlCol="0" anchor="ctr"/>
            <a:lstStyle/>
            <a:p>
              <a:endParaRPr lang="en-GB"/>
            </a:p>
          </p:txBody>
        </p:sp>
        <p:sp>
          <p:nvSpPr>
            <p:cNvPr id="82" name="Freeform 81">
              <a:extLst>
                <a:ext uri="{FF2B5EF4-FFF2-40B4-BE49-F238E27FC236}">
                  <a16:creationId xmlns:a16="http://schemas.microsoft.com/office/drawing/2014/main" id="{E3B597F3-E3D0-B0F6-0F1C-E1052A9D2D69}"/>
                </a:ext>
              </a:extLst>
            </p:cNvPr>
            <p:cNvSpPr/>
            <p:nvPr/>
          </p:nvSpPr>
          <p:spPr>
            <a:xfrm>
              <a:off x="-9179559" y="3433444"/>
              <a:ext cx="19222" cy="52766"/>
            </a:xfrm>
            <a:custGeom>
              <a:avLst/>
              <a:gdLst>
                <a:gd name="connsiteX0" fmla="*/ 10562 w 19222"/>
                <a:gd name="connsiteY0" fmla="*/ 148 h 52766"/>
                <a:gd name="connsiteX1" fmla="*/ 9927 w 19222"/>
                <a:gd name="connsiteY1" fmla="*/ -1122 h 52766"/>
                <a:gd name="connsiteX2" fmla="*/ -233 w 19222"/>
                <a:gd name="connsiteY2" fmla="*/ 148 h 52766"/>
                <a:gd name="connsiteX3" fmla="*/ -868 w 19222"/>
                <a:gd name="connsiteY3" fmla="*/ 2053 h 52766"/>
                <a:gd name="connsiteX4" fmla="*/ 1037 w 19222"/>
                <a:gd name="connsiteY4" fmla="*/ 36978 h 52766"/>
                <a:gd name="connsiteX5" fmla="*/ 2307 w 19222"/>
                <a:gd name="connsiteY5" fmla="*/ 45868 h 52766"/>
                <a:gd name="connsiteX6" fmla="*/ 11197 w 19222"/>
                <a:gd name="connsiteY6" fmla="*/ 51583 h 52766"/>
                <a:gd name="connsiteX7" fmla="*/ 18182 w 19222"/>
                <a:gd name="connsiteY7" fmla="*/ 44598 h 52766"/>
                <a:gd name="connsiteX8" fmla="*/ 16912 w 19222"/>
                <a:gd name="connsiteY8" fmla="*/ 33803 h 52766"/>
                <a:gd name="connsiteX9" fmla="*/ 10562 w 19222"/>
                <a:gd name="connsiteY9" fmla="*/ 148 h 5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222" h="52766">
                  <a:moveTo>
                    <a:pt x="10562" y="148"/>
                  </a:moveTo>
                  <a:cubicBezTo>
                    <a:pt x="10562" y="-486"/>
                    <a:pt x="9927" y="-486"/>
                    <a:pt x="9927" y="-1122"/>
                  </a:cubicBezTo>
                  <a:cubicBezTo>
                    <a:pt x="6752" y="-486"/>
                    <a:pt x="3577" y="-486"/>
                    <a:pt x="-233" y="148"/>
                  </a:cubicBezTo>
                  <a:cubicBezTo>
                    <a:pt x="-233" y="783"/>
                    <a:pt x="-868" y="1418"/>
                    <a:pt x="-868" y="2053"/>
                  </a:cubicBezTo>
                  <a:cubicBezTo>
                    <a:pt x="-868" y="4593"/>
                    <a:pt x="402" y="27453"/>
                    <a:pt x="1037" y="36978"/>
                  </a:cubicBezTo>
                  <a:cubicBezTo>
                    <a:pt x="1037" y="40153"/>
                    <a:pt x="1037" y="43328"/>
                    <a:pt x="2307" y="45868"/>
                  </a:cubicBezTo>
                  <a:cubicBezTo>
                    <a:pt x="2942" y="47773"/>
                    <a:pt x="8657" y="52218"/>
                    <a:pt x="11197" y="51583"/>
                  </a:cubicBezTo>
                  <a:cubicBezTo>
                    <a:pt x="14372" y="50948"/>
                    <a:pt x="17547" y="47139"/>
                    <a:pt x="18182" y="44598"/>
                  </a:cubicBezTo>
                  <a:cubicBezTo>
                    <a:pt x="18817" y="41423"/>
                    <a:pt x="17547" y="36978"/>
                    <a:pt x="16912" y="33803"/>
                  </a:cubicBezTo>
                  <a:cubicBezTo>
                    <a:pt x="15642" y="24914"/>
                    <a:pt x="11832" y="2689"/>
                    <a:pt x="10562" y="148"/>
                  </a:cubicBezTo>
                </a:path>
              </a:pathLst>
            </a:custGeom>
            <a:solidFill>
              <a:srgbClr val="FFFFFF"/>
            </a:solidFill>
            <a:ln w="6350" cap="flat">
              <a:noFill/>
              <a:prstDash val="solid"/>
              <a:miter/>
            </a:ln>
          </p:spPr>
          <p:txBody>
            <a:bodyPr rtlCol="0" anchor="ctr"/>
            <a:lstStyle/>
            <a:p>
              <a:endParaRPr lang="en-GB"/>
            </a:p>
          </p:txBody>
        </p:sp>
        <p:sp>
          <p:nvSpPr>
            <p:cNvPr id="83" name="Freeform 82">
              <a:extLst>
                <a:ext uri="{FF2B5EF4-FFF2-40B4-BE49-F238E27FC236}">
                  <a16:creationId xmlns:a16="http://schemas.microsoft.com/office/drawing/2014/main" id="{0BDEB5DB-AC3B-8F6A-778A-7021C035B37B}"/>
                </a:ext>
              </a:extLst>
            </p:cNvPr>
            <p:cNvSpPr/>
            <p:nvPr/>
          </p:nvSpPr>
          <p:spPr>
            <a:xfrm>
              <a:off x="-9159875" y="3430269"/>
              <a:ext cx="24765" cy="52787"/>
            </a:xfrm>
            <a:custGeom>
              <a:avLst/>
              <a:gdLst>
                <a:gd name="connsiteX0" fmla="*/ 9292 w 24765"/>
                <a:gd name="connsiteY0" fmla="*/ -1122 h 52787"/>
                <a:gd name="connsiteX1" fmla="*/ 9292 w 24765"/>
                <a:gd name="connsiteY1" fmla="*/ -1122 h 52787"/>
                <a:gd name="connsiteX2" fmla="*/ -868 w 24765"/>
                <a:gd name="connsiteY2" fmla="*/ 783 h 52787"/>
                <a:gd name="connsiteX3" fmla="*/ -868 w 24765"/>
                <a:gd name="connsiteY3" fmla="*/ 2689 h 52787"/>
                <a:gd name="connsiteX4" fmla="*/ 6752 w 24765"/>
                <a:gd name="connsiteY4" fmla="*/ 38248 h 52787"/>
                <a:gd name="connsiteX5" fmla="*/ 9292 w 24765"/>
                <a:gd name="connsiteY5" fmla="*/ 47139 h 52787"/>
                <a:gd name="connsiteX6" fmla="*/ 18817 w 24765"/>
                <a:gd name="connsiteY6" fmla="*/ 51583 h 52787"/>
                <a:gd name="connsiteX7" fmla="*/ 23897 w 24765"/>
                <a:gd name="connsiteY7" fmla="*/ 43328 h 52787"/>
                <a:gd name="connsiteX8" fmla="*/ 21357 w 24765"/>
                <a:gd name="connsiteY8" fmla="*/ 32533 h 52787"/>
                <a:gd name="connsiteX9" fmla="*/ 9292 w 24765"/>
                <a:gd name="connsiteY9" fmla="*/ -1122 h 52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65" h="52787">
                  <a:moveTo>
                    <a:pt x="9292" y="-1122"/>
                  </a:moveTo>
                  <a:cubicBezTo>
                    <a:pt x="9292" y="-1122"/>
                    <a:pt x="9292" y="-1122"/>
                    <a:pt x="9292" y="-1122"/>
                  </a:cubicBezTo>
                  <a:cubicBezTo>
                    <a:pt x="6117" y="-486"/>
                    <a:pt x="2307" y="148"/>
                    <a:pt x="-868" y="783"/>
                  </a:cubicBezTo>
                  <a:cubicBezTo>
                    <a:pt x="-868" y="1418"/>
                    <a:pt x="-868" y="2053"/>
                    <a:pt x="-868" y="2689"/>
                  </a:cubicBezTo>
                  <a:cubicBezTo>
                    <a:pt x="-233" y="5228"/>
                    <a:pt x="4847" y="28089"/>
                    <a:pt x="6752" y="38248"/>
                  </a:cubicBezTo>
                  <a:cubicBezTo>
                    <a:pt x="7387" y="41423"/>
                    <a:pt x="8022" y="44598"/>
                    <a:pt x="9292" y="47139"/>
                  </a:cubicBezTo>
                  <a:cubicBezTo>
                    <a:pt x="10562" y="49043"/>
                    <a:pt x="16277" y="52218"/>
                    <a:pt x="18817" y="51583"/>
                  </a:cubicBezTo>
                  <a:cubicBezTo>
                    <a:pt x="21992" y="50314"/>
                    <a:pt x="23897" y="45868"/>
                    <a:pt x="23897" y="43328"/>
                  </a:cubicBezTo>
                  <a:cubicBezTo>
                    <a:pt x="23897" y="40153"/>
                    <a:pt x="22627" y="35708"/>
                    <a:pt x="21357" y="32533"/>
                  </a:cubicBezTo>
                  <a:cubicBezTo>
                    <a:pt x="18182" y="23643"/>
                    <a:pt x="11197" y="1418"/>
                    <a:pt x="9292" y="-1122"/>
                  </a:cubicBezTo>
                </a:path>
              </a:pathLst>
            </a:custGeom>
            <a:solidFill>
              <a:srgbClr val="FFFFFF"/>
            </a:solidFill>
            <a:ln w="6350" cap="flat">
              <a:noFill/>
              <a:prstDash val="solid"/>
              <a:miter/>
            </a:ln>
          </p:spPr>
          <p:txBody>
            <a:bodyPr rtlCol="0" anchor="ctr"/>
            <a:lstStyle/>
            <a:p>
              <a:endParaRPr lang="en-GB"/>
            </a:p>
          </p:txBody>
        </p:sp>
        <p:sp>
          <p:nvSpPr>
            <p:cNvPr id="84" name="Freeform 83">
              <a:extLst>
                <a:ext uri="{FF2B5EF4-FFF2-40B4-BE49-F238E27FC236}">
                  <a16:creationId xmlns:a16="http://schemas.microsoft.com/office/drawing/2014/main" id="{3D32F4C6-A444-F69C-988D-CD13D74F27B7}"/>
                </a:ext>
              </a:extLst>
            </p:cNvPr>
            <p:cNvSpPr/>
            <p:nvPr/>
          </p:nvSpPr>
          <p:spPr>
            <a:xfrm>
              <a:off x="-9198257" y="3435984"/>
              <a:ext cx="16791" cy="53340"/>
            </a:xfrm>
            <a:custGeom>
              <a:avLst/>
              <a:gdLst>
                <a:gd name="connsiteX0" fmla="*/ 12114 w 16791"/>
                <a:gd name="connsiteY0" fmla="*/ 148 h 53340"/>
                <a:gd name="connsiteX1" fmla="*/ 11479 w 16791"/>
                <a:gd name="connsiteY1" fmla="*/ -1122 h 53340"/>
                <a:gd name="connsiteX2" fmla="*/ 7034 w 16791"/>
                <a:gd name="connsiteY2" fmla="*/ -1122 h 53340"/>
                <a:gd name="connsiteX3" fmla="*/ 1954 w 16791"/>
                <a:gd name="connsiteY3" fmla="*/ -1122 h 53340"/>
                <a:gd name="connsiteX4" fmla="*/ 1319 w 16791"/>
                <a:gd name="connsiteY4" fmla="*/ 783 h 53340"/>
                <a:gd name="connsiteX5" fmla="*/ -586 w 16791"/>
                <a:gd name="connsiteY5" fmla="*/ 35708 h 53340"/>
                <a:gd name="connsiteX6" fmla="*/ -586 w 16791"/>
                <a:gd name="connsiteY6" fmla="*/ 45233 h 53340"/>
                <a:gd name="connsiteX7" fmla="*/ 7669 w 16791"/>
                <a:gd name="connsiteY7" fmla="*/ 52218 h 53340"/>
                <a:gd name="connsiteX8" fmla="*/ 15289 w 16791"/>
                <a:gd name="connsiteY8" fmla="*/ 45868 h 53340"/>
                <a:gd name="connsiteX9" fmla="*/ 15924 w 16791"/>
                <a:gd name="connsiteY9" fmla="*/ 35073 h 53340"/>
                <a:gd name="connsiteX10" fmla="*/ 12114 w 16791"/>
                <a:gd name="connsiteY10" fmla="*/ 148 h 5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91" h="53340">
                  <a:moveTo>
                    <a:pt x="12114" y="148"/>
                  </a:moveTo>
                  <a:cubicBezTo>
                    <a:pt x="12114" y="-487"/>
                    <a:pt x="11479" y="-1122"/>
                    <a:pt x="11479" y="-1122"/>
                  </a:cubicBezTo>
                  <a:cubicBezTo>
                    <a:pt x="10209" y="-1122"/>
                    <a:pt x="8304" y="-1122"/>
                    <a:pt x="7034" y="-1122"/>
                  </a:cubicBezTo>
                  <a:cubicBezTo>
                    <a:pt x="5129" y="-1122"/>
                    <a:pt x="3224" y="-1122"/>
                    <a:pt x="1954" y="-1122"/>
                  </a:cubicBezTo>
                  <a:cubicBezTo>
                    <a:pt x="1954" y="-487"/>
                    <a:pt x="1319" y="148"/>
                    <a:pt x="1319" y="783"/>
                  </a:cubicBezTo>
                  <a:cubicBezTo>
                    <a:pt x="1319" y="3323"/>
                    <a:pt x="-586" y="26183"/>
                    <a:pt x="-586" y="35708"/>
                  </a:cubicBezTo>
                  <a:cubicBezTo>
                    <a:pt x="-586" y="38883"/>
                    <a:pt x="-1221" y="42058"/>
                    <a:pt x="-586" y="45233"/>
                  </a:cubicBezTo>
                  <a:cubicBezTo>
                    <a:pt x="49" y="47138"/>
                    <a:pt x="5129" y="52218"/>
                    <a:pt x="7669" y="52218"/>
                  </a:cubicBezTo>
                  <a:cubicBezTo>
                    <a:pt x="10844" y="52218"/>
                    <a:pt x="14654" y="49043"/>
                    <a:pt x="15289" y="45868"/>
                  </a:cubicBezTo>
                  <a:cubicBezTo>
                    <a:pt x="15924" y="42693"/>
                    <a:pt x="15924" y="38248"/>
                    <a:pt x="15924" y="35073"/>
                  </a:cubicBezTo>
                  <a:cubicBezTo>
                    <a:pt x="14019" y="26183"/>
                    <a:pt x="13384" y="3323"/>
                    <a:pt x="12114" y="148"/>
                  </a:cubicBezTo>
                </a:path>
              </a:pathLst>
            </a:custGeom>
            <a:solidFill>
              <a:srgbClr val="FFFFFF"/>
            </a:solidFill>
            <a:ln w="6350" cap="flat">
              <a:noFill/>
              <a:prstDash val="solid"/>
              <a:miter/>
            </a:ln>
          </p:spPr>
          <p:txBody>
            <a:bodyPr rtlCol="0" anchor="ctr"/>
            <a:lstStyle/>
            <a:p>
              <a:endParaRPr lang="en-GB"/>
            </a:p>
          </p:txBody>
        </p:sp>
        <p:sp>
          <p:nvSpPr>
            <p:cNvPr id="85" name="Freeform 84">
              <a:extLst>
                <a:ext uri="{FF2B5EF4-FFF2-40B4-BE49-F238E27FC236}">
                  <a16:creationId xmlns:a16="http://schemas.microsoft.com/office/drawing/2014/main" id="{CB28B629-013D-919F-B210-E0901262DE24}"/>
                </a:ext>
              </a:extLst>
            </p:cNvPr>
            <p:cNvSpPr/>
            <p:nvPr/>
          </p:nvSpPr>
          <p:spPr>
            <a:xfrm>
              <a:off x="-9223548" y="3432809"/>
              <a:ext cx="19958" cy="53422"/>
            </a:xfrm>
            <a:custGeom>
              <a:avLst/>
              <a:gdLst>
                <a:gd name="connsiteX0" fmla="*/ 18355 w 19958"/>
                <a:gd name="connsiteY0" fmla="*/ 148 h 53422"/>
                <a:gd name="connsiteX1" fmla="*/ 8195 w 19958"/>
                <a:gd name="connsiteY1" fmla="*/ -1122 h 53422"/>
                <a:gd name="connsiteX2" fmla="*/ 7560 w 19958"/>
                <a:gd name="connsiteY2" fmla="*/ 148 h 53422"/>
                <a:gd name="connsiteX3" fmla="*/ 575 w 19958"/>
                <a:gd name="connsiteY3" fmla="*/ 34438 h 53422"/>
                <a:gd name="connsiteX4" fmla="*/ -695 w 19958"/>
                <a:gd name="connsiteY4" fmla="*/ 43963 h 53422"/>
                <a:gd name="connsiteX5" fmla="*/ 6290 w 19958"/>
                <a:gd name="connsiteY5" fmla="*/ 52218 h 53422"/>
                <a:gd name="connsiteX6" fmla="*/ 14545 w 19958"/>
                <a:gd name="connsiteY6" fmla="*/ 47138 h 53422"/>
                <a:gd name="connsiteX7" fmla="*/ 16450 w 19958"/>
                <a:gd name="connsiteY7" fmla="*/ 36978 h 53422"/>
                <a:gd name="connsiteX8" fmla="*/ 18990 w 19958"/>
                <a:gd name="connsiteY8" fmla="*/ 2053 h 53422"/>
                <a:gd name="connsiteX9" fmla="*/ 18355 w 19958"/>
                <a:gd name="connsiteY9" fmla="*/ 148 h 5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958" h="53422">
                  <a:moveTo>
                    <a:pt x="18355" y="148"/>
                  </a:moveTo>
                  <a:cubicBezTo>
                    <a:pt x="15180" y="148"/>
                    <a:pt x="12005" y="-487"/>
                    <a:pt x="8195" y="-1122"/>
                  </a:cubicBezTo>
                  <a:cubicBezTo>
                    <a:pt x="8195" y="-487"/>
                    <a:pt x="7560" y="-487"/>
                    <a:pt x="7560" y="148"/>
                  </a:cubicBezTo>
                  <a:cubicBezTo>
                    <a:pt x="6925" y="2688"/>
                    <a:pt x="1845" y="24913"/>
                    <a:pt x="575" y="34438"/>
                  </a:cubicBezTo>
                  <a:cubicBezTo>
                    <a:pt x="-60" y="37613"/>
                    <a:pt x="-1330" y="40788"/>
                    <a:pt x="-695" y="43963"/>
                  </a:cubicBezTo>
                  <a:cubicBezTo>
                    <a:pt x="-695" y="45868"/>
                    <a:pt x="3750" y="51583"/>
                    <a:pt x="6290" y="52218"/>
                  </a:cubicBezTo>
                  <a:cubicBezTo>
                    <a:pt x="9465" y="52853"/>
                    <a:pt x="13275" y="49678"/>
                    <a:pt x="14545" y="47138"/>
                  </a:cubicBezTo>
                  <a:cubicBezTo>
                    <a:pt x="15815" y="43963"/>
                    <a:pt x="16450" y="39518"/>
                    <a:pt x="16450" y="36978"/>
                  </a:cubicBezTo>
                  <a:cubicBezTo>
                    <a:pt x="17085" y="28088"/>
                    <a:pt x="19625" y="5228"/>
                    <a:pt x="18990" y="2053"/>
                  </a:cubicBezTo>
                  <a:cubicBezTo>
                    <a:pt x="18355" y="1418"/>
                    <a:pt x="18355" y="783"/>
                    <a:pt x="18355" y="148"/>
                  </a:cubicBezTo>
                </a:path>
              </a:pathLst>
            </a:custGeom>
            <a:solidFill>
              <a:srgbClr val="FFFFFF"/>
            </a:solidFill>
            <a:ln w="6350" cap="flat">
              <a:noFill/>
              <a:prstDash val="solid"/>
              <a:miter/>
            </a:ln>
          </p:spPr>
          <p:txBody>
            <a:bodyPr rtlCol="0" anchor="ctr"/>
            <a:lstStyle/>
            <a:p>
              <a:endParaRPr lang="en-GB"/>
            </a:p>
          </p:txBody>
        </p:sp>
        <p:sp>
          <p:nvSpPr>
            <p:cNvPr id="86" name="Freeform 85">
              <a:extLst>
                <a:ext uri="{FF2B5EF4-FFF2-40B4-BE49-F238E27FC236}">
                  <a16:creationId xmlns:a16="http://schemas.microsoft.com/office/drawing/2014/main" id="{2FEF4DC4-E3DE-4D89-DA98-98BCD4EF21D9}"/>
                </a:ext>
              </a:extLst>
            </p:cNvPr>
            <p:cNvSpPr/>
            <p:nvPr/>
          </p:nvSpPr>
          <p:spPr>
            <a:xfrm>
              <a:off x="-9248775" y="3430269"/>
              <a:ext cx="27940" cy="53047"/>
            </a:xfrm>
            <a:custGeom>
              <a:avLst/>
              <a:gdLst>
                <a:gd name="connsiteX0" fmla="*/ 27072 w 27940"/>
                <a:gd name="connsiteY0" fmla="*/ 783 h 53047"/>
                <a:gd name="connsiteX1" fmla="*/ 16912 w 27940"/>
                <a:gd name="connsiteY1" fmla="*/ -1122 h 53047"/>
                <a:gd name="connsiteX2" fmla="*/ 16277 w 27940"/>
                <a:gd name="connsiteY2" fmla="*/ 148 h 53047"/>
                <a:gd name="connsiteX3" fmla="*/ 2307 w 27940"/>
                <a:gd name="connsiteY3" fmla="*/ 33168 h 53047"/>
                <a:gd name="connsiteX4" fmla="*/ -868 w 27940"/>
                <a:gd name="connsiteY4" fmla="*/ 42058 h 53047"/>
                <a:gd name="connsiteX5" fmla="*/ 4847 w 27940"/>
                <a:gd name="connsiteY5" fmla="*/ 51583 h 53047"/>
                <a:gd name="connsiteX6" fmla="*/ 14372 w 27940"/>
                <a:gd name="connsiteY6" fmla="*/ 48408 h 53047"/>
                <a:gd name="connsiteX7" fmla="*/ 18182 w 27940"/>
                <a:gd name="connsiteY7" fmla="*/ 38248 h 53047"/>
                <a:gd name="connsiteX8" fmla="*/ 27072 w 27940"/>
                <a:gd name="connsiteY8" fmla="*/ 3958 h 53047"/>
                <a:gd name="connsiteX9" fmla="*/ 27072 w 27940"/>
                <a:gd name="connsiteY9" fmla="*/ 783 h 53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940" h="53047">
                  <a:moveTo>
                    <a:pt x="27072" y="783"/>
                  </a:moveTo>
                  <a:cubicBezTo>
                    <a:pt x="23897" y="148"/>
                    <a:pt x="20087" y="-486"/>
                    <a:pt x="16912" y="-1122"/>
                  </a:cubicBezTo>
                  <a:cubicBezTo>
                    <a:pt x="16912" y="-486"/>
                    <a:pt x="16277" y="-486"/>
                    <a:pt x="16277" y="148"/>
                  </a:cubicBezTo>
                  <a:cubicBezTo>
                    <a:pt x="15007" y="2689"/>
                    <a:pt x="6117" y="24278"/>
                    <a:pt x="2307" y="33168"/>
                  </a:cubicBezTo>
                  <a:cubicBezTo>
                    <a:pt x="1037" y="36343"/>
                    <a:pt x="-233" y="38883"/>
                    <a:pt x="-868" y="42058"/>
                  </a:cubicBezTo>
                  <a:cubicBezTo>
                    <a:pt x="-868" y="44598"/>
                    <a:pt x="2307" y="50314"/>
                    <a:pt x="4847" y="51583"/>
                  </a:cubicBezTo>
                  <a:cubicBezTo>
                    <a:pt x="8022" y="52853"/>
                    <a:pt x="12467" y="50314"/>
                    <a:pt x="14372" y="48408"/>
                  </a:cubicBezTo>
                  <a:cubicBezTo>
                    <a:pt x="16277" y="45868"/>
                    <a:pt x="17547" y="41423"/>
                    <a:pt x="18182" y="38248"/>
                  </a:cubicBezTo>
                  <a:cubicBezTo>
                    <a:pt x="20087" y="29358"/>
                    <a:pt x="27072" y="6498"/>
                    <a:pt x="27072" y="3958"/>
                  </a:cubicBezTo>
                  <a:cubicBezTo>
                    <a:pt x="27072" y="2689"/>
                    <a:pt x="27072" y="2053"/>
                    <a:pt x="27072" y="783"/>
                  </a:cubicBezTo>
                </a:path>
              </a:pathLst>
            </a:custGeom>
            <a:solidFill>
              <a:srgbClr val="FFFFFF"/>
            </a:solidFill>
            <a:ln w="6350" cap="flat">
              <a:noFill/>
              <a:prstDash val="solid"/>
              <a:miter/>
            </a:ln>
          </p:spPr>
          <p:txBody>
            <a:bodyPr rtlCol="0" anchor="ctr"/>
            <a:lstStyle/>
            <a:p>
              <a:endParaRPr lang="en-GB"/>
            </a:p>
          </p:txBody>
        </p:sp>
        <p:sp>
          <p:nvSpPr>
            <p:cNvPr id="87" name="Freeform 86">
              <a:extLst>
                <a:ext uri="{FF2B5EF4-FFF2-40B4-BE49-F238E27FC236}">
                  <a16:creationId xmlns:a16="http://schemas.microsoft.com/office/drawing/2014/main" id="{4D6C4212-E2D9-3B88-296A-CAF1CA77A75A}"/>
                </a:ext>
              </a:extLst>
            </p:cNvPr>
            <p:cNvSpPr/>
            <p:nvPr/>
          </p:nvSpPr>
          <p:spPr>
            <a:xfrm>
              <a:off x="-9270488" y="3424555"/>
              <a:ext cx="30603" cy="50040"/>
            </a:xfrm>
            <a:custGeom>
              <a:avLst/>
              <a:gdLst>
                <a:gd name="connsiteX0" fmla="*/ 29735 w 30603"/>
                <a:gd name="connsiteY0" fmla="*/ 2053 h 50040"/>
                <a:gd name="connsiteX1" fmla="*/ 20845 w 30603"/>
                <a:gd name="connsiteY1" fmla="*/ -1122 h 50040"/>
                <a:gd name="connsiteX2" fmla="*/ 20210 w 30603"/>
                <a:gd name="connsiteY2" fmla="*/ -487 h 50040"/>
                <a:gd name="connsiteX3" fmla="*/ 3065 w 30603"/>
                <a:gd name="connsiteY3" fmla="*/ 29992 h 50040"/>
                <a:gd name="connsiteX4" fmla="*/ -745 w 30603"/>
                <a:gd name="connsiteY4" fmla="*/ 38248 h 50040"/>
                <a:gd name="connsiteX5" fmla="*/ 3065 w 30603"/>
                <a:gd name="connsiteY5" fmla="*/ 48408 h 50040"/>
                <a:gd name="connsiteX6" fmla="*/ 11955 w 30603"/>
                <a:gd name="connsiteY6" fmla="*/ 46503 h 50040"/>
                <a:gd name="connsiteX7" fmla="*/ 17035 w 30603"/>
                <a:gd name="connsiteY7" fmla="*/ 36978 h 50040"/>
                <a:gd name="connsiteX8" fmla="*/ 29735 w 30603"/>
                <a:gd name="connsiteY8" fmla="*/ 4592 h 50040"/>
                <a:gd name="connsiteX9" fmla="*/ 29735 w 30603"/>
                <a:gd name="connsiteY9" fmla="*/ 2053 h 5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03" h="50040">
                  <a:moveTo>
                    <a:pt x="29735" y="2053"/>
                  </a:moveTo>
                  <a:cubicBezTo>
                    <a:pt x="26560" y="1417"/>
                    <a:pt x="23385" y="148"/>
                    <a:pt x="20845" y="-1122"/>
                  </a:cubicBezTo>
                  <a:cubicBezTo>
                    <a:pt x="20845" y="-1122"/>
                    <a:pt x="20210" y="-487"/>
                    <a:pt x="20210" y="-487"/>
                  </a:cubicBezTo>
                  <a:cubicBezTo>
                    <a:pt x="18940" y="1417"/>
                    <a:pt x="7510" y="21103"/>
                    <a:pt x="3065" y="29992"/>
                  </a:cubicBezTo>
                  <a:cubicBezTo>
                    <a:pt x="1795" y="32533"/>
                    <a:pt x="-110" y="35708"/>
                    <a:pt x="-745" y="38248"/>
                  </a:cubicBezTo>
                  <a:cubicBezTo>
                    <a:pt x="-1380" y="40153"/>
                    <a:pt x="525" y="47138"/>
                    <a:pt x="3065" y="48408"/>
                  </a:cubicBezTo>
                  <a:cubicBezTo>
                    <a:pt x="5605" y="49678"/>
                    <a:pt x="10050" y="48408"/>
                    <a:pt x="11955" y="46503"/>
                  </a:cubicBezTo>
                  <a:cubicBezTo>
                    <a:pt x="13860" y="43963"/>
                    <a:pt x="15765" y="40153"/>
                    <a:pt x="17035" y="36978"/>
                  </a:cubicBezTo>
                  <a:cubicBezTo>
                    <a:pt x="20210" y="28723"/>
                    <a:pt x="29100" y="7133"/>
                    <a:pt x="29735" y="4592"/>
                  </a:cubicBezTo>
                  <a:cubicBezTo>
                    <a:pt x="29100" y="3958"/>
                    <a:pt x="29735" y="3323"/>
                    <a:pt x="29735" y="2053"/>
                  </a:cubicBezTo>
                </a:path>
              </a:pathLst>
            </a:custGeom>
            <a:solidFill>
              <a:srgbClr val="FFFFFF"/>
            </a:solidFill>
            <a:ln w="6350" cap="flat">
              <a:noFill/>
              <a:prstDash val="solid"/>
              <a:miter/>
            </a:ln>
          </p:spPr>
          <p:txBody>
            <a:bodyPr rtlCol="0" anchor="ctr"/>
            <a:lstStyle/>
            <a:p>
              <a:endParaRPr lang="en-GB"/>
            </a:p>
          </p:txBody>
        </p:sp>
        <p:sp>
          <p:nvSpPr>
            <p:cNvPr id="88" name="Freeform 87">
              <a:extLst>
                <a:ext uri="{FF2B5EF4-FFF2-40B4-BE49-F238E27FC236}">
                  <a16:creationId xmlns:a16="http://schemas.microsoft.com/office/drawing/2014/main" id="{76169AD6-9422-17C2-DEE1-AA59F06B6AA4}"/>
                </a:ext>
              </a:extLst>
            </p:cNvPr>
            <p:cNvSpPr/>
            <p:nvPr/>
          </p:nvSpPr>
          <p:spPr>
            <a:xfrm>
              <a:off x="-9143365" y="3424555"/>
              <a:ext cx="30480" cy="49654"/>
            </a:xfrm>
            <a:custGeom>
              <a:avLst/>
              <a:gdLst>
                <a:gd name="connsiteX0" fmla="*/ 25802 w 30480"/>
                <a:gd name="connsiteY0" fmla="*/ 29992 h 49654"/>
                <a:gd name="connsiteX1" fmla="*/ 9292 w 30480"/>
                <a:gd name="connsiteY1" fmla="*/ -487 h 49654"/>
                <a:gd name="connsiteX2" fmla="*/ 8657 w 30480"/>
                <a:gd name="connsiteY2" fmla="*/ -1122 h 49654"/>
                <a:gd name="connsiteX3" fmla="*/ -868 w 30480"/>
                <a:gd name="connsiteY3" fmla="*/ 2053 h 49654"/>
                <a:gd name="connsiteX4" fmla="*/ -868 w 30480"/>
                <a:gd name="connsiteY4" fmla="*/ 3958 h 49654"/>
                <a:gd name="connsiteX5" fmla="*/ 11197 w 30480"/>
                <a:gd name="connsiteY5" fmla="*/ 36978 h 49654"/>
                <a:gd name="connsiteX6" fmla="*/ 15007 w 30480"/>
                <a:gd name="connsiteY6" fmla="*/ 45233 h 49654"/>
                <a:gd name="connsiteX7" fmla="*/ 25167 w 30480"/>
                <a:gd name="connsiteY7" fmla="*/ 48408 h 49654"/>
                <a:gd name="connsiteX8" fmla="*/ 29612 w 30480"/>
                <a:gd name="connsiteY8" fmla="*/ 39517 h 49654"/>
                <a:gd name="connsiteX9" fmla="*/ 25802 w 30480"/>
                <a:gd name="connsiteY9" fmla="*/ 29992 h 49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80" h="49654">
                  <a:moveTo>
                    <a:pt x="25802" y="29992"/>
                  </a:moveTo>
                  <a:cubicBezTo>
                    <a:pt x="21357" y="22373"/>
                    <a:pt x="11197" y="1417"/>
                    <a:pt x="9292" y="-487"/>
                  </a:cubicBezTo>
                  <a:cubicBezTo>
                    <a:pt x="9292" y="-487"/>
                    <a:pt x="8657" y="-1122"/>
                    <a:pt x="8657" y="-1122"/>
                  </a:cubicBezTo>
                  <a:cubicBezTo>
                    <a:pt x="5482" y="148"/>
                    <a:pt x="2307" y="783"/>
                    <a:pt x="-868" y="2053"/>
                  </a:cubicBezTo>
                  <a:cubicBezTo>
                    <a:pt x="-868" y="2688"/>
                    <a:pt x="-868" y="3958"/>
                    <a:pt x="-868" y="3958"/>
                  </a:cubicBezTo>
                  <a:cubicBezTo>
                    <a:pt x="-233" y="6498"/>
                    <a:pt x="7387" y="28088"/>
                    <a:pt x="11197" y="36978"/>
                  </a:cubicBezTo>
                  <a:cubicBezTo>
                    <a:pt x="12467" y="40153"/>
                    <a:pt x="13102" y="43328"/>
                    <a:pt x="15007" y="45233"/>
                  </a:cubicBezTo>
                  <a:cubicBezTo>
                    <a:pt x="16277" y="47138"/>
                    <a:pt x="22627" y="49042"/>
                    <a:pt x="25167" y="48408"/>
                  </a:cubicBezTo>
                  <a:cubicBezTo>
                    <a:pt x="28342" y="47138"/>
                    <a:pt x="29612" y="42692"/>
                    <a:pt x="29612" y="39517"/>
                  </a:cubicBezTo>
                  <a:cubicBezTo>
                    <a:pt x="29612" y="36978"/>
                    <a:pt x="27707" y="33167"/>
                    <a:pt x="25802" y="29992"/>
                  </a:cubicBezTo>
                </a:path>
              </a:pathLst>
            </a:custGeom>
            <a:solidFill>
              <a:srgbClr val="FFFFFF"/>
            </a:solidFill>
            <a:ln w="6350" cap="flat">
              <a:noFill/>
              <a:prstDash val="solid"/>
              <a:miter/>
            </a:ln>
          </p:spPr>
          <p:txBody>
            <a:bodyPr rtlCol="0" anchor="ctr"/>
            <a:lstStyle/>
            <a:p>
              <a:endParaRPr lang="en-GB"/>
            </a:p>
          </p:txBody>
        </p:sp>
        <p:sp>
          <p:nvSpPr>
            <p:cNvPr id="89" name="Freeform 88">
              <a:extLst>
                <a:ext uri="{FF2B5EF4-FFF2-40B4-BE49-F238E27FC236}">
                  <a16:creationId xmlns:a16="http://schemas.microsoft.com/office/drawing/2014/main" id="{134B6104-EC06-BDCF-D675-D4712478873C}"/>
                </a:ext>
              </a:extLst>
            </p:cNvPr>
            <p:cNvSpPr/>
            <p:nvPr/>
          </p:nvSpPr>
          <p:spPr>
            <a:xfrm>
              <a:off x="-8985249" y="3214246"/>
              <a:ext cx="38734" cy="19331"/>
            </a:xfrm>
            <a:custGeom>
              <a:avLst/>
              <a:gdLst>
                <a:gd name="connsiteX0" fmla="*/ -233 w 38734"/>
                <a:gd name="connsiteY0" fmla="*/ 2812 h 19331"/>
                <a:gd name="connsiteX1" fmla="*/ 402 w 38734"/>
                <a:gd name="connsiteY1" fmla="*/ 9796 h 19331"/>
                <a:gd name="connsiteX2" fmla="*/ 17547 w 38734"/>
                <a:gd name="connsiteY2" fmla="*/ 15512 h 19331"/>
                <a:gd name="connsiteX3" fmla="*/ 29612 w 38734"/>
                <a:gd name="connsiteY3" fmla="*/ 18051 h 19331"/>
                <a:gd name="connsiteX4" fmla="*/ 37232 w 38734"/>
                <a:gd name="connsiteY4" fmla="*/ 14241 h 19331"/>
                <a:gd name="connsiteX5" fmla="*/ 35327 w 38734"/>
                <a:gd name="connsiteY5" fmla="*/ 5987 h 19331"/>
                <a:gd name="connsiteX6" fmla="*/ 21357 w 38734"/>
                <a:gd name="connsiteY6" fmla="*/ 2176 h 19331"/>
                <a:gd name="connsiteX7" fmla="*/ 4847 w 38734"/>
                <a:gd name="connsiteY7" fmla="*/ -999 h 19331"/>
                <a:gd name="connsiteX8" fmla="*/ -233 w 38734"/>
                <a:gd name="connsiteY8" fmla="*/ 2812 h 1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4" h="19331">
                  <a:moveTo>
                    <a:pt x="-233" y="2812"/>
                  </a:moveTo>
                  <a:cubicBezTo>
                    <a:pt x="-868" y="5351"/>
                    <a:pt x="-1503" y="7891"/>
                    <a:pt x="402" y="9796"/>
                  </a:cubicBezTo>
                  <a:cubicBezTo>
                    <a:pt x="2307" y="11701"/>
                    <a:pt x="14372" y="14876"/>
                    <a:pt x="17547" y="15512"/>
                  </a:cubicBezTo>
                  <a:cubicBezTo>
                    <a:pt x="21357" y="16781"/>
                    <a:pt x="25167" y="17416"/>
                    <a:pt x="29612" y="18051"/>
                  </a:cubicBezTo>
                  <a:cubicBezTo>
                    <a:pt x="33422" y="18687"/>
                    <a:pt x="36597" y="17416"/>
                    <a:pt x="37232" y="14241"/>
                  </a:cubicBezTo>
                  <a:cubicBezTo>
                    <a:pt x="38502" y="10431"/>
                    <a:pt x="37867" y="7891"/>
                    <a:pt x="35327" y="5987"/>
                  </a:cubicBezTo>
                  <a:cubicBezTo>
                    <a:pt x="34057" y="5351"/>
                    <a:pt x="28977" y="3446"/>
                    <a:pt x="21357" y="2176"/>
                  </a:cubicBezTo>
                  <a:cubicBezTo>
                    <a:pt x="14372" y="906"/>
                    <a:pt x="6752" y="-999"/>
                    <a:pt x="4847" y="-999"/>
                  </a:cubicBezTo>
                  <a:cubicBezTo>
                    <a:pt x="2942" y="-1634"/>
                    <a:pt x="1037" y="271"/>
                    <a:pt x="-233" y="2812"/>
                  </a:cubicBezTo>
                </a:path>
              </a:pathLst>
            </a:custGeom>
            <a:solidFill>
              <a:srgbClr val="FFFFFF"/>
            </a:solidFill>
            <a:ln w="6350" cap="flat">
              <a:noFill/>
              <a:prstDash val="solid"/>
              <a:miter/>
            </a:ln>
          </p:spPr>
          <p:txBody>
            <a:bodyPr rtlCol="0" anchor="ctr"/>
            <a:lstStyle/>
            <a:p>
              <a:endParaRPr lang="en-GB"/>
            </a:p>
          </p:txBody>
        </p:sp>
        <p:sp>
          <p:nvSpPr>
            <p:cNvPr id="90" name="Freeform 89">
              <a:extLst>
                <a:ext uri="{FF2B5EF4-FFF2-40B4-BE49-F238E27FC236}">
                  <a16:creationId xmlns:a16="http://schemas.microsoft.com/office/drawing/2014/main" id="{4C358500-5B4A-9495-C145-90557E68E9AD}"/>
                </a:ext>
              </a:extLst>
            </p:cNvPr>
            <p:cNvSpPr/>
            <p:nvPr/>
          </p:nvSpPr>
          <p:spPr>
            <a:xfrm>
              <a:off x="-9442450" y="3213734"/>
              <a:ext cx="38436" cy="16801"/>
            </a:xfrm>
            <a:custGeom>
              <a:avLst/>
              <a:gdLst>
                <a:gd name="connsiteX0" fmla="*/ 11197 w 38436"/>
                <a:gd name="connsiteY0" fmla="*/ 15388 h 16801"/>
                <a:gd name="connsiteX1" fmla="*/ 36597 w 38436"/>
                <a:gd name="connsiteY1" fmla="*/ 6498 h 16801"/>
                <a:gd name="connsiteX2" fmla="*/ 35962 w 38436"/>
                <a:gd name="connsiteY2" fmla="*/ 783 h 16801"/>
                <a:gd name="connsiteX3" fmla="*/ 30247 w 38436"/>
                <a:gd name="connsiteY3" fmla="*/ -1122 h 16801"/>
                <a:gd name="connsiteX4" fmla="*/ 4847 w 38436"/>
                <a:gd name="connsiteY4" fmla="*/ 3958 h 16801"/>
                <a:gd name="connsiteX5" fmla="*/ -868 w 38436"/>
                <a:gd name="connsiteY5" fmla="*/ 8403 h 16801"/>
                <a:gd name="connsiteX6" fmla="*/ -233 w 38436"/>
                <a:gd name="connsiteY6" fmla="*/ 11578 h 16801"/>
                <a:gd name="connsiteX7" fmla="*/ 11197 w 38436"/>
                <a:gd name="connsiteY7" fmla="*/ 15388 h 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36" h="16801">
                  <a:moveTo>
                    <a:pt x="11197" y="15388"/>
                  </a:moveTo>
                  <a:cubicBezTo>
                    <a:pt x="18182" y="13483"/>
                    <a:pt x="35327" y="8403"/>
                    <a:pt x="36597" y="6498"/>
                  </a:cubicBezTo>
                  <a:cubicBezTo>
                    <a:pt x="38502" y="4593"/>
                    <a:pt x="37232" y="2688"/>
                    <a:pt x="35962" y="783"/>
                  </a:cubicBezTo>
                  <a:cubicBezTo>
                    <a:pt x="34692" y="-1122"/>
                    <a:pt x="32152" y="-1122"/>
                    <a:pt x="30247" y="-1122"/>
                  </a:cubicBezTo>
                  <a:cubicBezTo>
                    <a:pt x="28342" y="-1122"/>
                    <a:pt x="6117" y="3323"/>
                    <a:pt x="4847" y="3958"/>
                  </a:cubicBezTo>
                  <a:cubicBezTo>
                    <a:pt x="2307" y="4593"/>
                    <a:pt x="-233" y="5863"/>
                    <a:pt x="-868" y="8403"/>
                  </a:cubicBezTo>
                  <a:cubicBezTo>
                    <a:pt x="-868" y="9673"/>
                    <a:pt x="-868" y="10943"/>
                    <a:pt x="-233" y="11578"/>
                  </a:cubicBezTo>
                  <a:cubicBezTo>
                    <a:pt x="402" y="13483"/>
                    <a:pt x="7387" y="16658"/>
                    <a:pt x="11197" y="15388"/>
                  </a:cubicBezTo>
                </a:path>
              </a:pathLst>
            </a:custGeom>
            <a:solidFill>
              <a:srgbClr val="FFFFFF"/>
            </a:solidFill>
            <a:ln w="6350" cap="flat">
              <a:noFill/>
              <a:prstDash val="solid"/>
              <a:miter/>
            </a:ln>
          </p:spPr>
          <p:txBody>
            <a:bodyPr rtlCol="0" anchor="ctr"/>
            <a:lstStyle/>
            <a:p>
              <a:endParaRPr lang="en-GB"/>
            </a:p>
          </p:txBody>
        </p:sp>
        <p:sp>
          <p:nvSpPr>
            <p:cNvPr id="91" name="Freeform 90">
              <a:extLst>
                <a:ext uri="{FF2B5EF4-FFF2-40B4-BE49-F238E27FC236}">
                  <a16:creationId xmlns:a16="http://schemas.microsoft.com/office/drawing/2014/main" id="{831F7C8D-D2B3-1636-0631-AB8B38FDF610}"/>
                </a:ext>
              </a:extLst>
            </p:cNvPr>
            <p:cNvSpPr/>
            <p:nvPr/>
          </p:nvSpPr>
          <p:spPr>
            <a:xfrm>
              <a:off x="-8940925" y="3224530"/>
              <a:ext cx="222189" cy="30479"/>
            </a:xfrm>
            <a:custGeom>
              <a:avLst/>
              <a:gdLst>
                <a:gd name="connsiteX0" fmla="*/ 217697 w 222189"/>
                <a:gd name="connsiteY0" fmla="*/ 10942 h 30479"/>
                <a:gd name="connsiteX1" fmla="*/ 196107 w 222189"/>
                <a:gd name="connsiteY1" fmla="*/ 11578 h 30479"/>
                <a:gd name="connsiteX2" fmla="*/ 166262 w 222189"/>
                <a:gd name="connsiteY2" fmla="*/ 10308 h 30479"/>
                <a:gd name="connsiteX3" fmla="*/ 3067 w 222189"/>
                <a:gd name="connsiteY3" fmla="*/ -1122 h 30479"/>
                <a:gd name="connsiteX4" fmla="*/ -108 w 222189"/>
                <a:gd name="connsiteY4" fmla="*/ 5228 h 30479"/>
                <a:gd name="connsiteX5" fmla="*/ 2432 w 222189"/>
                <a:gd name="connsiteY5" fmla="*/ 6498 h 30479"/>
                <a:gd name="connsiteX6" fmla="*/ 138322 w 222189"/>
                <a:gd name="connsiteY6" fmla="*/ 25548 h 30479"/>
                <a:gd name="connsiteX7" fmla="*/ 190392 w 222189"/>
                <a:gd name="connsiteY7" fmla="*/ 29358 h 30479"/>
                <a:gd name="connsiteX8" fmla="*/ 190392 w 222189"/>
                <a:gd name="connsiteY8" fmla="*/ 29358 h 30479"/>
                <a:gd name="connsiteX9" fmla="*/ 217062 w 222189"/>
                <a:gd name="connsiteY9" fmla="*/ 21738 h 30479"/>
                <a:gd name="connsiteX10" fmla="*/ 220872 w 222189"/>
                <a:gd name="connsiteY10" fmla="*/ 15388 h 30479"/>
                <a:gd name="connsiteX11" fmla="*/ 217697 w 222189"/>
                <a:gd name="connsiteY11" fmla="*/ 1094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2189" h="30479">
                  <a:moveTo>
                    <a:pt x="217697" y="10942"/>
                  </a:moveTo>
                  <a:cubicBezTo>
                    <a:pt x="216427" y="10942"/>
                    <a:pt x="202457" y="11578"/>
                    <a:pt x="196107" y="11578"/>
                  </a:cubicBezTo>
                  <a:cubicBezTo>
                    <a:pt x="185947" y="10942"/>
                    <a:pt x="176422" y="10942"/>
                    <a:pt x="166262" y="10308"/>
                  </a:cubicBezTo>
                  <a:cubicBezTo>
                    <a:pt x="129432" y="8403"/>
                    <a:pt x="8147" y="-1122"/>
                    <a:pt x="3067" y="-1122"/>
                  </a:cubicBezTo>
                  <a:cubicBezTo>
                    <a:pt x="-108" y="-1122"/>
                    <a:pt x="-2013" y="2688"/>
                    <a:pt x="-108" y="5228"/>
                  </a:cubicBezTo>
                  <a:cubicBezTo>
                    <a:pt x="527" y="5863"/>
                    <a:pt x="1162" y="6498"/>
                    <a:pt x="2432" y="6498"/>
                  </a:cubicBezTo>
                  <a:cubicBezTo>
                    <a:pt x="6242" y="7133"/>
                    <a:pt x="127527" y="24278"/>
                    <a:pt x="138322" y="25548"/>
                  </a:cubicBezTo>
                  <a:cubicBezTo>
                    <a:pt x="155467" y="27453"/>
                    <a:pt x="172612" y="29358"/>
                    <a:pt x="190392" y="29358"/>
                  </a:cubicBezTo>
                  <a:cubicBezTo>
                    <a:pt x="190392" y="29358"/>
                    <a:pt x="185947" y="29358"/>
                    <a:pt x="190392" y="29358"/>
                  </a:cubicBezTo>
                  <a:cubicBezTo>
                    <a:pt x="194202" y="29358"/>
                    <a:pt x="208807" y="24913"/>
                    <a:pt x="217062" y="21738"/>
                  </a:cubicBezTo>
                  <a:cubicBezTo>
                    <a:pt x="220237" y="20467"/>
                    <a:pt x="220872" y="18563"/>
                    <a:pt x="220872" y="15388"/>
                  </a:cubicBezTo>
                  <a:cubicBezTo>
                    <a:pt x="221507" y="12848"/>
                    <a:pt x="222142" y="10308"/>
                    <a:pt x="217697" y="10942"/>
                  </a:cubicBezTo>
                </a:path>
              </a:pathLst>
            </a:custGeom>
            <a:solidFill>
              <a:srgbClr val="FFFFFF"/>
            </a:solidFill>
            <a:ln w="6350" cap="flat">
              <a:noFill/>
              <a:prstDash val="solid"/>
              <a:miter/>
            </a:ln>
          </p:spPr>
          <p:txBody>
            <a:bodyPr rtlCol="0" anchor="ctr"/>
            <a:lstStyle/>
            <a:p>
              <a:endParaRPr lang="en-GB"/>
            </a:p>
          </p:txBody>
        </p:sp>
        <p:sp>
          <p:nvSpPr>
            <p:cNvPr id="92" name="Freeform 91">
              <a:extLst>
                <a:ext uri="{FF2B5EF4-FFF2-40B4-BE49-F238E27FC236}">
                  <a16:creationId xmlns:a16="http://schemas.microsoft.com/office/drawing/2014/main" id="{50690E21-AC8C-E79C-ACD1-1CBE772CB14E}"/>
                </a:ext>
              </a:extLst>
            </p:cNvPr>
            <p:cNvSpPr/>
            <p:nvPr/>
          </p:nvSpPr>
          <p:spPr>
            <a:xfrm>
              <a:off x="-9428360" y="3230200"/>
              <a:ext cx="36085" cy="22551"/>
            </a:xfrm>
            <a:custGeom>
              <a:avLst/>
              <a:gdLst>
                <a:gd name="connsiteX0" fmla="*/ 2187 w 36085"/>
                <a:gd name="connsiteY0" fmla="*/ 19243 h 22551"/>
                <a:gd name="connsiteX1" fmla="*/ 6632 w 36085"/>
                <a:gd name="connsiteY1" fmla="*/ 21147 h 22551"/>
                <a:gd name="connsiteX2" fmla="*/ 11077 w 36085"/>
                <a:gd name="connsiteY2" fmla="*/ 21147 h 22551"/>
                <a:gd name="connsiteX3" fmla="*/ 33937 w 36085"/>
                <a:gd name="connsiteY3" fmla="*/ 9718 h 22551"/>
                <a:gd name="connsiteX4" fmla="*/ 26317 w 36085"/>
                <a:gd name="connsiteY4" fmla="*/ -1078 h 22551"/>
                <a:gd name="connsiteX5" fmla="*/ 282 w 36085"/>
                <a:gd name="connsiteY5" fmla="*/ 9083 h 22551"/>
                <a:gd name="connsiteX6" fmla="*/ 917 w 36085"/>
                <a:gd name="connsiteY6" fmla="*/ 17337 h 22551"/>
                <a:gd name="connsiteX7" fmla="*/ 2187 w 36085"/>
                <a:gd name="connsiteY7" fmla="*/ 19243 h 22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85" h="22551">
                  <a:moveTo>
                    <a:pt x="2187" y="19243"/>
                  </a:moveTo>
                  <a:cubicBezTo>
                    <a:pt x="3457" y="19877"/>
                    <a:pt x="5362" y="21147"/>
                    <a:pt x="6632" y="21147"/>
                  </a:cubicBezTo>
                  <a:cubicBezTo>
                    <a:pt x="7902" y="21147"/>
                    <a:pt x="9172" y="21783"/>
                    <a:pt x="11077" y="21147"/>
                  </a:cubicBezTo>
                  <a:cubicBezTo>
                    <a:pt x="12347" y="21147"/>
                    <a:pt x="32667" y="10987"/>
                    <a:pt x="33937" y="9718"/>
                  </a:cubicBezTo>
                  <a:cubicBezTo>
                    <a:pt x="38382" y="4637"/>
                    <a:pt x="30127" y="-1713"/>
                    <a:pt x="26317" y="-1078"/>
                  </a:cubicBezTo>
                  <a:cubicBezTo>
                    <a:pt x="19967" y="193"/>
                    <a:pt x="2187" y="6543"/>
                    <a:pt x="282" y="9083"/>
                  </a:cubicBezTo>
                  <a:cubicBezTo>
                    <a:pt x="-1623" y="10987"/>
                    <a:pt x="-988" y="15433"/>
                    <a:pt x="917" y="17337"/>
                  </a:cubicBezTo>
                  <a:cubicBezTo>
                    <a:pt x="917" y="17972"/>
                    <a:pt x="1552" y="18608"/>
                    <a:pt x="2187" y="19243"/>
                  </a:cubicBezTo>
                </a:path>
              </a:pathLst>
            </a:custGeom>
            <a:solidFill>
              <a:srgbClr val="FFFFFF"/>
            </a:solidFill>
            <a:ln w="6350" cap="flat">
              <a:noFill/>
              <a:prstDash val="solid"/>
              <a:miter/>
            </a:ln>
          </p:spPr>
          <p:txBody>
            <a:bodyPr rtlCol="0" anchor="ctr"/>
            <a:lstStyle/>
            <a:p>
              <a:endParaRPr lang="en-GB"/>
            </a:p>
          </p:txBody>
        </p:sp>
        <p:sp>
          <p:nvSpPr>
            <p:cNvPr id="93" name="Freeform 92">
              <a:extLst>
                <a:ext uri="{FF2B5EF4-FFF2-40B4-BE49-F238E27FC236}">
                  <a16:creationId xmlns:a16="http://schemas.microsoft.com/office/drawing/2014/main" id="{2F0D77D9-459B-00F7-20FF-AA89E9B7E1D7}"/>
                </a:ext>
              </a:extLst>
            </p:cNvPr>
            <p:cNvSpPr/>
            <p:nvPr/>
          </p:nvSpPr>
          <p:spPr>
            <a:xfrm>
              <a:off x="-8996084" y="3233040"/>
              <a:ext cx="38645" cy="19626"/>
            </a:xfrm>
            <a:custGeom>
              <a:avLst/>
              <a:gdLst>
                <a:gd name="connsiteX0" fmla="*/ 34732 w 38645"/>
                <a:gd name="connsiteY0" fmla="*/ 17038 h 19626"/>
                <a:gd name="connsiteX1" fmla="*/ 37272 w 38645"/>
                <a:gd name="connsiteY1" fmla="*/ 13228 h 19626"/>
                <a:gd name="connsiteX2" fmla="*/ 27747 w 38645"/>
                <a:gd name="connsiteY2" fmla="*/ 4338 h 19626"/>
                <a:gd name="connsiteX3" fmla="*/ 9967 w 38645"/>
                <a:gd name="connsiteY3" fmla="*/ -742 h 19626"/>
                <a:gd name="connsiteX4" fmla="*/ 2347 w 38645"/>
                <a:gd name="connsiteY4" fmla="*/ 528 h 19626"/>
                <a:gd name="connsiteX5" fmla="*/ -193 w 38645"/>
                <a:gd name="connsiteY5" fmla="*/ 6243 h 19626"/>
                <a:gd name="connsiteX6" fmla="*/ 21397 w 38645"/>
                <a:gd name="connsiteY6" fmla="*/ 17038 h 19626"/>
                <a:gd name="connsiteX7" fmla="*/ 34732 w 38645"/>
                <a:gd name="connsiteY7" fmla="*/ 17038 h 19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45" h="19626">
                  <a:moveTo>
                    <a:pt x="34732" y="17038"/>
                  </a:moveTo>
                  <a:cubicBezTo>
                    <a:pt x="36002" y="16403"/>
                    <a:pt x="36637" y="15133"/>
                    <a:pt x="37272" y="13228"/>
                  </a:cubicBezTo>
                  <a:cubicBezTo>
                    <a:pt x="39812" y="8148"/>
                    <a:pt x="32192" y="6243"/>
                    <a:pt x="27747" y="4338"/>
                  </a:cubicBezTo>
                  <a:cubicBezTo>
                    <a:pt x="22032" y="2433"/>
                    <a:pt x="18857" y="1798"/>
                    <a:pt x="9967" y="-742"/>
                  </a:cubicBezTo>
                  <a:cubicBezTo>
                    <a:pt x="7427" y="-1377"/>
                    <a:pt x="4252" y="-1377"/>
                    <a:pt x="2347" y="528"/>
                  </a:cubicBezTo>
                  <a:cubicBezTo>
                    <a:pt x="442" y="1798"/>
                    <a:pt x="-2098" y="3703"/>
                    <a:pt x="-193" y="6243"/>
                  </a:cubicBezTo>
                  <a:cubicBezTo>
                    <a:pt x="1077" y="8148"/>
                    <a:pt x="16952" y="15133"/>
                    <a:pt x="21397" y="17038"/>
                  </a:cubicBezTo>
                  <a:cubicBezTo>
                    <a:pt x="25207" y="18308"/>
                    <a:pt x="30922" y="19578"/>
                    <a:pt x="34732" y="17038"/>
                  </a:cubicBezTo>
                </a:path>
              </a:pathLst>
            </a:custGeom>
            <a:solidFill>
              <a:srgbClr val="FFFFFF"/>
            </a:solidFill>
            <a:ln w="6350" cap="flat">
              <a:noFill/>
              <a:prstDash val="solid"/>
              <a:miter/>
            </a:ln>
          </p:spPr>
          <p:txBody>
            <a:bodyPr rtlCol="0" anchor="ctr"/>
            <a:lstStyle/>
            <a:p>
              <a:endParaRPr lang="en-GB"/>
            </a:p>
          </p:txBody>
        </p:sp>
        <p:sp>
          <p:nvSpPr>
            <p:cNvPr id="94" name="Freeform 93">
              <a:extLst>
                <a:ext uri="{FF2B5EF4-FFF2-40B4-BE49-F238E27FC236}">
                  <a16:creationId xmlns:a16="http://schemas.microsoft.com/office/drawing/2014/main" id="{7B200454-F6B1-975A-80B7-29EB6B8732B8}"/>
                </a:ext>
              </a:extLst>
            </p:cNvPr>
            <p:cNvSpPr/>
            <p:nvPr/>
          </p:nvSpPr>
          <p:spPr>
            <a:xfrm>
              <a:off x="-9411360" y="3247360"/>
              <a:ext cx="35868" cy="24990"/>
            </a:xfrm>
            <a:custGeom>
              <a:avLst/>
              <a:gdLst>
                <a:gd name="connsiteX0" fmla="*/ 1698 w 35868"/>
                <a:gd name="connsiteY0" fmla="*/ 22402 h 24990"/>
                <a:gd name="connsiteX1" fmla="*/ 13128 w 35868"/>
                <a:gd name="connsiteY1" fmla="*/ 22402 h 24990"/>
                <a:gd name="connsiteX2" fmla="*/ 20748 w 35868"/>
                <a:gd name="connsiteY2" fmla="*/ 17322 h 24990"/>
                <a:gd name="connsiteX3" fmla="*/ 34083 w 35868"/>
                <a:gd name="connsiteY3" fmla="*/ 7162 h 24990"/>
                <a:gd name="connsiteX4" fmla="*/ 32178 w 35868"/>
                <a:gd name="connsiteY4" fmla="*/ 812 h 24990"/>
                <a:gd name="connsiteX5" fmla="*/ 20113 w 35868"/>
                <a:gd name="connsiteY5" fmla="*/ 812 h 24990"/>
                <a:gd name="connsiteX6" fmla="*/ 13763 w 35868"/>
                <a:gd name="connsiteY6" fmla="*/ 3987 h 24990"/>
                <a:gd name="connsiteX7" fmla="*/ 7413 w 35868"/>
                <a:gd name="connsiteY7" fmla="*/ 8432 h 24990"/>
                <a:gd name="connsiteX8" fmla="*/ 2968 w 35868"/>
                <a:gd name="connsiteY8" fmla="*/ 11607 h 24990"/>
                <a:gd name="connsiteX9" fmla="*/ -207 w 35868"/>
                <a:gd name="connsiteY9" fmla="*/ 14782 h 24990"/>
                <a:gd name="connsiteX10" fmla="*/ 1063 w 35868"/>
                <a:gd name="connsiteY10" fmla="*/ 21767 h 24990"/>
                <a:gd name="connsiteX11" fmla="*/ 1698 w 35868"/>
                <a:gd name="connsiteY11" fmla="*/ 22402 h 24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868" h="24990">
                  <a:moveTo>
                    <a:pt x="1698" y="22402"/>
                  </a:moveTo>
                  <a:cubicBezTo>
                    <a:pt x="3603" y="23672"/>
                    <a:pt x="9318" y="24942"/>
                    <a:pt x="13128" y="22402"/>
                  </a:cubicBezTo>
                  <a:cubicBezTo>
                    <a:pt x="13763" y="21767"/>
                    <a:pt x="16938" y="19862"/>
                    <a:pt x="20748" y="17322"/>
                  </a:cubicBezTo>
                  <a:cubicBezTo>
                    <a:pt x="26463" y="13512"/>
                    <a:pt x="32813" y="8432"/>
                    <a:pt x="34083" y="7162"/>
                  </a:cubicBezTo>
                  <a:cubicBezTo>
                    <a:pt x="35988" y="5257"/>
                    <a:pt x="34718" y="2717"/>
                    <a:pt x="32178" y="812"/>
                  </a:cubicBezTo>
                  <a:cubicBezTo>
                    <a:pt x="29003" y="-1093"/>
                    <a:pt x="24558" y="-2363"/>
                    <a:pt x="20113" y="812"/>
                  </a:cubicBezTo>
                  <a:cubicBezTo>
                    <a:pt x="18208" y="2082"/>
                    <a:pt x="16303" y="3352"/>
                    <a:pt x="13763" y="3987"/>
                  </a:cubicBezTo>
                  <a:cubicBezTo>
                    <a:pt x="11223" y="5257"/>
                    <a:pt x="9318" y="6527"/>
                    <a:pt x="7413" y="8432"/>
                  </a:cubicBezTo>
                  <a:cubicBezTo>
                    <a:pt x="6143" y="9702"/>
                    <a:pt x="4238" y="10337"/>
                    <a:pt x="2968" y="11607"/>
                  </a:cubicBezTo>
                  <a:cubicBezTo>
                    <a:pt x="1698" y="12242"/>
                    <a:pt x="428" y="13512"/>
                    <a:pt x="-207" y="14782"/>
                  </a:cubicBezTo>
                  <a:cubicBezTo>
                    <a:pt x="-1477" y="17322"/>
                    <a:pt x="-842" y="19862"/>
                    <a:pt x="1063" y="21767"/>
                  </a:cubicBezTo>
                  <a:cubicBezTo>
                    <a:pt x="428" y="21767"/>
                    <a:pt x="1063" y="21767"/>
                    <a:pt x="1698" y="22402"/>
                  </a:cubicBezTo>
                </a:path>
              </a:pathLst>
            </a:custGeom>
            <a:solidFill>
              <a:srgbClr val="FFFFFF"/>
            </a:solidFill>
            <a:ln w="6350" cap="flat">
              <a:noFill/>
              <a:prstDash val="solid"/>
              <a:miter/>
            </a:ln>
          </p:spPr>
          <p:txBody>
            <a:bodyPr rtlCol="0" anchor="ctr"/>
            <a:lstStyle/>
            <a:p>
              <a:endParaRPr lang="en-GB"/>
            </a:p>
          </p:txBody>
        </p:sp>
        <p:sp>
          <p:nvSpPr>
            <p:cNvPr id="95" name="Freeform 94">
              <a:extLst>
                <a:ext uri="{FF2B5EF4-FFF2-40B4-BE49-F238E27FC236}">
                  <a16:creationId xmlns:a16="http://schemas.microsoft.com/office/drawing/2014/main" id="{0FEB80E0-17A2-22A2-078A-A023759F2151}"/>
                </a:ext>
              </a:extLst>
            </p:cNvPr>
            <p:cNvSpPr/>
            <p:nvPr/>
          </p:nvSpPr>
          <p:spPr>
            <a:xfrm>
              <a:off x="-9012554" y="3247390"/>
              <a:ext cx="38765" cy="25400"/>
            </a:xfrm>
            <a:custGeom>
              <a:avLst/>
              <a:gdLst>
                <a:gd name="connsiteX0" fmla="*/ 34057 w 38765"/>
                <a:gd name="connsiteY0" fmla="*/ 21103 h 25400"/>
                <a:gd name="connsiteX1" fmla="*/ 37232 w 38765"/>
                <a:gd name="connsiteY1" fmla="*/ 13483 h 25400"/>
                <a:gd name="connsiteX2" fmla="*/ 9292 w 38765"/>
                <a:gd name="connsiteY2" fmla="*/ -1122 h 25400"/>
                <a:gd name="connsiteX3" fmla="*/ 402 w 38765"/>
                <a:gd name="connsiteY3" fmla="*/ 3323 h 25400"/>
                <a:gd name="connsiteX4" fmla="*/ -868 w 38765"/>
                <a:gd name="connsiteY4" fmla="*/ 6498 h 25400"/>
                <a:gd name="connsiteX5" fmla="*/ -233 w 38765"/>
                <a:gd name="connsiteY5" fmla="*/ 9673 h 25400"/>
                <a:gd name="connsiteX6" fmla="*/ -233 w 38765"/>
                <a:gd name="connsiteY6" fmla="*/ 9673 h 25400"/>
                <a:gd name="connsiteX7" fmla="*/ 25802 w 38765"/>
                <a:gd name="connsiteY7" fmla="*/ 24278 h 25400"/>
                <a:gd name="connsiteX8" fmla="*/ 34057 w 38765"/>
                <a:gd name="connsiteY8" fmla="*/ 21103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65" h="25400">
                  <a:moveTo>
                    <a:pt x="34057" y="21103"/>
                  </a:moveTo>
                  <a:cubicBezTo>
                    <a:pt x="36597" y="19833"/>
                    <a:pt x="39137" y="16023"/>
                    <a:pt x="37232" y="13483"/>
                  </a:cubicBezTo>
                  <a:cubicBezTo>
                    <a:pt x="35327" y="10943"/>
                    <a:pt x="11832" y="-1122"/>
                    <a:pt x="9292" y="-1122"/>
                  </a:cubicBezTo>
                  <a:cubicBezTo>
                    <a:pt x="6752" y="-1122"/>
                    <a:pt x="2307" y="148"/>
                    <a:pt x="402" y="3323"/>
                  </a:cubicBezTo>
                  <a:cubicBezTo>
                    <a:pt x="-233" y="3958"/>
                    <a:pt x="-868" y="5228"/>
                    <a:pt x="-868" y="6498"/>
                  </a:cubicBezTo>
                  <a:cubicBezTo>
                    <a:pt x="-868" y="7768"/>
                    <a:pt x="-868" y="9038"/>
                    <a:pt x="-233" y="9673"/>
                  </a:cubicBezTo>
                  <a:cubicBezTo>
                    <a:pt x="-233" y="9673"/>
                    <a:pt x="-233" y="9673"/>
                    <a:pt x="-233" y="9673"/>
                  </a:cubicBezTo>
                  <a:cubicBezTo>
                    <a:pt x="2942" y="11578"/>
                    <a:pt x="21992" y="24278"/>
                    <a:pt x="25802" y="24278"/>
                  </a:cubicBezTo>
                  <a:cubicBezTo>
                    <a:pt x="28977" y="23643"/>
                    <a:pt x="31517" y="23008"/>
                    <a:pt x="34057" y="21103"/>
                  </a:cubicBezTo>
                </a:path>
              </a:pathLst>
            </a:custGeom>
            <a:solidFill>
              <a:srgbClr val="FFFFFF"/>
            </a:solidFill>
            <a:ln w="6350" cap="flat">
              <a:noFill/>
              <a:prstDash val="solid"/>
              <a:miter/>
            </a:ln>
          </p:spPr>
          <p:txBody>
            <a:bodyPr rtlCol="0" anchor="ctr"/>
            <a:lstStyle/>
            <a:p>
              <a:endParaRPr lang="en-GB"/>
            </a:p>
          </p:txBody>
        </p:sp>
        <p:sp>
          <p:nvSpPr>
            <p:cNvPr id="96" name="Freeform 95">
              <a:extLst>
                <a:ext uri="{FF2B5EF4-FFF2-40B4-BE49-F238E27FC236}">
                  <a16:creationId xmlns:a16="http://schemas.microsoft.com/office/drawing/2014/main" id="{E7794016-1131-62F6-5706-98944D6AA594}"/>
                </a:ext>
              </a:extLst>
            </p:cNvPr>
            <p:cNvSpPr/>
            <p:nvPr/>
          </p:nvSpPr>
          <p:spPr>
            <a:xfrm>
              <a:off x="-9389974" y="3261903"/>
              <a:ext cx="33585" cy="27178"/>
            </a:xfrm>
            <a:custGeom>
              <a:avLst/>
              <a:gdLst>
                <a:gd name="connsiteX0" fmla="*/ 1901 w 33585"/>
                <a:gd name="connsiteY0" fmla="*/ 24369 h 27178"/>
                <a:gd name="connsiteX1" fmla="*/ 2536 w 33585"/>
                <a:gd name="connsiteY1" fmla="*/ 25005 h 27178"/>
                <a:gd name="connsiteX2" fmla="*/ 10156 w 33585"/>
                <a:gd name="connsiteY2" fmla="*/ 25640 h 27178"/>
                <a:gd name="connsiteX3" fmla="*/ 14601 w 33585"/>
                <a:gd name="connsiteY3" fmla="*/ 23734 h 27178"/>
                <a:gd name="connsiteX4" fmla="*/ 31746 w 33585"/>
                <a:gd name="connsiteY4" fmla="*/ 7859 h 27178"/>
                <a:gd name="connsiteX5" fmla="*/ 20951 w 33585"/>
                <a:gd name="connsiteY5" fmla="*/ -395 h 27178"/>
                <a:gd name="connsiteX6" fmla="*/ 5711 w 33585"/>
                <a:gd name="connsiteY6" fmla="*/ 11669 h 27178"/>
                <a:gd name="connsiteX7" fmla="*/ -639 w 33585"/>
                <a:gd name="connsiteY7" fmla="*/ 18019 h 27178"/>
                <a:gd name="connsiteX8" fmla="*/ 1901 w 33585"/>
                <a:gd name="connsiteY8" fmla="*/ 24369 h 27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85" h="27178">
                  <a:moveTo>
                    <a:pt x="1901" y="24369"/>
                  </a:moveTo>
                  <a:cubicBezTo>
                    <a:pt x="1901" y="24369"/>
                    <a:pt x="2536" y="25005"/>
                    <a:pt x="2536" y="25005"/>
                  </a:cubicBezTo>
                  <a:cubicBezTo>
                    <a:pt x="5076" y="26275"/>
                    <a:pt x="7616" y="26275"/>
                    <a:pt x="10156" y="25640"/>
                  </a:cubicBezTo>
                  <a:cubicBezTo>
                    <a:pt x="11426" y="25005"/>
                    <a:pt x="13331" y="24369"/>
                    <a:pt x="14601" y="23734"/>
                  </a:cubicBezTo>
                  <a:cubicBezTo>
                    <a:pt x="16506" y="21830"/>
                    <a:pt x="30476" y="9130"/>
                    <a:pt x="31746" y="7859"/>
                  </a:cubicBezTo>
                  <a:cubicBezTo>
                    <a:pt x="36191" y="1509"/>
                    <a:pt x="24126" y="-2935"/>
                    <a:pt x="20951" y="-395"/>
                  </a:cubicBezTo>
                  <a:cubicBezTo>
                    <a:pt x="18411" y="1509"/>
                    <a:pt x="9521" y="9130"/>
                    <a:pt x="5711" y="11669"/>
                  </a:cubicBezTo>
                  <a:cubicBezTo>
                    <a:pt x="4441" y="12940"/>
                    <a:pt x="631" y="16115"/>
                    <a:pt x="-639" y="18019"/>
                  </a:cubicBezTo>
                  <a:cubicBezTo>
                    <a:pt x="-1274" y="19925"/>
                    <a:pt x="-639" y="23100"/>
                    <a:pt x="1901" y="24369"/>
                  </a:cubicBezTo>
                </a:path>
              </a:pathLst>
            </a:custGeom>
            <a:solidFill>
              <a:srgbClr val="FFFFFF"/>
            </a:solidFill>
            <a:ln w="6350" cap="flat">
              <a:noFill/>
              <a:prstDash val="solid"/>
              <a:miter/>
            </a:ln>
          </p:spPr>
          <p:txBody>
            <a:bodyPr rtlCol="0" anchor="ctr"/>
            <a:lstStyle/>
            <a:p>
              <a:endParaRPr lang="en-GB"/>
            </a:p>
          </p:txBody>
        </p:sp>
        <p:sp>
          <p:nvSpPr>
            <p:cNvPr id="97" name="Freeform 96">
              <a:extLst>
                <a:ext uri="{FF2B5EF4-FFF2-40B4-BE49-F238E27FC236}">
                  <a16:creationId xmlns:a16="http://schemas.microsoft.com/office/drawing/2014/main" id="{B71D2BF3-FDBA-3E2F-BD55-F1A3C44C0344}"/>
                </a:ext>
              </a:extLst>
            </p:cNvPr>
            <p:cNvSpPr/>
            <p:nvPr/>
          </p:nvSpPr>
          <p:spPr>
            <a:xfrm>
              <a:off x="-9029764" y="3264158"/>
              <a:ext cx="33744" cy="21966"/>
            </a:xfrm>
            <a:custGeom>
              <a:avLst/>
              <a:gdLst>
                <a:gd name="connsiteX0" fmla="*/ 23326 w 33744"/>
                <a:gd name="connsiteY0" fmla="*/ 20845 h 21966"/>
                <a:gd name="connsiteX1" fmla="*/ 29041 w 33744"/>
                <a:gd name="connsiteY1" fmla="*/ 20210 h 21966"/>
                <a:gd name="connsiteX2" fmla="*/ 30311 w 33744"/>
                <a:gd name="connsiteY2" fmla="*/ 19575 h 21966"/>
                <a:gd name="connsiteX3" fmla="*/ 30946 w 33744"/>
                <a:gd name="connsiteY3" fmla="*/ 18939 h 21966"/>
                <a:gd name="connsiteX4" fmla="*/ 32216 w 33744"/>
                <a:gd name="connsiteY4" fmla="*/ 12589 h 21966"/>
                <a:gd name="connsiteX5" fmla="*/ 25866 w 33744"/>
                <a:gd name="connsiteY5" fmla="*/ 7510 h 21966"/>
                <a:gd name="connsiteX6" fmla="*/ 24596 w 33744"/>
                <a:gd name="connsiteY6" fmla="*/ 6875 h 21966"/>
                <a:gd name="connsiteX7" fmla="*/ 9991 w 33744"/>
                <a:gd name="connsiteY7" fmla="*/ -745 h 21966"/>
                <a:gd name="connsiteX8" fmla="*/ 466 w 33744"/>
                <a:gd name="connsiteY8" fmla="*/ 7510 h 21966"/>
                <a:gd name="connsiteX9" fmla="*/ 18246 w 33744"/>
                <a:gd name="connsiteY9" fmla="*/ 19575 h 21966"/>
                <a:gd name="connsiteX10" fmla="*/ 23326 w 33744"/>
                <a:gd name="connsiteY10" fmla="*/ 20845 h 21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44" h="21966">
                  <a:moveTo>
                    <a:pt x="23326" y="20845"/>
                  </a:moveTo>
                  <a:cubicBezTo>
                    <a:pt x="25231" y="20845"/>
                    <a:pt x="27136" y="20845"/>
                    <a:pt x="29041" y="20210"/>
                  </a:cubicBezTo>
                  <a:cubicBezTo>
                    <a:pt x="29676" y="20210"/>
                    <a:pt x="29676" y="19575"/>
                    <a:pt x="30311" y="19575"/>
                  </a:cubicBezTo>
                  <a:cubicBezTo>
                    <a:pt x="30311" y="19575"/>
                    <a:pt x="30946" y="18939"/>
                    <a:pt x="30946" y="18939"/>
                  </a:cubicBezTo>
                  <a:cubicBezTo>
                    <a:pt x="32851" y="17670"/>
                    <a:pt x="33486" y="14495"/>
                    <a:pt x="32216" y="12589"/>
                  </a:cubicBezTo>
                  <a:cubicBezTo>
                    <a:pt x="31581" y="11320"/>
                    <a:pt x="27136" y="8780"/>
                    <a:pt x="25866" y="7510"/>
                  </a:cubicBezTo>
                  <a:cubicBezTo>
                    <a:pt x="25231" y="7510"/>
                    <a:pt x="25231" y="6875"/>
                    <a:pt x="24596" y="6875"/>
                  </a:cubicBezTo>
                  <a:cubicBezTo>
                    <a:pt x="20786" y="4335"/>
                    <a:pt x="12531" y="-111"/>
                    <a:pt x="9991" y="-745"/>
                  </a:cubicBezTo>
                  <a:cubicBezTo>
                    <a:pt x="6181" y="-2650"/>
                    <a:pt x="-4614" y="3064"/>
                    <a:pt x="466" y="7510"/>
                  </a:cubicBezTo>
                  <a:cubicBezTo>
                    <a:pt x="1736" y="8780"/>
                    <a:pt x="16341" y="18305"/>
                    <a:pt x="18246" y="19575"/>
                  </a:cubicBezTo>
                  <a:cubicBezTo>
                    <a:pt x="20151" y="20210"/>
                    <a:pt x="22056" y="20845"/>
                    <a:pt x="23326" y="20845"/>
                  </a:cubicBezTo>
                </a:path>
              </a:pathLst>
            </a:custGeom>
            <a:solidFill>
              <a:srgbClr val="FFFFFF"/>
            </a:solidFill>
            <a:ln w="6350" cap="flat">
              <a:noFill/>
              <a:prstDash val="solid"/>
              <a:miter/>
            </a:ln>
          </p:spPr>
          <p:txBody>
            <a:bodyPr rtlCol="0" anchor="ctr"/>
            <a:lstStyle/>
            <a:p>
              <a:endParaRPr lang="en-GB"/>
            </a:p>
          </p:txBody>
        </p:sp>
        <p:sp>
          <p:nvSpPr>
            <p:cNvPr id="98" name="Freeform 97">
              <a:extLst>
                <a:ext uri="{FF2B5EF4-FFF2-40B4-BE49-F238E27FC236}">
                  <a16:creationId xmlns:a16="http://schemas.microsoft.com/office/drawing/2014/main" id="{354CC95B-95D7-B917-E354-B6255864ADA7}"/>
                </a:ext>
              </a:extLst>
            </p:cNvPr>
            <p:cNvSpPr/>
            <p:nvPr/>
          </p:nvSpPr>
          <p:spPr>
            <a:xfrm>
              <a:off x="-9581932" y="3261135"/>
              <a:ext cx="161451" cy="52780"/>
            </a:xfrm>
            <a:custGeom>
              <a:avLst/>
              <a:gdLst>
                <a:gd name="connsiteX0" fmla="*/ 160204 w 161451"/>
                <a:gd name="connsiteY0" fmla="*/ 3548 h 52780"/>
                <a:gd name="connsiteX1" fmla="*/ 150044 w 161451"/>
                <a:gd name="connsiteY1" fmla="*/ -263 h 52780"/>
                <a:gd name="connsiteX2" fmla="*/ 184 w 161451"/>
                <a:gd name="connsiteY2" fmla="*/ 37837 h 52780"/>
                <a:gd name="connsiteX3" fmla="*/ -451 w 161451"/>
                <a:gd name="connsiteY3" fmla="*/ 40377 h 52780"/>
                <a:gd name="connsiteX4" fmla="*/ 4629 w 161451"/>
                <a:gd name="connsiteY4" fmla="*/ 47998 h 52780"/>
                <a:gd name="connsiteX5" fmla="*/ 49079 w 161451"/>
                <a:gd name="connsiteY5" fmla="*/ 50537 h 52780"/>
                <a:gd name="connsiteX6" fmla="*/ 158934 w 161451"/>
                <a:gd name="connsiteY6" fmla="*/ 11802 h 52780"/>
                <a:gd name="connsiteX7" fmla="*/ 160204 w 161451"/>
                <a:gd name="connsiteY7" fmla="*/ 3548 h 5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451" h="52780">
                  <a:moveTo>
                    <a:pt x="160204" y="3548"/>
                  </a:moveTo>
                  <a:cubicBezTo>
                    <a:pt x="159569" y="-2167"/>
                    <a:pt x="153854" y="-1532"/>
                    <a:pt x="150044" y="-263"/>
                  </a:cubicBezTo>
                  <a:cubicBezTo>
                    <a:pt x="146869" y="1008"/>
                    <a:pt x="1454" y="37202"/>
                    <a:pt x="184" y="37837"/>
                  </a:cubicBezTo>
                  <a:cubicBezTo>
                    <a:pt x="-1086" y="38473"/>
                    <a:pt x="-1086" y="39108"/>
                    <a:pt x="-451" y="40377"/>
                  </a:cubicBezTo>
                  <a:cubicBezTo>
                    <a:pt x="184" y="41648"/>
                    <a:pt x="2089" y="47362"/>
                    <a:pt x="4629" y="47998"/>
                  </a:cubicBezTo>
                  <a:cubicBezTo>
                    <a:pt x="8439" y="49268"/>
                    <a:pt x="38919" y="53712"/>
                    <a:pt x="49079" y="50537"/>
                  </a:cubicBezTo>
                  <a:cubicBezTo>
                    <a:pt x="59239" y="47998"/>
                    <a:pt x="157029" y="14343"/>
                    <a:pt x="158934" y="11802"/>
                  </a:cubicBezTo>
                  <a:cubicBezTo>
                    <a:pt x="160839" y="9898"/>
                    <a:pt x="160839" y="6087"/>
                    <a:pt x="160204" y="3548"/>
                  </a:cubicBezTo>
                </a:path>
              </a:pathLst>
            </a:custGeom>
            <a:solidFill>
              <a:srgbClr val="FFFFFF"/>
            </a:solidFill>
            <a:ln w="6350" cap="flat">
              <a:noFill/>
              <a:prstDash val="solid"/>
              <a:miter/>
            </a:ln>
          </p:spPr>
          <p:txBody>
            <a:bodyPr rtlCol="0" anchor="ctr"/>
            <a:lstStyle/>
            <a:p>
              <a:endParaRPr lang="en-GB"/>
            </a:p>
          </p:txBody>
        </p:sp>
        <p:sp>
          <p:nvSpPr>
            <p:cNvPr id="99" name="Freeform 98">
              <a:extLst>
                <a:ext uri="{FF2B5EF4-FFF2-40B4-BE49-F238E27FC236}">
                  <a16:creationId xmlns:a16="http://schemas.microsoft.com/office/drawing/2014/main" id="{78ECA135-471E-CBA6-DFAC-4F1324D5BFF4}"/>
                </a:ext>
              </a:extLst>
            </p:cNvPr>
            <p:cNvSpPr/>
            <p:nvPr/>
          </p:nvSpPr>
          <p:spPr>
            <a:xfrm>
              <a:off x="-9365090" y="3274911"/>
              <a:ext cx="27442" cy="25049"/>
            </a:xfrm>
            <a:custGeom>
              <a:avLst/>
              <a:gdLst>
                <a:gd name="connsiteX0" fmla="*/ 513 w 27442"/>
                <a:gd name="connsiteY0" fmla="*/ 22157 h 25049"/>
                <a:gd name="connsiteX1" fmla="*/ 13213 w 27442"/>
                <a:gd name="connsiteY1" fmla="*/ 20886 h 25049"/>
                <a:gd name="connsiteX2" fmla="*/ 26548 w 27442"/>
                <a:gd name="connsiteY2" fmla="*/ 1202 h 25049"/>
                <a:gd name="connsiteX3" fmla="*/ 14483 w 27442"/>
                <a:gd name="connsiteY3" fmla="*/ -703 h 25049"/>
                <a:gd name="connsiteX4" fmla="*/ 3688 w 27442"/>
                <a:gd name="connsiteY4" fmla="*/ 10727 h 25049"/>
                <a:gd name="connsiteX5" fmla="*/ 513 w 27442"/>
                <a:gd name="connsiteY5" fmla="*/ 22157 h 25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42" h="25049">
                  <a:moveTo>
                    <a:pt x="513" y="22157"/>
                  </a:moveTo>
                  <a:cubicBezTo>
                    <a:pt x="4323" y="24697"/>
                    <a:pt x="10038" y="24697"/>
                    <a:pt x="13213" y="20886"/>
                  </a:cubicBezTo>
                  <a:cubicBezTo>
                    <a:pt x="14483" y="19617"/>
                    <a:pt x="24643" y="5011"/>
                    <a:pt x="26548" y="1202"/>
                  </a:cubicBezTo>
                  <a:cubicBezTo>
                    <a:pt x="27183" y="-68"/>
                    <a:pt x="16388" y="-1973"/>
                    <a:pt x="14483" y="-703"/>
                  </a:cubicBezTo>
                  <a:cubicBezTo>
                    <a:pt x="11943" y="567"/>
                    <a:pt x="6863" y="7552"/>
                    <a:pt x="3688" y="10727"/>
                  </a:cubicBezTo>
                  <a:cubicBezTo>
                    <a:pt x="1783" y="13902"/>
                    <a:pt x="-3297" y="18982"/>
                    <a:pt x="513" y="22157"/>
                  </a:cubicBezTo>
                </a:path>
              </a:pathLst>
            </a:custGeom>
            <a:solidFill>
              <a:srgbClr val="FFFFFF"/>
            </a:solidFill>
            <a:ln w="6350" cap="flat">
              <a:noFill/>
              <a:prstDash val="solid"/>
              <a:miter/>
            </a:ln>
          </p:spPr>
          <p:txBody>
            <a:bodyPr rtlCol="0" anchor="ctr"/>
            <a:lstStyle/>
            <a:p>
              <a:endParaRPr lang="en-GB"/>
            </a:p>
          </p:txBody>
        </p:sp>
        <p:sp>
          <p:nvSpPr>
            <p:cNvPr id="100" name="Freeform 99">
              <a:extLst>
                <a:ext uri="{FF2B5EF4-FFF2-40B4-BE49-F238E27FC236}">
                  <a16:creationId xmlns:a16="http://schemas.microsoft.com/office/drawing/2014/main" id="{4410AFE0-9677-6173-A3FC-7E54FB59597F}"/>
                </a:ext>
              </a:extLst>
            </p:cNvPr>
            <p:cNvSpPr/>
            <p:nvPr/>
          </p:nvSpPr>
          <p:spPr>
            <a:xfrm>
              <a:off x="-8982075" y="3275258"/>
              <a:ext cx="147657" cy="52947"/>
            </a:xfrm>
            <a:custGeom>
              <a:avLst/>
              <a:gdLst>
                <a:gd name="connsiteX0" fmla="*/ 110892 w 147657"/>
                <a:gd name="connsiteY0" fmla="*/ 31969 h 52947"/>
                <a:gd name="connsiteX1" fmla="*/ 10562 w 147657"/>
                <a:gd name="connsiteY1" fmla="*/ -1051 h 52947"/>
                <a:gd name="connsiteX2" fmla="*/ -868 w 147657"/>
                <a:gd name="connsiteY2" fmla="*/ 4664 h 52947"/>
                <a:gd name="connsiteX3" fmla="*/ 42947 w 147657"/>
                <a:gd name="connsiteY3" fmla="*/ 28159 h 52947"/>
                <a:gd name="connsiteX4" fmla="*/ 69617 w 147657"/>
                <a:gd name="connsiteY4" fmla="*/ 40859 h 52947"/>
                <a:gd name="connsiteX5" fmla="*/ 97557 w 147657"/>
                <a:gd name="connsiteY5" fmla="*/ 49749 h 52947"/>
                <a:gd name="connsiteX6" fmla="*/ 142642 w 147657"/>
                <a:gd name="connsiteY6" fmla="*/ 51019 h 52947"/>
                <a:gd name="connsiteX7" fmla="*/ 146452 w 147657"/>
                <a:gd name="connsiteY7" fmla="*/ 40859 h 52947"/>
                <a:gd name="connsiteX8" fmla="*/ 110892 w 147657"/>
                <a:gd name="connsiteY8" fmla="*/ 31969 h 5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657" h="52947">
                  <a:moveTo>
                    <a:pt x="110892" y="31969"/>
                  </a:moveTo>
                  <a:cubicBezTo>
                    <a:pt x="46757" y="13554"/>
                    <a:pt x="15007" y="-2321"/>
                    <a:pt x="10562" y="-1051"/>
                  </a:cubicBezTo>
                  <a:cubicBezTo>
                    <a:pt x="6752" y="-416"/>
                    <a:pt x="-868" y="2759"/>
                    <a:pt x="-868" y="4664"/>
                  </a:cubicBezTo>
                  <a:cubicBezTo>
                    <a:pt x="-868" y="7839"/>
                    <a:pt x="37232" y="24984"/>
                    <a:pt x="42947" y="28159"/>
                  </a:cubicBezTo>
                  <a:cubicBezTo>
                    <a:pt x="51837" y="32604"/>
                    <a:pt x="60092" y="37049"/>
                    <a:pt x="69617" y="40859"/>
                  </a:cubicBezTo>
                  <a:cubicBezTo>
                    <a:pt x="79142" y="44669"/>
                    <a:pt x="87397" y="47844"/>
                    <a:pt x="97557" y="49749"/>
                  </a:cubicBezTo>
                  <a:cubicBezTo>
                    <a:pt x="106447" y="51019"/>
                    <a:pt x="136927" y="52924"/>
                    <a:pt x="142642" y="51019"/>
                  </a:cubicBezTo>
                  <a:cubicBezTo>
                    <a:pt x="145182" y="50384"/>
                    <a:pt x="147722" y="43399"/>
                    <a:pt x="146452" y="40859"/>
                  </a:cubicBezTo>
                  <a:cubicBezTo>
                    <a:pt x="144547" y="37684"/>
                    <a:pt x="128672" y="37049"/>
                    <a:pt x="110892" y="31969"/>
                  </a:cubicBezTo>
                </a:path>
              </a:pathLst>
            </a:custGeom>
            <a:solidFill>
              <a:srgbClr val="FFFFFF"/>
            </a:solidFill>
            <a:ln w="6350" cap="flat">
              <a:noFill/>
              <a:prstDash val="solid"/>
              <a:miter/>
            </a:ln>
          </p:spPr>
          <p:txBody>
            <a:bodyPr rtlCol="0" anchor="ctr"/>
            <a:lstStyle/>
            <a:p>
              <a:endParaRPr lang="en-GB"/>
            </a:p>
          </p:txBody>
        </p:sp>
        <p:sp>
          <p:nvSpPr>
            <p:cNvPr id="101" name="Freeform 100">
              <a:extLst>
                <a:ext uri="{FF2B5EF4-FFF2-40B4-BE49-F238E27FC236}">
                  <a16:creationId xmlns:a16="http://schemas.microsoft.com/office/drawing/2014/main" id="{65B8D106-7C01-50BB-384C-925B39A43045}"/>
                </a:ext>
              </a:extLst>
            </p:cNvPr>
            <p:cNvSpPr/>
            <p:nvPr/>
          </p:nvSpPr>
          <p:spPr>
            <a:xfrm>
              <a:off x="-9523412" y="3280409"/>
              <a:ext cx="124792" cy="52475"/>
            </a:xfrm>
            <a:custGeom>
              <a:avLst/>
              <a:gdLst>
                <a:gd name="connsiteX0" fmla="*/ 123910 w 124792"/>
                <a:gd name="connsiteY0" fmla="*/ 4593 h 52475"/>
                <a:gd name="connsiteX1" fmla="*/ 108669 w 124792"/>
                <a:gd name="connsiteY1" fmla="*/ -1122 h 52475"/>
                <a:gd name="connsiteX2" fmla="*/ 85 w 124792"/>
                <a:gd name="connsiteY2" fmla="*/ 40153 h 52475"/>
                <a:gd name="connsiteX3" fmla="*/ 85 w 124792"/>
                <a:gd name="connsiteY3" fmla="*/ 45868 h 52475"/>
                <a:gd name="connsiteX4" fmla="*/ 4529 w 124792"/>
                <a:gd name="connsiteY4" fmla="*/ 50313 h 52475"/>
                <a:gd name="connsiteX5" fmla="*/ 41994 w 124792"/>
                <a:gd name="connsiteY5" fmla="*/ 49043 h 52475"/>
                <a:gd name="connsiteX6" fmla="*/ 99779 w 124792"/>
                <a:gd name="connsiteY6" fmla="*/ 20468 h 52475"/>
                <a:gd name="connsiteX7" fmla="*/ 123910 w 124792"/>
                <a:gd name="connsiteY7" fmla="*/ 4593 h 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792" h="52475">
                  <a:moveTo>
                    <a:pt x="123910" y="4593"/>
                  </a:moveTo>
                  <a:cubicBezTo>
                    <a:pt x="123274" y="-1122"/>
                    <a:pt x="113749" y="-1122"/>
                    <a:pt x="108669" y="-1122"/>
                  </a:cubicBezTo>
                  <a:cubicBezTo>
                    <a:pt x="104224" y="-1122"/>
                    <a:pt x="1989" y="39518"/>
                    <a:pt x="85" y="40153"/>
                  </a:cubicBezTo>
                  <a:cubicBezTo>
                    <a:pt x="-1186" y="40788"/>
                    <a:pt x="-1186" y="43328"/>
                    <a:pt x="85" y="45868"/>
                  </a:cubicBezTo>
                  <a:cubicBezTo>
                    <a:pt x="719" y="47773"/>
                    <a:pt x="1989" y="49678"/>
                    <a:pt x="4529" y="50313"/>
                  </a:cubicBezTo>
                  <a:cubicBezTo>
                    <a:pt x="12149" y="51583"/>
                    <a:pt x="32469" y="52218"/>
                    <a:pt x="41994" y="49043"/>
                  </a:cubicBezTo>
                  <a:cubicBezTo>
                    <a:pt x="51519" y="45868"/>
                    <a:pt x="90254" y="25548"/>
                    <a:pt x="99779" y="20468"/>
                  </a:cubicBezTo>
                  <a:cubicBezTo>
                    <a:pt x="104224" y="17928"/>
                    <a:pt x="124544" y="8403"/>
                    <a:pt x="123910" y="4593"/>
                  </a:cubicBezTo>
                </a:path>
              </a:pathLst>
            </a:custGeom>
            <a:solidFill>
              <a:srgbClr val="FFFFFF"/>
            </a:solidFill>
            <a:ln w="6350" cap="flat">
              <a:noFill/>
              <a:prstDash val="solid"/>
              <a:miter/>
            </a:ln>
          </p:spPr>
          <p:txBody>
            <a:bodyPr rtlCol="0" anchor="ctr"/>
            <a:lstStyle/>
            <a:p>
              <a:endParaRPr lang="en-GB"/>
            </a:p>
          </p:txBody>
        </p:sp>
        <p:sp>
          <p:nvSpPr>
            <p:cNvPr id="102" name="Freeform 101">
              <a:extLst>
                <a:ext uri="{FF2B5EF4-FFF2-40B4-BE49-F238E27FC236}">
                  <a16:creationId xmlns:a16="http://schemas.microsoft.com/office/drawing/2014/main" id="{6A0BDCAC-76D6-6435-7EAF-93DCEFF00207}"/>
                </a:ext>
              </a:extLst>
            </p:cNvPr>
            <p:cNvSpPr/>
            <p:nvPr/>
          </p:nvSpPr>
          <p:spPr>
            <a:xfrm>
              <a:off x="-8996287" y="3288492"/>
              <a:ext cx="111015" cy="58714"/>
            </a:xfrm>
            <a:custGeom>
              <a:avLst/>
              <a:gdLst>
                <a:gd name="connsiteX0" fmla="*/ 108595 w 111015"/>
                <a:gd name="connsiteY0" fmla="*/ 46041 h 58714"/>
                <a:gd name="connsiteX1" fmla="*/ 90180 w 111015"/>
                <a:gd name="connsiteY1" fmla="*/ 39691 h 58714"/>
                <a:gd name="connsiteX2" fmla="*/ 44460 w 111015"/>
                <a:gd name="connsiteY2" fmla="*/ 18101 h 58714"/>
                <a:gd name="connsiteX3" fmla="*/ 26680 w 111015"/>
                <a:gd name="connsiteY3" fmla="*/ 7941 h 58714"/>
                <a:gd name="connsiteX4" fmla="*/ 9535 w 111015"/>
                <a:gd name="connsiteY4" fmla="*/ -949 h 58714"/>
                <a:gd name="connsiteX5" fmla="*/ 2550 w 111015"/>
                <a:gd name="connsiteY5" fmla="*/ 321 h 58714"/>
                <a:gd name="connsiteX6" fmla="*/ 1915 w 111015"/>
                <a:gd name="connsiteY6" fmla="*/ 7306 h 58714"/>
                <a:gd name="connsiteX7" fmla="*/ 49540 w 111015"/>
                <a:gd name="connsiteY7" fmla="*/ 40326 h 58714"/>
                <a:gd name="connsiteX8" fmla="*/ 72400 w 111015"/>
                <a:gd name="connsiteY8" fmla="*/ 53026 h 58714"/>
                <a:gd name="connsiteX9" fmla="*/ 104785 w 111015"/>
                <a:gd name="connsiteY9" fmla="*/ 57471 h 58714"/>
                <a:gd name="connsiteX10" fmla="*/ 108595 w 111015"/>
                <a:gd name="connsiteY10" fmla="*/ 46041 h 5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015" h="58714">
                  <a:moveTo>
                    <a:pt x="108595" y="46041"/>
                  </a:moveTo>
                  <a:cubicBezTo>
                    <a:pt x="102245" y="44136"/>
                    <a:pt x="96530" y="42231"/>
                    <a:pt x="90180" y="39691"/>
                  </a:cubicBezTo>
                  <a:cubicBezTo>
                    <a:pt x="74305" y="33976"/>
                    <a:pt x="59065" y="26356"/>
                    <a:pt x="44460" y="18101"/>
                  </a:cubicBezTo>
                  <a:cubicBezTo>
                    <a:pt x="38745" y="14926"/>
                    <a:pt x="33030" y="11751"/>
                    <a:pt x="26680" y="7941"/>
                  </a:cubicBezTo>
                  <a:cubicBezTo>
                    <a:pt x="23505" y="6036"/>
                    <a:pt x="12710" y="-949"/>
                    <a:pt x="9535" y="-949"/>
                  </a:cubicBezTo>
                  <a:cubicBezTo>
                    <a:pt x="6995" y="-1584"/>
                    <a:pt x="5090" y="-314"/>
                    <a:pt x="2550" y="321"/>
                  </a:cubicBezTo>
                  <a:cubicBezTo>
                    <a:pt x="-1895" y="1591"/>
                    <a:pt x="-1895" y="4131"/>
                    <a:pt x="1915" y="7306"/>
                  </a:cubicBezTo>
                  <a:cubicBezTo>
                    <a:pt x="3185" y="8576"/>
                    <a:pt x="41920" y="35246"/>
                    <a:pt x="49540" y="40326"/>
                  </a:cubicBezTo>
                  <a:cubicBezTo>
                    <a:pt x="56525" y="44771"/>
                    <a:pt x="64145" y="49851"/>
                    <a:pt x="72400" y="53026"/>
                  </a:cubicBezTo>
                  <a:cubicBezTo>
                    <a:pt x="80020" y="56201"/>
                    <a:pt x="99070" y="58106"/>
                    <a:pt x="104785" y="57471"/>
                  </a:cubicBezTo>
                  <a:cubicBezTo>
                    <a:pt x="109865" y="56836"/>
                    <a:pt x="111770" y="47311"/>
                    <a:pt x="108595" y="46041"/>
                  </a:cubicBezTo>
                </a:path>
              </a:pathLst>
            </a:custGeom>
            <a:solidFill>
              <a:srgbClr val="FFFFFF"/>
            </a:solidFill>
            <a:ln w="6350" cap="flat">
              <a:noFill/>
              <a:prstDash val="solid"/>
              <a:miter/>
            </a:ln>
          </p:spPr>
          <p:txBody>
            <a:bodyPr rtlCol="0" anchor="ctr"/>
            <a:lstStyle/>
            <a:p>
              <a:endParaRPr lang="en-GB"/>
            </a:p>
          </p:txBody>
        </p:sp>
        <p:sp>
          <p:nvSpPr>
            <p:cNvPr id="103" name="Freeform 102">
              <a:extLst>
                <a:ext uri="{FF2B5EF4-FFF2-40B4-BE49-F238E27FC236}">
                  <a16:creationId xmlns:a16="http://schemas.microsoft.com/office/drawing/2014/main" id="{E4816D78-E22B-D297-0B93-BAB0AEBA5385}"/>
                </a:ext>
              </a:extLst>
            </p:cNvPr>
            <p:cNvSpPr/>
            <p:nvPr/>
          </p:nvSpPr>
          <p:spPr>
            <a:xfrm>
              <a:off x="-9473188" y="3296820"/>
              <a:ext cx="99592" cy="56073"/>
            </a:xfrm>
            <a:custGeom>
              <a:avLst/>
              <a:gdLst>
                <a:gd name="connsiteX0" fmla="*/ 98451 w 99592"/>
                <a:gd name="connsiteY0" fmla="*/ 2788 h 56073"/>
                <a:gd name="connsiteX1" fmla="*/ 81941 w 99592"/>
                <a:gd name="connsiteY1" fmla="*/ -1023 h 56073"/>
                <a:gd name="connsiteX2" fmla="*/ 72416 w 99592"/>
                <a:gd name="connsiteY2" fmla="*/ 4058 h 56073"/>
                <a:gd name="connsiteX3" fmla="*/ 5741 w 99592"/>
                <a:gd name="connsiteY3" fmla="*/ 41523 h 56073"/>
                <a:gd name="connsiteX4" fmla="*/ 26 w 99592"/>
                <a:gd name="connsiteY4" fmla="*/ 49777 h 56073"/>
                <a:gd name="connsiteX5" fmla="*/ 5741 w 99592"/>
                <a:gd name="connsiteY5" fmla="*/ 54858 h 56073"/>
                <a:gd name="connsiteX6" fmla="*/ 44476 w 99592"/>
                <a:gd name="connsiteY6" fmla="*/ 45333 h 56073"/>
                <a:gd name="connsiteX7" fmla="*/ 72416 w 99592"/>
                <a:gd name="connsiteY7" fmla="*/ 24377 h 56073"/>
                <a:gd name="connsiteX8" fmla="*/ 98451 w 99592"/>
                <a:gd name="connsiteY8" fmla="*/ 2788 h 5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592" h="56073">
                  <a:moveTo>
                    <a:pt x="98451" y="2788"/>
                  </a:moveTo>
                  <a:cubicBezTo>
                    <a:pt x="100991" y="883"/>
                    <a:pt x="85116" y="-1657"/>
                    <a:pt x="81941" y="-1023"/>
                  </a:cubicBezTo>
                  <a:cubicBezTo>
                    <a:pt x="80671" y="-1023"/>
                    <a:pt x="77496" y="883"/>
                    <a:pt x="72416" y="4058"/>
                  </a:cubicBezTo>
                  <a:cubicBezTo>
                    <a:pt x="52096" y="14852"/>
                    <a:pt x="6376" y="40888"/>
                    <a:pt x="5741" y="41523"/>
                  </a:cubicBezTo>
                  <a:cubicBezTo>
                    <a:pt x="661" y="44698"/>
                    <a:pt x="-2514" y="45968"/>
                    <a:pt x="26" y="49777"/>
                  </a:cubicBezTo>
                  <a:cubicBezTo>
                    <a:pt x="661" y="51048"/>
                    <a:pt x="2566" y="54223"/>
                    <a:pt x="5741" y="54858"/>
                  </a:cubicBezTo>
                  <a:cubicBezTo>
                    <a:pt x="8916" y="55493"/>
                    <a:pt x="31776" y="52952"/>
                    <a:pt x="44476" y="45333"/>
                  </a:cubicBezTo>
                  <a:cubicBezTo>
                    <a:pt x="49556" y="42158"/>
                    <a:pt x="60986" y="33268"/>
                    <a:pt x="72416" y="24377"/>
                  </a:cubicBezTo>
                  <a:cubicBezTo>
                    <a:pt x="85116" y="14218"/>
                    <a:pt x="97816" y="4058"/>
                    <a:pt x="98451" y="2788"/>
                  </a:cubicBezTo>
                </a:path>
              </a:pathLst>
            </a:custGeom>
            <a:solidFill>
              <a:srgbClr val="FFFFFF"/>
            </a:solidFill>
            <a:ln w="6350" cap="flat">
              <a:noFill/>
              <a:prstDash val="solid"/>
              <a:miter/>
            </a:ln>
          </p:spPr>
          <p:txBody>
            <a:bodyPr rtlCol="0" anchor="ctr"/>
            <a:lstStyle/>
            <a:p>
              <a:endParaRPr lang="en-GB"/>
            </a:p>
          </p:txBody>
        </p:sp>
        <p:sp>
          <p:nvSpPr>
            <p:cNvPr id="104" name="Freeform 103">
              <a:extLst>
                <a:ext uri="{FF2B5EF4-FFF2-40B4-BE49-F238E27FC236}">
                  <a16:creationId xmlns:a16="http://schemas.microsoft.com/office/drawing/2014/main" id="{257C17BC-80B1-F43A-5377-4174322E167F}"/>
                </a:ext>
              </a:extLst>
            </p:cNvPr>
            <p:cNvSpPr/>
            <p:nvPr/>
          </p:nvSpPr>
          <p:spPr>
            <a:xfrm>
              <a:off x="-9423407" y="3305809"/>
              <a:ext cx="74937" cy="55645"/>
            </a:xfrm>
            <a:custGeom>
              <a:avLst/>
              <a:gdLst>
                <a:gd name="connsiteX0" fmla="*/ 71530 w 74937"/>
                <a:gd name="connsiteY0" fmla="*/ 5863 h 55645"/>
                <a:gd name="connsiteX1" fmla="*/ 74070 w 74937"/>
                <a:gd name="connsiteY1" fmla="*/ 2053 h 55645"/>
                <a:gd name="connsiteX2" fmla="*/ 73435 w 74937"/>
                <a:gd name="connsiteY2" fmla="*/ 783 h 55645"/>
                <a:gd name="connsiteX3" fmla="*/ 66450 w 74937"/>
                <a:gd name="connsiteY3" fmla="*/ 148 h 55645"/>
                <a:gd name="connsiteX4" fmla="*/ 54385 w 74937"/>
                <a:gd name="connsiteY4" fmla="*/ -1122 h 55645"/>
                <a:gd name="connsiteX5" fmla="*/ 23905 w 74937"/>
                <a:gd name="connsiteY5" fmla="*/ 24278 h 55645"/>
                <a:gd name="connsiteX6" fmla="*/ 2950 w 74937"/>
                <a:gd name="connsiteY6" fmla="*/ 42693 h 55645"/>
                <a:gd name="connsiteX7" fmla="*/ 1045 w 74937"/>
                <a:gd name="connsiteY7" fmla="*/ 52218 h 55645"/>
                <a:gd name="connsiteX8" fmla="*/ 24540 w 74937"/>
                <a:gd name="connsiteY8" fmla="*/ 49678 h 55645"/>
                <a:gd name="connsiteX9" fmla="*/ 34700 w 74937"/>
                <a:gd name="connsiteY9" fmla="*/ 43963 h 55645"/>
                <a:gd name="connsiteX10" fmla="*/ 36605 w 74937"/>
                <a:gd name="connsiteY10" fmla="*/ 42058 h 55645"/>
                <a:gd name="connsiteX11" fmla="*/ 71530 w 74937"/>
                <a:gd name="connsiteY11" fmla="*/ 5863 h 55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937" h="55645">
                  <a:moveTo>
                    <a:pt x="71530" y="5863"/>
                  </a:moveTo>
                  <a:cubicBezTo>
                    <a:pt x="72165" y="4593"/>
                    <a:pt x="74070" y="3323"/>
                    <a:pt x="74070" y="2053"/>
                  </a:cubicBezTo>
                  <a:cubicBezTo>
                    <a:pt x="74070" y="1418"/>
                    <a:pt x="74070" y="1418"/>
                    <a:pt x="73435" y="783"/>
                  </a:cubicBezTo>
                  <a:cubicBezTo>
                    <a:pt x="71530" y="-1122"/>
                    <a:pt x="68355" y="148"/>
                    <a:pt x="66450" y="148"/>
                  </a:cubicBezTo>
                  <a:cubicBezTo>
                    <a:pt x="62005" y="148"/>
                    <a:pt x="58195" y="-1122"/>
                    <a:pt x="54385" y="-1122"/>
                  </a:cubicBezTo>
                  <a:cubicBezTo>
                    <a:pt x="53115" y="-1122"/>
                    <a:pt x="37875" y="11578"/>
                    <a:pt x="23905" y="24278"/>
                  </a:cubicBezTo>
                  <a:cubicBezTo>
                    <a:pt x="15015" y="31898"/>
                    <a:pt x="6125" y="39518"/>
                    <a:pt x="2950" y="42693"/>
                  </a:cubicBezTo>
                  <a:cubicBezTo>
                    <a:pt x="-225" y="45233"/>
                    <a:pt x="-2765" y="48408"/>
                    <a:pt x="1045" y="52218"/>
                  </a:cubicBezTo>
                  <a:cubicBezTo>
                    <a:pt x="6125" y="57298"/>
                    <a:pt x="18190" y="52853"/>
                    <a:pt x="24540" y="49678"/>
                  </a:cubicBezTo>
                  <a:cubicBezTo>
                    <a:pt x="28350" y="47773"/>
                    <a:pt x="31525" y="46503"/>
                    <a:pt x="34700" y="43963"/>
                  </a:cubicBezTo>
                  <a:cubicBezTo>
                    <a:pt x="35335" y="43328"/>
                    <a:pt x="35970" y="42693"/>
                    <a:pt x="36605" y="42058"/>
                  </a:cubicBezTo>
                  <a:cubicBezTo>
                    <a:pt x="39145" y="38883"/>
                    <a:pt x="69625" y="8403"/>
                    <a:pt x="71530" y="5863"/>
                  </a:cubicBezTo>
                </a:path>
              </a:pathLst>
            </a:custGeom>
            <a:solidFill>
              <a:srgbClr val="FFFFFF"/>
            </a:solidFill>
            <a:ln w="6350" cap="flat">
              <a:noFill/>
              <a:prstDash val="solid"/>
              <a:miter/>
            </a:ln>
          </p:spPr>
          <p:txBody>
            <a:bodyPr rtlCol="0" anchor="ctr"/>
            <a:lstStyle/>
            <a:p>
              <a:endParaRPr lang="en-GB"/>
            </a:p>
          </p:txBody>
        </p:sp>
        <p:sp>
          <p:nvSpPr>
            <p:cNvPr id="105" name="Freeform 104">
              <a:extLst>
                <a:ext uri="{FF2B5EF4-FFF2-40B4-BE49-F238E27FC236}">
                  <a16:creationId xmlns:a16="http://schemas.microsoft.com/office/drawing/2014/main" id="{E274E7CA-1F14-5E0B-900F-BFDCA9FBD5E3}"/>
                </a:ext>
              </a:extLst>
            </p:cNvPr>
            <p:cNvSpPr/>
            <p:nvPr/>
          </p:nvSpPr>
          <p:spPr>
            <a:xfrm>
              <a:off x="-9445695" y="3199765"/>
              <a:ext cx="35678" cy="11517"/>
            </a:xfrm>
            <a:custGeom>
              <a:avLst/>
              <a:gdLst>
                <a:gd name="connsiteX0" fmla="*/ 17618 w 35678"/>
                <a:gd name="connsiteY0" fmla="*/ 9038 h 11517"/>
                <a:gd name="connsiteX1" fmla="*/ 34763 w 35678"/>
                <a:gd name="connsiteY1" fmla="*/ 3958 h 11517"/>
                <a:gd name="connsiteX2" fmla="*/ 16983 w 35678"/>
                <a:gd name="connsiteY2" fmla="*/ -487 h 11517"/>
                <a:gd name="connsiteX3" fmla="*/ 1108 w 35678"/>
                <a:gd name="connsiteY3" fmla="*/ -1122 h 11517"/>
                <a:gd name="connsiteX4" fmla="*/ 1743 w 35678"/>
                <a:gd name="connsiteY4" fmla="*/ 8403 h 11517"/>
                <a:gd name="connsiteX5" fmla="*/ 17618 w 35678"/>
                <a:gd name="connsiteY5" fmla="*/ 9038 h 11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8" h="11517">
                  <a:moveTo>
                    <a:pt x="17618" y="9038"/>
                  </a:moveTo>
                  <a:cubicBezTo>
                    <a:pt x="29683" y="7133"/>
                    <a:pt x="35398" y="7133"/>
                    <a:pt x="34763" y="3958"/>
                  </a:cubicBezTo>
                  <a:cubicBezTo>
                    <a:pt x="34128" y="-1122"/>
                    <a:pt x="28413" y="148"/>
                    <a:pt x="16983" y="-487"/>
                  </a:cubicBezTo>
                  <a:cubicBezTo>
                    <a:pt x="10633" y="-487"/>
                    <a:pt x="7458" y="-1122"/>
                    <a:pt x="1108" y="-1122"/>
                  </a:cubicBezTo>
                  <a:cubicBezTo>
                    <a:pt x="-2702" y="-1122"/>
                    <a:pt x="-162" y="5863"/>
                    <a:pt x="1743" y="8403"/>
                  </a:cubicBezTo>
                  <a:cubicBezTo>
                    <a:pt x="4283" y="11578"/>
                    <a:pt x="10633" y="10308"/>
                    <a:pt x="17618" y="9038"/>
                  </a:cubicBezTo>
                </a:path>
              </a:pathLst>
            </a:custGeom>
            <a:solidFill>
              <a:srgbClr val="FFFFFF"/>
            </a:solidFill>
            <a:ln w="6350" cap="flat">
              <a:noFill/>
              <a:prstDash val="solid"/>
              <a:miter/>
            </a:ln>
          </p:spPr>
          <p:txBody>
            <a:bodyPr rtlCol="0" anchor="ctr"/>
            <a:lstStyle/>
            <a:p>
              <a:endParaRPr lang="en-GB"/>
            </a:p>
          </p:txBody>
        </p:sp>
        <p:sp>
          <p:nvSpPr>
            <p:cNvPr id="106" name="Freeform 105">
              <a:extLst>
                <a:ext uri="{FF2B5EF4-FFF2-40B4-BE49-F238E27FC236}">
                  <a16:creationId xmlns:a16="http://schemas.microsoft.com/office/drawing/2014/main" id="{D9535458-3417-31DC-5CC8-1E8FF01781F8}"/>
                </a:ext>
              </a:extLst>
            </p:cNvPr>
            <p:cNvSpPr/>
            <p:nvPr/>
          </p:nvSpPr>
          <p:spPr>
            <a:xfrm>
              <a:off x="-8976359" y="3199713"/>
              <a:ext cx="35630" cy="11322"/>
            </a:xfrm>
            <a:custGeom>
              <a:avLst/>
              <a:gdLst>
                <a:gd name="connsiteX0" fmla="*/ 32152 w 35630"/>
                <a:gd name="connsiteY0" fmla="*/ 9090 h 11322"/>
                <a:gd name="connsiteX1" fmla="*/ 32787 w 35630"/>
                <a:gd name="connsiteY1" fmla="*/ -1070 h 11322"/>
                <a:gd name="connsiteX2" fmla="*/ 2307 w 35630"/>
                <a:gd name="connsiteY2" fmla="*/ 1470 h 11322"/>
                <a:gd name="connsiteX3" fmla="*/ -868 w 35630"/>
                <a:gd name="connsiteY3" fmla="*/ 4009 h 11322"/>
                <a:gd name="connsiteX4" fmla="*/ 1037 w 35630"/>
                <a:gd name="connsiteY4" fmla="*/ 5915 h 11322"/>
                <a:gd name="connsiteX5" fmla="*/ 32152 w 35630"/>
                <a:gd name="connsiteY5" fmla="*/ 9090 h 11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1322">
                  <a:moveTo>
                    <a:pt x="32152" y="9090"/>
                  </a:moveTo>
                  <a:cubicBezTo>
                    <a:pt x="34057" y="6549"/>
                    <a:pt x="36597" y="-435"/>
                    <a:pt x="32787" y="-1070"/>
                  </a:cubicBezTo>
                  <a:cubicBezTo>
                    <a:pt x="28342" y="-1070"/>
                    <a:pt x="9292" y="-1705"/>
                    <a:pt x="2307" y="1470"/>
                  </a:cubicBezTo>
                  <a:cubicBezTo>
                    <a:pt x="402" y="2105"/>
                    <a:pt x="-868" y="2740"/>
                    <a:pt x="-868" y="4009"/>
                  </a:cubicBezTo>
                  <a:cubicBezTo>
                    <a:pt x="-868" y="4645"/>
                    <a:pt x="-233" y="5915"/>
                    <a:pt x="1037" y="5915"/>
                  </a:cubicBezTo>
                  <a:cubicBezTo>
                    <a:pt x="5482" y="7820"/>
                    <a:pt x="29612" y="12265"/>
                    <a:pt x="32152" y="9090"/>
                  </a:cubicBezTo>
                </a:path>
              </a:pathLst>
            </a:custGeom>
            <a:solidFill>
              <a:srgbClr val="FFFFFF"/>
            </a:solidFill>
            <a:ln w="6350" cap="flat">
              <a:noFill/>
              <a:prstDash val="solid"/>
              <a:miter/>
            </a:ln>
          </p:spPr>
          <p:txBody>
            <a:bodyPr rtlCol="0" anchor="ctr"/>
            <a:lstStyle/>
            <a:p>
              <a:endParaRPr lang="en-GB"/>
            </a:p>
          </p:txBody>
        </p:sp>
        <p:sp>
          <p:nvSpPr>
            <p:cNvPr id="107" name="Freeform 106">
              <a:extLst>
                <a:ext uri="{FF2B5EF4-FFF2-40B4-BE49-F238E27FC236}">
                  <a16:creationId xmlns:a16="http://schemas.microsoft.com/office/drawing/2014/main" id="{63462527-3733-EAA8-045D-9EA0DA940205}"/>
                </a:ext>
              </a:extLst>
            </p:cNvPr>
            <p:cNvSpPr/>
            <p:nvPr/>
          </p:nvSpPr>
          <p:spPr>
            <a:xfrm>
              <a:off x="-9060179" y="3279678"/>
              <a:ext cx="19684" cy="30704"/>
            </a:xfrm>
            <a:custGeom>
              <a:avLst/>
              <a:gdLst>
                <a:gd name="connsiteX0" fmla="*/ 14372 w 19684"/>
                <a:gd name="connsiteY0" fmla="*/ 27550 h 30704"/>
                <a:gd name="connsiteX1" fmla="*/ 18817 w 19684"/>
                <a:gd name="connsiteY1" fmla="*/ 23105 h 30704"/>
                <a:gd name="connsiteX2" fmla="*/ 18817 w 19684"/>
                <a:gd name="connsiteY2" fmla="*/ 21834 h 30704"/>
                <a:gd name="connsiteX3" fmla="*/ 18182 w 19684"/>
                <a:gd name="connsiteY3" fmla="*/ 18659 h 30704"/>
                <a:gd name="connsiteX4" fmla="*/ 10562 w 19684"/>
                <a:gd name="connsiteY4" fmla="*/ 5325 h 30704"/>
                <a:gd name="connsiteX5" fmla="*/ 1037 w 19684"/>
                <a:gd name="connsiteY5" fmla="*/ -1025 h 30704"/>
                <a:gd name="connsiteX6" fmla="*/ -868 w 19684"/>
                <a:gd name="connsiteY6" fmla="*/ -391 h 30704"/>
                <a:gd name="connsiteX7" fmla="*/ -868 w 19684"/>
                <a:gd name="connsiteY7" fmla="*/ 244 h 30704"/>
                <a:gd name="connsiteX8" fmla="*/ 8657 w 19684"/>
                <a:gd name="connsiteY8" fmla="*/ 29455 h 30704"/>
                <a:gd name="connsiteX9" fmla="*/ 14372 w 19684"/>
                <a:gd name="connsiteY9" fmla="*/ 27550 h 3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84" h="30704">
                  <a:moveTo>
                    <a:pt x="14372" y="27550"/>
                  </a:moveTo>
                  <a:cubicBezTo>
                    <a:pt x="16277" y="26280"/>
                    <a:pt x="18182" y="25009"/>
                    <a:pt x="18817" y="23105"/>
                  </a:cubicBezTo>
                  <a:cubicBezTo>
                    <a:pt x="18817" y="23105"/>
                    <a:pt x="18817" y="22469"/>
                    <a:pt x="18817" y="21834"/>
                  </a:cubicBezTo>
                  <a:cubicBezTo>
                    <a:pt x="18817" y="20565"/>
                    <a:pt x="18817" y="19930"/>
                    <a:pt x="18182" y="18659"/>
                  </a:cubicBezTo>
                  <a:cubicBezTo>
                    <a:pt x="16912" y="15484"/>
                    <a:pt x="11832" y="6594"/>
                    <a:pt x="10562" y="5325"/>
                  </a:cubicBezTo>
                  <a:cubicBezTo>
                    <a:pt x="8022" y="880"/>
                    <a:pt x="4847" y="-1660"/>
                    <a:pt x="1037" y="-1025"/>
                  </a:cubicBezTo>
                  <a:cubicBezTo>
                    <a:pt x="1037" y="-1025"/>
                    <a:pt x="-233" y="-1025"/>
                    <a:pt x="-868" y="-391"/>
                  </a:cubicBezTo>
                  <a:lnTo>
                    <a:pt x="-868" y="244"/>
                  </a:lnTo>
                  <a:cubicBezTo>
                    <a:pt x="3577" y="9769"/>
                    <a:pt x="6752" y="19294"/>
                    <a:pt x="8657" y="29455"/>
                  </a:cubicBezTo>
                  <a:cubicBezTo>
                    <a:pt x="8657" y="30090"/>
                    <a:pt x="13737" y="28184"/>
                    <a:pt x="14372" y="27550"/>
                  </a:cubicBezTo>
                </a:path>
              </a:pathLst>
            </a:custGeom>
            <a:solidFill>
              <a:srgbClr val="FFFFFF"/>
            </a:solidFill>
            <a:ln w="6350" cap="flat">
              <a:noFill/>
              <a:prstDash val="solid"/>
              <a:miter/>
            </a:ln>
          </p:spPr>
          <p:txBody>
            <a:bodyPr rtlCol="0" anchor="ctr"/>
            <a:lstStyle/>
            <a:p>
              <a:endParaRPr lang="en-GB"/>
            </a:p>
          </p:txBody>
        </p:sp>
        <p:sp>
          <p:nvSpPr>
            <p:cNvPr id="108" name="Freeform 107">
              <a:extLst>
                <a:ext uri="{FF2B5EF4-FFF2-40B4-BE49-F238E27FC236}">
                  <a16:creationId xmlns:a16="http://schemas.microsoft.com/office/drawing/2014/main" id="{3E246A4D-893C-AEA3-C32E-3F64AFED6D59}"/>
                </a:ext>
              </a:extLst>
            </p:cNvPr>
            <p:cNvSpPr/>
            <p:nvPr/>
          </p:nvSpPr>
          <p:spPr>
            <a:xfrm>
              <a:off x="-9382125" y="3313334"/>
              <a:ext cx="50165" cy="46414"/>
            </a:xfrm>
            <a:custGeom>
              <a:avLst/>
              <a:gdLst>
                <a:gd name="connsiteX0" fmla="*/ 49297 w 50165"/>
                <a:gd name="connsiteY0" fmla="*/ -391 h 46414"/>
                <a:gd name="connsiteX1" fmla="*/ 48027 w 50165"/>
                <a:gd name="connsiteY1" fmla="*/ -1026 h 46414"/>
                <a:gd name="connsiteX2" fmla="*/ 30882 w 50165"/>
                <a:gd name="connsiteY2" fmla="*/ 5959 h 46414"/>
                <a:gd name="connsiteX3" fmla="*/ -868 w 50165"/>
                <a:gd name="connsiteY3" fmla="*/ 41519 h 46414"/>
                <a:gd name="connsiteX4" fmla="*/ 1037 w 50165"/>
                <a:gd name="connsiteY4" fmla="*/ 44059 h 46414"/>
                <a:gd name="connsiteX5" fmla="*/ 30882 w 50165"/>
                <a:gd name="connsiteY5" fmla="*/ 42154 h 46414"/>
                <a:gd name="connsiteX6" fmla="*/ 42947 w 50165"/>
                <a:gd name="connsiteY6" fmla="*/ 21834 h 46414"/>
                <a:gd name="connsiteX7" fmla="*/ 48662 w 50165"/>
                <a:gd name="connsiteY7" fmla="*/ 11674 h 46414"/>
                <a:gd name="connsiteX8" fmla="*/ 48662 w 50165"/>
                <a:gd name="connsiteY8" fmla="*/ 9769 h 46414"/>
                <a:gd name="connsiteX9" fmla="*/ 49297 w 50165"/>
                <a:gd name="connsiteY9" fmla="*/ 879 h 46414"/>
                <a:gd name="connsiteX10" fmla="*/ 49297 w 50165"/>
                <a:gd name="connsiteY10" fmla="*/ -391 h 4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165" h="46414">
                  <a:moveTo>
                    <a:pt x="49297" y="-391"/>
                  </a:moveTo>
                  <a:cubicBezTo>
                    <a:pt x="48662" y="-391"/>
                    <a:pt x="48662" y="-1026"/>
                    <a:pt x="48027" y="-1026"/>
                  </a:cubicBezTo>
                  <a:cubicBezTo>
                    <a:pt x="43582" y="-1662"/>
                    <a:pt x="35962" y="879"/>
                    <a:pt x="30882" y="5959"/>
                  </a:cubicBezTo>
                  <a:cubicBezTo>
                    <a:pt x="25802" y="11038"/>
                    <a:pt x="-233" y="37709"/>
                    <a:pt x="-868" y="41519"/>
                  </a:cubicBezTo>
                  <a:cubicBezTo>
                    <a:pt x="-868" y="42788"/>
                    <a:pt x="-233" y="43424"/>
                    <a:pt x="1037" y="44059"/>
                  </a:cubicBezTo>
                  <a:cubicBezTo>
                    <a:pt x="7387" y="47234"/>
                    <a:pt x="27707" y="43424"/>
                    <a:pt x="30882" y="42154"/>
                  </a:cubicBezTo>
                  <a:cubicBezTo>
                    <a:pt x="31517" y="41519"/>
                    <a:pt x="38502" y="30724"/>
                    <a:pt x="42947" y="21834"/>
                  </a:cubicBezTo>
                  <a:cubicBezTo>
                    <a:pt x="46122" y="16754"/>
                    <a:pt x="48027" y="12309"/>
                    <a:pt x="48662" y="11674"/>
                  </a:cubicBezTo>
                  <a:cubicBezTo>
                    <a:pt x="48662" y="11038"/>
                    <a:pt x="48662" y="10404"/>
                    <a:pt x="48662" y="9769"/>
                  </a:cubicBezTo>
                  <a:cubicBezTo>
                    <a:pt x="48662" y="6594"/>
                    <a:pt x="48662" y="4054"/>
                    <a:pt x="49297" y="879"/>
                  </a:cubicBezTo>
                  <a:cubicBezTo>
                    <a:pt x="49297" y="879"/>
                    <a:pt x="49297" y="244"/>
                    <a:pt x="49297" y="-391"/>
                  </a:cubicBezTo>
                </a:path>
              </a:pathLst>
            </a:custGeom>
            <a:solidFill>
              <a:srgbClr val="FFFFFF"/>
            </a:solidFill>
            <a:ln w="6350" cap="flat">
              <a:noFill/>
              <a:prstDash val="solid"/>
              <a:miter/>
            </a:ln>
          </p:spPr>
          <p:txBody>
            <a:bodyPr rtlCol="0" anchor="ctr"/>
            <a:lstStyle/>
            <a:p>
              <a:endParaRPr lang="en-GB"/>
            </a:p>
          </p:txBody>
        </p:sp>
        <p:sp>
          <p:nvSpPr>
            <p:cNvPr id="109" name="Freeform 108">
              <a:extLst>
                <a:ext uri="{FF2B5EF4-FFF2-40B4-BE49-F238E27FC236}">
                  <a16:creationId xmlns:a16="http://schemas.microsoft.com/office/drawing/2014/main" id="{E650F69B-8AE1-90A6-5B13-ED2647538163}"/>
                </a:ext>
              </a:extLst>
            </p:cNvPr>
            <p:cNvSpPr/>
            <p:nvPr/>
          </p:nvSpPr>
          <p:spPr>
            <a:xfrm>
              <a:off x="-9345335" y="3280251"/>
              <a:ext cx="24805" cy="27111"/>
            </a:xfrm>
            <a:custGeom>
              <a:avLst/>
              <a:gdLst>
                <a:gd name="connsiteX0" fmla="*/ 23938 w 24805"/>
                <a:gd name="connsiteY0" fmla="*/ 307 h 27111"/>
                <a:gd name="connsiteX1" fmla="*/ 15683 w 24805"/>
                <a:gd name="connsiteY1" fmla="*/ 307 h 27111"/>
                <a:gd name="connsiteX2" fmla="*/ -827 w 24805"/>
                <a:gd name="connsiteY2" fmla="*/ 20627 h 27111"/>
                <a:gd name="connsiteX3" fmla="*/ 8698 w 24805"/>
                <a:gd name="connsiteY3" fmla="*/ 25707 h 27111"/>
                <a:gd name="connsiteX4" fmla="*/ 13777 w 24805"/>
                <a:gd name="connsiteY4" fmla="*/ 25707 h 27111"/>
                <a:gd name="connsiteX5" fmla="*/ 20127 w 24805"/>
                <a:gd name="connsiteY5" fmla="*/ 7292 h 27111"/>
                <a:gd name="connsiteX6" fmla="*/ 23938 w 24805"/>
                <a:gd name="connsiteY6" fmla="*/ 307 h 2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05" h="27111">
                  <a:moveTo>
                    <a:pt x="23938" y="307"/>
                  </a:moveTo>
                  <a:cubicBezTo>
                    <a:pt x="23302" y="-1598"/>
                    <a:pt x="18858" y="-1598"/>
                    <a:pt x="15683" y="307"/>
                  </a:cubicBezTo>
                  <a:cubicBezTo>
                    <a:pt x="13777" y="2846"/>
                    <a:pt x="-192" y="18087"/>
                    <a:pt x="-827" y="20627"/>
                  </a:cubicBezTo>
                  <a:cubicBezTo>
                    <a:pt x="-1462" y="24437"/>
                    <a:pt x="5523" y="25707"/>
                    <a:pt x="8698" y="25707"/>
                  </a:cubicBezTo>
                  <a:cubicBezTo>
                    <a:pt x="9333" y="25707"/>
                    <a:pt x="13143" y="26342"/>
                    <a:pt x="13777" y="25707"/>
                  </a:cubicBezTo>
                  <a:cubicBezTo>
                    <a:pt x="15048" y="19357"/>
                    <a:pt x="17588" y="13007"/>
                    <a:pt x="20127" y="7292"/>
                  </a:cubicBezTo>
                  <a:cubicBezTo>
                    <a:pt x="20763" y="5387"/>
                    <a:pt x="22033" y="2846"/>
                    <a:pt x="23938" y="307"/>
                  </a:cubicBezTo>
                </a:path>
              </a:pathLst>
            </a:custGeom>
            <a:solidFill>
              <a:srgbClr val="FFFFFF"/>
            </a:solidFill>
            <a:ln w="6350" cap="flat">
              <a:noFill/>
              <a:prstDash val="solid"/>
              <a:miter/>
            </a:ln>
          </p:spPr>
          <p:txBody>
            <a:bodyPr rtlCol="0" anchor="ctr"/>
            <a:lstStyle/>
            <a:p>
              <a:endParaRPr lang="en-GB"/>
            </a:p>
          </p:txBody>
        </p:sp>
        <p:sp>
          <p:nvSpPr>
            <p:cNvPr id="110" name="Freeform 109">
              <a:extLst>
                <a:ext uri="{FF2B5EF4-FFF2-40B4-BE49-F238E27FC236}">
                  <a16:creationId xmlns:a16="http://schemas.microsoft.com/office/drawing/2014/main" id="{0BFBFA9B-E7BE-CF59-4B01-0459CAD52BB0}"/>
                </a:ext>
              </a:extLst>
            </p:cNvPr>
            <p:cNvSpPr/>
            <p:nvPr/>
          </p:nvSpPr>
          <p:spPr>
            <a:xfrm>
              <a:off x="-9342645" y="3338830"/>
              <a:ext cx="16400" cy="25017"/>
            </a:xfrm>
            <a:custGeom>
              <a:avLst/>
              <a:gdLst>
                <a:gd name="connsiteX0" fmla="*/ 12993 w 16400"/>
                <a:gd name="connsiteY0" fmla="*/ 23642 h 25017"/>
                <a:gd name="connsiteX1" fmla="*/ 15533 w 16400"/>
                <a:gd name="connsiteY1" fmla="*/ 22373 h 25017"/>
                <a:gd name="connsiteX2" fmla="*/ 8548 w 16400"/>
                <a:gd name="connsiteY2" fmla="*/ -1122 h 25017"/>
                <a:gd name="connsiteX3" fmla="*/ 6643 w 16400"/>
                <a:gd name="connsiteY3" fmla="*/ 2053 h 25017"/>
                <a:gd name="connsiteX4" fmla="*/ -342 w 16400"/>
                <a:gd name="connsiteY4" fmla="*/ 16658 h 25017"/>
                <a:gd name="connsiteX5" fmla="*/ 12993 w 16400"/>
                <a:gd name="connsiteY5" fmla="*/ 23642 h 25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00" h="25017">
                  <a:moveTo>
                    <a:pt x="12993" y="23642"/>
                  </a:moveTo>
                  <a:cubicBezTo>
                    <a:pt x="13628" y="23642"/>
                    <a:pt x="14898" y="23008"/>
                    <a:pt x="15533" y="22373"/>
                  </a:cubicBezTo>
                  <a:cubicBezTo>
                    <a:pt x="12358" y="14753"/>
                    <a:pt x="9818" y="7133"/>
                    <a:pt x="8548" y="-1122"/>
                  </a:cubicBezTo>
                  <a:cubicBezTo>
                    <a:pt x="7912" y="148"/>
                    <a:pt x="7278" y="783"/>
                    <a:pt x="6643" y="2053"/>
                  </a:cubicBezTo>
                  <a:cubicBezTo>
                    <a:pt x="3468" y="6498"/>
                    <a:pt x="1562" y="11578"/>
                    <a:pt x="-342" y="16658"/>
                  </a:cubicBezTo>
                  <a:cubicBezTo>
                    <a:pt x="-3517" y="24278"/>
                    <a:pt x="8548" y="24278"/>
                    <a:pt x="12993" y="23642"/>
                  </a:cubicBezTo>
                </a:path>
              </a:pathLst>
            </a:custGeom>
            <a:solidFill>
              <a:srgbClr val="FFFFFF"/>
            </a:solidFill>
            <a:ln w="6350" cap="flat">
              <a:noFill/>
              <a:prstDash val="solid"/>
              <a:miter/>
            </a:ln>
          </p:spPr>
          <p:txBody>
            <a:bodyPr rtlCol="0" anchor="ctr"/>
            <a:lstStyle/>
            <a:p>
              <a:endParaRPr lang="en-GB"/>
            </a:p>
          </p:txBody>
        </p:sp>
        <p:sp>
          <p:nvSpPr>
            <p:cNvPr id="111" name="Freeform 110">
              <a:extLst>
                <a:ext uri="{FF2B5EF4-FFF2-40B4-BE49-F238E27FC236}">
                  <a16:creationId xmlns:a16="http://schemas.microsoft.com/office/drawing/2014/main" id="{3F4C4CE2-A639-325F-BBE9-E1277676EEDA}"/>
                </a:ext>
              </a:extLst>
            </p:cNvPr>
            <p:cNvSpPr/>
            <p:nvPr/>
          </p:nvSpPr>
          <p:spPr>
            <a:xfrm>
              <a:off x="-9060179" y="3343909"/>
              <a:ext cx="16877" cy="22312"/>
            </a:xfrm>
            <a:custGeom>
              <a:avLst/>
              <a:gdLst>
                <a:gd name="connsiteX0" fmla="*/ 6752 w 16877"/>
                <a:gd name="connsiteY0" fmla="*/ 148 h 22312"/>
                <a:gd name="connsiteX1" fmla="*/ -868 w 16877"/>
                <a:gd name="connsiteY1" fmla="*/ 19833 h 22312"/>
                <a:gd name="connsiteX2" fmla="*/ 13102 w 16877"/>
                <a:gd name="connsiteY2" fmla="*/ 19198 h 22312"/>
                <a:gd name="connsiteX3" fmla="*/ 9927 w 16877"/>
                <a:gd name="connsiteY3" fmla="*/ 3958 h 22312"/>
                <a:gd name="connsiteX4" fmla="*/ 6752 w 16877"/>
                <a:gd name="connsiteY4" fmla="*/ -1122 h 22312"/>
                <a:gd name="connsiteX5" fmla="*/ 6752 w 16877"/>
                <a:gd name="connsiteY5" fmla="*/ 148 h 2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77" h="22312">
                  <a:moveTo>
                    <a:pt x="6752" y="148"/>
                  </a:moveTo>
                  <a:cubicBezTo>
                    <a:pt x="5482" y="7133"/>
                    <a:pt x="2942" y="13483"/>
                    <a:pt x="-868" y="19833"/>
                  </a:cubicBezTo>
                  <a:cubicBezTo>
                    <a:pt x="1672" y="21103"/>
                    <a:pt x="9292" y="22373"/>
                    <a:pt x="13102" y="19198"/>
                  </a:cubicBezTo>
                  <a:cubicBezTo>
                    <a:pt x="18182" y="15388"/>
                    <a:pt x="16277" y="12848"/>
                    <a:pt x="9927" y="3958"/>
                  </a:cubicBezTo>
                  <a:cubicBezTo>
                    <a:pt x="8657" y="2688"/>
                    <a:pt x="8022" y="783"/>
                    <a:pt x="6752" y="-1122"/>
                  </a:cubicBezTo>
                  <a:cubicBezTo>
                    <a:pt x="6752" y="-487"/>
                    <a:pt x="6752" y="148"/>
                    <a:pt x="6752" y="148"/>
                  </a:cubicBezTo>
                </a:path>
              </a:pathLst>
            </a:custGeom>
            <a:solidFill>
              <a:srgbClr val="FFFFFF"/>
            </a:solidFill>
            <a:ln w="6350" cap="flat">
              <a:noFill/>
              <a:prstDash val="solid"/>
              <a:miter/>
            </a:ln>
          </p:spPr>
          <p:txBody>
            <a:bodyPr rtlCol="0" anchor="ctr"/>
            <a:lstStyle/>
            <a:p>
              <a:endParaRPr lang="en-GB"/>
            </a:p>
          </p:txBody>
        </p:sp>
        <p:sp>
          <p:nvSpPr>
            <p:cNvPr id="112" name="Freeform 111">
              <a:extLst>
                <a:ext uri="{FF2B5EF4-FFF2-40B4-BE49-F238E27FC236}">
                  <a16:creationId xmlns:a16="http://schemas.microsoft.com/office/drawing/2014/main" id="{E4B295AC-BCD1-80ED-F156-B9B52C622C3E}"/>
                </a:ext>
              </a:extLst>
            </p:cNvPr>
            <p:cNvSpPr/>
            <p:nvPr/>
          </p:nvSpPr>
          <p:spPr>
            <a:xfrm>
              <a:off x="-8935512" y="3211194"/>
              <a:ext cx="244199" cy="18415"/>
            </a:xfrm>
            <a:custGeom>
              <a:avLst/>
              <a:gdLst>
                <a:gd name="connsiteX0" fmla="*/ 237684 w 244199"/>
                <a:gd name="connsiteY0" fmla="*/ -1122 h 18415"/>
                <a:gd name="connsiteX1" fmla="*/ 155770 w 244199"/>
                <a:gd name="connsiteY1" fmla="*/ 1418 h 18415"/>
                <a:gd name="connsiteX2" fmla="*/ 20515 w 244199"/>
                <a:gd name="connsiteY2" fmla="*/ 783 h 18415"/>
                <a:gd name="connsiteX3" fmla="*/ 9085 w 244199"/>
                <a:gd name="connsiteY3" fmla="*/ 783 h 18415"/>
                <a:gd name="connsiteX4" fmla="*/ -440 w 244199"/>
                <a:gd name="connsiteY4" fmla="*/ 2689 h 18415"/>
                <a:gd name="connsiteX5" fmla="*/ 8449 w 244199"/>
                <a:gd name="connsiteY5" fmla="*/ 5864 h 18415"/>
                <a:gd name="connsiteX6" fmla="*/ 45915 w 244199"/>
                <a:gd name="connsiteY6" fmla="*/ 8403 h 18415"/>
                <a:gd name="connsiteX7" fmla="*/ 65599 w 244199"/>
                <a:gd name="connsiteY7" fmla="*/ 10308 h 18415"/>
                <a:gd name="connsiteX8" fmla="*/ 210380 w 244199"/>
                <a:gd name="connsiteY8" fmla="*/ 17293 h 18415"/>
                <a:gd name="connsiteX9" fmla="*/ 242130 w 244199"/>
                <a:gd name="connsiteY9" fmla="*/ 9039 h 18415"/>
                <a:gd name="connsiteX10" fmla="*/ 242130 w 244199"/>
                <a:gd name="connsiteY10" fmla="*/ 2689 h 18415"/>
                <a:gd name="connsiteX11" fmla="*/ 237684 w 244199"/>
                <a:gd name="connsiteY11" fmla="*/ -1122 h 1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4199" h="18415">
                  <a:moveTo>
                    <a:pt x="237684" y="-1122"/>
                  </a:moveTo>
                  <a:cubicBezTo>
                    <a:pt x="234509" y="-1122"/>
                    <a:pt x="169104" y="1418"/>
                    <a:pt x="155770" y="1418"/>
                  </a:cubicBezTo>
                  <a:cubicBezTo>
                    <a:pt x="155135" y="1418"/>
                    <a:pt x="25595" y="783"/>
                    <a:pt x="20515" y="783"/>
                  </a:cubicBezTo>
                  <a:cubicBezTo>
                    <a:pt x="16704" y="783"/>
                    <a:pt x="12895" y="783"/>
                    <a:pt x="9085" y="783"/>
                  </a:cubicBezTo>
                  <a:cubicBezTo>
                    <a:pt x="6545" y="783"/>
                    <a:pt x="1465" y="783"/>
                    <a:pt x="-440" y="2689"/>
                  </a:cubicBezTo>
                  <a:cubicBezTo>
                    <a:pt x="-2980" y="5864"/>
                    <a:pt x="6545" y="5864"/>
                    <a:pt x="8449" y="5864"/>
                  </a:cubicBezTo>
                  <a:cubicBezTo>
                    <a:pt x="11624" y="5864"/>
                    <a:pt x="37024" y="7768"/>
                    <a:pt x="45915" y="8403"/>
                  </a:cubicBezTo>
                  <a:cubicBezTo>
                    <a:pt x="52265" y="9039"/>
                    <a:pt x="59249" y="9673"/>
                    <a:pt x="65599" y="10308"/>
                  </a:cubicBezTo>
                  <a:cubicBezTo>
                    <a:pt x="113224" y="13483"/>
                    <a:pt x="160849" y="17293"/>
                    <a:pt x="210380" y="17293"/>
                  </a:cubicBezTo>
                  <a:cubicBezTo>
                    <a:pt x="219905" y="17293"/>
                    <a:pt x="240859" y="9673"/>
                    <a:pt x="242130" y="9039"/>
                  </a:cubicBezTo>
                  <a:cubicBezTo>
                    <a:pt x="243399" y="8403"/>
                    <a:pt x="244034" y="7133"/>
                    <a:pt x="242130" y="2689"/>
                  </a:cubicBezTo>
                  <a:cubicBezTo>
                    <a:pt x="241495" y="783"/>
                    <a:pt x="240224" y="-1122"/>
                    <a:pt x="237684" y="-1122"/>
                  </a:cubicBezTo>
                </a:path>
              </a:pathLst>
            </a:custGeom>
            <a:solidFill>
              <a:srgbClr val="FFFFFF"/>
            </a:solidFill>
            <a:ln w="6350" cap="flat">
              <a:noFill/>
              <a:prstDash val="solid"/>
              <a:miter/>
            </a:ln>
          </p:spPr>
          <p:txBody>
            <a:bodyPr rtlCol="0" anchor="ctr"/>
            <a:lstStyle/>
            <a:p>
              <a:endParaRPr lang="en-GB"/>
            </a:p>
          </p:txBody>
        </p:sp>
        <p:sp>
          <p:nvSpPr>
            <p:cNvPr id="113" name="Freeform 112">
              <a:extLst>
                <a:ext uri="{FF2B5EF4-FFF2-40B4-BE49-F238E27FC236}">
                  <a16:creationId xmlns:a16="http://schemas.microsoft.com/office/drawing/2014/main" id="{57A32692-A5B5-2997-4F0B-0571A6C7F3EC}"/>
                </a:ext>
              </a:extLst>
            </p:cNvPr>
            <p:cNvSpPr/>
            <p:nvPr/>
          </p:nvSpPr>
          <p:spPr>
            <a:xfrm>
              <a:off x="-9324340" y="3223259"/>
              <a:ext cx="266700" cy="205740"/>
            </a:xfrm>
            <a:custGeom>
              <a:avLst/>
              <a:gdLst>
                <a:gd name="connsiteX0" fmla="*/ 150897 w 266700"/>
                <a:gd name="connsiteY0" fmla="*/ 202078 h 205740"/>
                <a:gd name="connsiteX1" fmla="*/ 154072 w 266700"/>
                <a:gd name="connsiteY1" fmla="*/ 201443 h 205740"/>
                <a:gd name="connsiteX2" fmla="*/ 157247 w 266700"/>
                <a:gd name="connsiteY2" fmla="*/ 200808 h 205740"/>
                <a:gd name="connsiteX3" fmla="*/ 160422 w 266700"/>
                <a:gd name="connsiteY3" fmla="*/ 200173 h 205740"/>
                <a:gd name="connsiteX4" fmla="*/ 163597 w 266700"/>
                <a:gd name="connsiteY4" fmla="*/ 199538 h 205740"/>
                <a:gd name="connsiteX5" fmla="*/ 166772 w 266700"/>
                <a:gd name="connsiteY5" fmla="*/ 198903 h 205740"/>
                <a:gd name="connsiteX6" fmla="*/ 169312 w 266700"/>
                <a:gd name="connsiteY6" fmla="*/ 198268 h 205740"/>
                <a:gd name="connsiteX7" fmla="*/ 172487 w 266700"/>
                <a:gd name="connsiteY7" fmla="*/ 197633 h 205740"/>
                <a:gd name="connsiteX8" fmla="*/ 175027 w 266700"/>
                <a:gd name="connsiteY8" fmla="*/ 196998 h 205740"/>
                <a:gd name="connsiteX9" fmla="*/ 178837 w 266700"/>
                <a:gd name="connsiteY9" fmla="*/ 196363 h 205740"/>
                <a:gd name="connsiteX10" fmla="*/ 178837 w 266700"/>
                <a:gd name="connsiteY10" fmla="*/ 196363 h 205740"/>
                <a:gd name="connsiteX11" fmla="*/ 183917 w 266700"/>
                <a:gd name="connsiteY11" fmla="*/ 195093 h 205740"/>
                <a:gd name="connsiteX12" fmla="*/ 186457 w 266700"/>
                <a:gd name="connsiteY12" fmla="*/ 194458 h 205740"/>
                <a:gd name="connsiteX13" fmla="*/ 188997 w 266700"/>
                <a:gd name="connsiteY13" fmla="*/ 193823 h 205740"/>
                <a:gd name="connsiteX14" fmla="*/ 191537 w 266700"/>
                <a:gd name="connsiteY14" fmla="*/ 192553 h 205740"/>
                <a:gd name="connsiteX15" fmla="*/ 194077 w 266700"/>
                <a:gd name="connsiteY15" fmla="*/ 191283 h 205740"/>
                <a:gd name="connsiteX16" fmla="*/ 196617 w 266700"/>
                <a:gd name="connsiteY16" fmla="*/ 190013 h 205740"/>
                <a:gd name="connsiteX17" fmla="*/ 199792 w 266700"/>
                <a:gd name="connsiteY17" fmla="*/ 188743 h 205740"/>
                <a:gd name="connsiteX18" fmla="*/ 202967 w 266700"/>
                <a:gd name="connsiteY18" fmla="*/ 186838 h 205740"/>
                <a:gd name="connsiteX19" fmla="*/ 205507 w 266700"/>
                <a:gd name="connsiteY19" fmla="*/ 185568 h 205740"/>
                <a:gd name="connsiteX20" fmla="*/ 208047 w 266700"/>
                <a:gd name="connsiteY20" fmla="*/ 184298 h 205740"/>
                <a:gd name="connsiteX21" fmla="*/ 210587 w 266700"/>
                <a:gd name="connsiteY21" fmla="*/ 183028 h 205740"/>
                <a:gd name="connsiteX22" fmla="*/ 213127 w 266700"/>
                <a:gd name="connsiteY22" fmla="*/ 181758 h 205740"/>
                <a:gd name="connsiteX23" fmla="*/ 215667 w 266700"/>
                <a:gd name="connsiteY23" fmla="*/ 180488 h 205740"/>
                <a:gd name="connsiteX24" fmla="*/ 217572 w 266700"/>
                <a:gd name="connsiteY24" fmla="*/ 179218 h 205740"/>
                <a:gd name="connsiteX25" fmla="*/ 221382 w 266700"/>
                <a:gd name="connsiteY25" fmla="*/ 176678 h 205740"/>
                <a:gd name="connsiteX26" fmla="*/ 223287 w 266700"/>
                <a:gd name="connsiteY26" fmla="*/ 175408 h 205740"/>
                <a:gd name="connsiteX27" fmla="*/ 225827 w 266700"/>
                <a:gd name="connsiteY27" fmla="*/ 173503 h 205740"/>
                <a:gd name="connsiteX28" fmla="*/ 227732 w 266700"/>
                <a:gd name="connsiteY28" fmla="*/ 172233 h 205740"/>
                <a:gd name="connsiteX29" fmla="*/ 230272 w 266700"/>
                <a:gd name="connsiteY29" fmla="*/ 170328 h 205740"/>
                <a:gd name="connsiteX30" fmla="*/ 232177 w 266700"/>
                <a:gd name="connsiteY30" fmla="*/ 169058 h 205740"/>
                <a:gd name="connsiteX31" fmla="*/ 235352 w 266700"/>
                <a:gd name="connsiteY31" fmla="*/ 166518 h 205740"/>
                <a:gd name="connsiteX32" fmla="*/ 236622 w 266700"/>
                <a:gd name="connsiteY32" fmla="*/ 165248 h 205740"/>
                <a:gd name="connsiteX33" fmla="*/ 239162 w 266700"/>
                <a:gd name="connsiteY33" fmla="*/ 162708 h 205740"/>
                <a:gd name="connsiteX34" fmla="*/ 240432 w 266700"/>
                <a:gd name="connsiteY34" fmla="*/ 161438 h 205740"/>
                <a:gd name="connsiteX35" fmla="*/ 242337 w 266700"/>
                <a:gd name="connsiteY35" fmla="*/ 158898 h 205740"/>
                <a:gd name="connsiteX36" fmla="*/ 243607 w 266700"/>
                <a:gd name="connsiteY36" fmla="*/ 157628 h 205740"/>
                <a:gd name="connsiteX37" fmla="*/ 245512 w 266700"/>
                <a:gd name="connsiteY37" fmla="*/ 155088 h 205740"/>
                <a:gd name="connsiteX38" fmla="*/ 246782 w 266700"/>
                <a:gd name="connsiteY38" fmla="*/ 153818 h 205740"/>
                <a:gd name="connsiteX39" fmla="*/ 249957 w 266700"/>
                <a:gd name="connsiteY39" fmla="*/ 150008 h 205740"/>
                <a:gd name="connsiteX40" fmla="*/ 250592 w 266700"/>
                <a:gd name="connsiteY40" fmla="*/ 148738 h 205740"/>
                <a:gd name="connsiteX41" fmla="*/ 252497 w 266700"/>
                <a:gd name="connsiteY41" fmla="*/ 146198 h 205740"/>
                <a:gd name="connsiteX42" fmla="*/ 253132 w 266700"/>
                <a:gd name="connsiteY42" fmla="*/ 144928 h 205740"/>
                <a:gd name="connsiteX43" fmla="*/ 255037 w 266700"/>
                <a:gd name="connsiteY43" fmla="*/ 142388 h 205740"/>
                <a:gd name="connsiteX44" fmla="*/ 255672 w 266700"/>
                <a:gd name="connsiteY44" fmla="*/ 141118 h 205740"/>
                <a:gd name="connsiteX45" fmla="*/ 257577 w 266700"/>
                <a:gd name="connsiteY45" fmla="*/ 137308 h 205740"/>
                <a:gd name="connsiteX46" fmla="*/ 257577 w 266700"/>
                <a:gd name="connsiteY46" fmla="*/ 136673 h 205740"/>
                <a:gd name="connsiteX47" fmla="*/ 259482 w 266700"/>
                <a:gd name="connsiteY47" fmla="*/ 132863 h 205740"/>
                <a:gd name="connsiteX48" fmla="*/ 260117 w 266700"/>
                <a:gd name="connsiteY48" fmla="*/ 132228 h 205740"/>
                <a:gd name="connsiteX49" fmla="*/ 265832 w 266700"/>
                <a:gd name="connsiteY49" fmla="*/ 101748 h 205740"/>
                <a:gd name="connsiteX50" fmla="*/ 260117 w 266700"/>
                <a:gd name="connsiteY50" fmla="*/ 71268 h 205740"/>
                <a:gd name="connsiteX51" fmla="*/ 259482 w 266700"/>
                <a:gd name="connsiteY51" fmla="*/ 70633 h 205740"/>
                <a:gd name="connsiteX52" fmla="*/ 257577 w 266700"/>
                <a:gd name="connsiteY52" fmla="*/ 66823 h 205740"/>
                <a:gd name="connsiteX53" fmla="*/ 256942 w 266700"/>
                <a:gd name="connsiteY53" fmla="*/ 65553 h 205740"/>
                <a:gd name="connsiteX54" fmla="*/ 255037 w 266700"/>
                <a:gd name="connsiteY54" fmla="*/ 61743 h 205740"/>
                <a:gd name="connsiteX55" fmla="*/ 254402 w 266700"/>
                <a:gd name="connsiteY55" fmla="*/ 60473 h 205740"/>
                <a:gd name="connsiteX56" fmla="*/ 252497 w 266700"/>
                <a:gd name="connsiteY56" fmla="*/ 57298 h 205740"/>
                <a:gd name="connsiteX57" fmla="*/ 239162 w 266700"/>
                <a:gd name="connsiteY57" fmla="*/ 40153 h 205740"/>
                <a:gd name="connsiteX58" fmla="*/ 239162 w 266700"/>
                <a:gd name="connsiteY58" fmla="*/ 40153 h 205740"/>
                <a:gd name="connsiteX59" fmla="*/ 239162 w 266700"/>
                <a:gd name="connsiteY59" fmla="*/ 40153 h 205740"/>
                <a:gd name="connsiteX60" fmla="*/ 234717 w 266700"/>
                <a:gd name="connsiteY60" fmla="*/ 35708 h 205740"/>
                <a:gd name="connsiteX61" fmla="*/ 234717 w 266700"/>
                <a:gd name="connsiteY61" fmla="*/ 35708 h 205740"/>
                <a:gd name="connsiteX62" fmla="*/ 230272 w 266700"/>
                <a:gd name="connsiteY62" fmla="*/ 31898 h 205740"/>
                <a:gd name="connsiteX63" fmla="*/ 229002 w 266700"/>
                <a:gd name="connsiteY63" fmla="*/ 31263 h 205740"/>
                <a:gd name="connsiteX64" fmla="*/ 225192 w 266700"/>
                <a:gd name="connsiteY64" fmla="*/ 28088 h 205740"/>
                <a:gd name="connsiteX65" fmla="*/ 223922 w 266700"/>
                <a:gd name="connsiteY65" fmla="*/ 26818 h 205740"/>
                <a:gd name="connsiteX66" fmla="*/ 219477 w 266700"/>
                <a:gd name="connsiteY66" fmla="*/ 23643 h 205740"/>
                <a:gd name="connsiteX67" fmla="*/ 218207 w 266700"/>
                <a:gd name="connsiteY67" fmla="*/ 23008 h 205740"/>
                <a:gd name="connsiteX68" fmla="*/ 213127 w 266700"/>
                <a:gd name="connsiteY68" fmla="*/ 19833 h 205740"/>
                <a:gd name="connsiteX69" fmla="*/ 212492 w 266700"/>
                <a:gd name="connsiteY69" fmla="*/ 19198 h 205740"/>
                <a:gd name="connsiteX70" fmla="*/ 206142 w 266700"/>
                <a:gd name="connsiteY70" fmla="*/ 16023 h 205740"/>
                <a:gd name="connsiteX71" fmla="*/ 206142 w 266700"/>
                <a:gd name="connsiteY71" fmla="*/ 16023 h 205740"/>
                <a:gd name="connsiteX72" fmla="*/ 200427 w 266700"/>
                <a:gd name="connsiteY72" fmla="*/ 12848 h 205740"/>
                <a:gd name="connsiteX73" fmla="*/ 198522 w 266700"/>
                <a:gd name="connsiteY73" fmla="*/ 12213 h 205740"/>
                <a:gd name="connsiteX74" fmla="*/ 194077 w 266700"/>
                <a:gd name="connsiteY74" fmla="*/ 10308 h 205740"/>
                <a:gd name="connsiteX75" fmla="*/ 192172 w 266700"/>
                <a:gd name="connsiteY75" fmla="*/ 9673 h 205740"/>
                <a:gd name="connsiteX76" fmla="*/ 187727 w 266700"/>
                <a:gd name="connsiteY76" fmla="*/ 7768 h 205740"/>
                <a:gd name="connsiteX77" fmla="*/ 185822 w 266700"/>
                <a:gd name="connsiteY77" fmla="*/ 7133 h 205740"/>
                <a:gd name="connsiteX78" fmla="*/ 180742 w 266700"/>
                <a:gd name="connsiteY78" fmla="*/ 5863 h 205740"/>
                <a:gd name="connsiteX79" fmla="*/ 178837 w 266700"/>
                <a:gd name="connsiteY79" fmla="*/ 5228 h 205740"/>
                <a:gd name="connsiteX80" fmla="*/ 171852 w 266700"/>
                <a:gd name="connsiteY80" fmla="*/ 3323 h 205740"/>
                <a:gd name="connsiteX81" fmla="*/ 171217 w 266700"/>
                <a:gd name="connsiteY81" fmla="*/ 3323 h 205740"/>
                <a:gd name="connsiteX82" fmla="*/ 164867 w 266700"/>
                <a:gd name="connsiteY82" fmla="*/ 2053 h 205740"/>
                <a:gd name="connsiteX83" fmla="*/ 162327 w 266700"/>
                <a:gd name="connsiteY83" fmla="*/ 1418 h 205740"/>
                <a:gd name="connsiteX84" fmla="*/ 157247 w 266700"/>
                <a:gd name="connsiteY84" fmla="*/ 783 h 205740"/>
                <a:gd name="connsiteX85" fmla="*/ 154707 w 266700"/>
                <a:gd name="connsiteY85" fmla="*/ 148 h 205740"/>
                <a:gd name="connsiteX86" fmla="*/ 149627 w 266700"/>
                <a:gd name="connsiteY86" fmla="*/ -487 h 205740"/>
                <a:gd name="connsiteX87" fmla="*/ 147087 w 266700"/>
                <a:gd name="connsiteY87" fmla="*/ -487 h 205740"/>
                <a:gd name="connsiteX88" fmla="*/ 142007 w 266700"/>
                <a:gd name="connsiteY88" fmla="*/ -1122 h 205740"/>
                <a:gd name="connsiteX89" fmla="*/ 139467 w 266700"/>
                <a:gd name="connsiteY89" fmla="*/ -1122 h 205740"/>
                <a:gd name="connsiteX90" fmla="*/ 131847 w 266700"/>
                <a:gd name="connsiteY90" fmla="*/ -1122 h 205740"/>
                <a:gd name="connsiteX91" fmla="*/ 124227 w 266700"/>
                <a:gd name="connsiteY91" fmla="*/ -1122 h 205740"/>
                <a:gd name="connsiteX92" fmla="*/ 121687 w 266700"/>
                <a:gd name="connsiteY92" fmla="*/ -1122 h 205740"/>
                <a:gd name="connsiteX93" fmla="*/ 116607 w 266700"/>
                <a:gd name="connsiteY93" fmla="*/ -487 h 205740"/>
                <a:gd name="connsiteX94" fmla="*/ 114067 w 266700"/>
                <a:gd name="connsiteY94" fmla="*/ -487 h 205740"/>
                <a:gd name="connsiteX95" fmla="*/ 109622 w 266700"/>
                <a:gd name="connsiteY95" fmla="*/ 148 h 205740"/>
                <a:gd name="connsiteX96" fmla="*/ 107082 w 266700"/>
                <a:gd name="connsiteY96" fmla="*/ 783 h 205740"/>
                <a:gd name="connsiteX97" fmla="*/ 102637 w 266700"/>
                <a:gd name="connsiteY97" fmla="*/ 1418 h 205740"/>
                <a:gd name="connsiteX98" fmla="*/ 100097 w 266700"/>
                <a:gd name="connsiteY98" fmla="*/ 2053 h 205740"/>
                <a:gd name="connsiteX99" fmla="*/ 95017 w 266700"/>
                <a:gd name="connsiteY99" fmla="*/ 3323 h 205740"/>
                <a:gd name="connsiteX100" fmla="*/ 93112 w 266700"/>
                <a:gd name="connsiteY100" fmla="*/ 3958 h 205740"/>
                <a:gd name="connsiteX101" fmla="*/ 72792 w 266700"/>
                <a:gd name="connsiteY101" fmla="*/ 10308 h 205740"/>
                <a:gd name="connsiteX102" fmla="*/ 72157 w 266700"/>
                <a:gd name="connsiteY102" fmla="*/ 10943 h 205740"/>
                <a:gd name="connsiteX103" fmla="*/ 66442 w 266700"/>
                <a:gd name="connsiteY103" fmla="*/ 13483 h 205740"/>
                <a:gd name="connsiteX104" fmla="*/ 65172 w 266700"/>
                <a:gd name="connsiteY104" fmla="*/ 14118 h 205740"/>
                <a:gd name="connsiteX105" fmla="*/ 60092 w 266700"/>
                <a:gd name="connsiteY105" fmla="*/ 16658 h 205740"/>
                <a:gd name="connsiteX106" fmla="*/ 59457 w 266700"/>
                <a:gd name="connsiteY106" fmla="*/ 17293 h 205740"/>
                <a:gd name="connsiteX107" fmla="*/ 53742 w 266700"/>
                <a:gd name="connsiteY107" fmla="*/ 20468 h 205740"/>
                <a:gd name="connsiteX108" fmla="*/ 53742 w 266700"/>
                <a:gd name="connsiteY108" fmla="*/ 20468 h 205740"/>
                <a:gd name="connsiteX109" fmla="*/ 23262 w 266700"/>
                <a:gd name="connsiteY109" fmla="*/ 43963 h 205740"/>
                <a:gd name="connsiteX110" fmla="*/ 19452 w 266700"/>
                <a:gd name="connsiteY110" fmla="*/ 47773 h 205740"/>
                <a:gd name="connsiteX111" fmla="*/ 19452 w 266700"/>
                <a:gd name="connsiteY111" fmla="*/ 47773 h 205740"/>
                <a:gd name="connsiteX112" fmla="*/ 16277 w 266700"/>
                <a:gd name="connsiteY112" fmla="*/ 52218 h 205740"/>
                <a:gd name="connsiteX113" fmla="*/ 16277 w 266700"/>
                <a:gd name="connsiteY113" fmla="*/ 52218 h 205740"/>
                <a:gd name="connsiteX114" fmla="*/ 13102 w 266700"/>
                <a:gd name="connsiteY114" fmla="*/ 56663 h 205740"/>
                <a:gd name="connsiteX115" fmla="*/ 13102 w 266700"/>
                <a:gd name="connsiteY115" fmla="*/ 56663 h 205740"/>
                <a:gd name="connsiteX116" fmla="*/ 13102 w 266700"/>
                <a:gd name="connsiteY116" fmla="*/ 56663 h 205740"/>
                <a:gd name="connsiteX117" fmla="*/ 7387 w 266700"/>
                <a:gd name="connsiteY117" fmla="*/ 66188 h 205740"/>
                <a:gd name="connsiteX118" fmla="*/ 6117 w 266700"/>
                <a:gd name="connsiteY118" fmla="*/ 69363 h 205740"/>
                <a:gd name="connsiteX119" fmla="*/ 6117 w 266700"/>
                <a:gd name="connsiteY119" fmla="*/ 69998 h 205740"/>
                <a:gd name="connsiteX120" fmla="*/ 6117 w 266700"/>
                <a:gd name="connsiteY120" fmla="*/ 70633 h 205740"/>
                <a:gd name="connsiteX121" fmla="*/ 4847 w 266700"/>
                <a:gd name="connsiteY121" fmla="*/ 73808 h 205740"/>
                <a:gd name="connsiteX122" fmla="*/ 3577 w 266700"/>
                <a:gd name="connsiteY122" fmla="*/ 76983 h 205740"/>
                <a:gd name="connsiteX123" fmla="*/ 3577 w 266700"/>
                <a:gd name="connsiteY123" fmla="*/ 76983 h 205740"/>
                <a:gd name="connsiteX124" fmla="*/ -868 w 266700"/>
                <a:gd name="connsiteY124" fmla="*/ 103018 h 205740"/>
                <a:gd name="connsiteX125" fmla="*/ 2307 w 266700"/>
                <a:gd name="connsiteY125" fmla="*/ 125243 h 205740"/>
                <a:gd name="connsiteX126" fmla="*/ 4847 w 266700"/>
                <a:gd name="connsiteY126" fmla="*/ 133498 h 205740"/>
                <a:gd name="connsiteX127" fmla="*/ 4847 w 266700"/>
                <a:gd name="connsiteY127" fmla="*/ 134133 h 205740"/>
                <a:gd name="connsiteX128" fmla="*/ 6752 w 266700"/>
                <a:gd name="connsiteY128" fmla="*/ 138578 h 205740"/>
                <a:gd name="connsiteX129" fmla="*/ 7387 w 266700"/>
                <a:gd name="connsiteY129" fmla="*/ 139848 h 205740"/>
                <a:gd name="connsiteX130" fmla="*/ 8657 w 266700"/>
                <a:gd name="connsiteY130" fmla="*/ 143023 h 205740"/>
                <a:gd name="connsiteX131" fmla="*/ 9927 w 266700"/>
                <a:gd name="connsiteY131" fmla="*/ 144928 h 205740"/>
                <a:gd name="connsiteX132" fmla="*/ 11197 w 266700"/>
                <a:gd name="connsiteY132" fmla="*/ 147468 h 205740"/>
                <a:gd name="connsiteX133" fmla="*/ 12467 w 266700"/>
                <a:gd name="connsiteY133" fmla="*/ 149373 h 205740"/>
                <a:gd name="connsiteX134" fmla="*/ 14372 w 266700"/>
                <a:gd name="connsiteY134" fmla="*/ 151913 h 205740"/>
                <a:gd name="connsiteX135" fmla="*/ 16277 w 266700"/>
                <a:gd name="connsiteY135" fmla="*/ 154453 h 205740"/>
                <a:gd name="connsiteX136" fmla="*/ 18182 w 266700"/>
                <a:gd name="connsiteY136" fmla="*/ 156993 h 205740"/>
                <a:gd name="connsiteX137" fmla="*/ 20087 w 266700"/>
                <a:gd name="connsiteY137" fmla="*/ 158898 h 205740"/>
                <a:gd name="connsiteX138" fmla="*/ 21357 w 266700"/>
                <a:gd name="connsiteY138" fmla="*/ 160803 h 205740"/>
                <a:gd name="connsiteX139" fmla="*/ 23262 w 266700"/>
                <a:gd name="connsiteY139" fmla="*/ 162708 h 205740"/>
                <a:gd name="connsiteX140" fmla="*/ 24532 w 266700"/>
                <a:gd name="connsiteY140" fmla="*/ 163978 h 205740"/>
                <a:gd name="connsiteX141" fmla="*/ 32152 w 266700"/>
                <a:gd name="connsiteY141" fmla="*/ 170963 h 205740"/>
                <a:gd name="connsiteX142" fmla="*/ 33422 w 266700"/>
                <a:gd name="connsiteY142" fmla="*/ 172233 h 205740"/>
                <a:gd name="connsiteX143" fmla="*/ 35962 w 266700"/>
                <a:gd name="connsiteY143" fmla="*/ 174138 h 205740"/>
                <a:gd name="connsiteX144" fmla="*/ 37232 w 266700"/>
                <a:gd name="connsiteY144" fmla="*/ 174773 h 205740"/>
                <a:gd name="connsiteX145" fmla="*/ 47392 w 266700"/>
                <a:gd name="connsiteY145" fmla="*/ 181758 h 205740"/>
                <a:gd name="connsiteX146" fmla="*/ 47392 w 266700"/>
                <a:gd name="connsiteY146" fmla="*/ 181758 h 205740"/>
                <a:gd name="connsiteX147" fmla="*/ 50567 w 266700"/>
                <a:gd name="connsiteY147" fmla="*/ 183663 h 205740"/>
                <a:gd name="connsiteX148" fmla="*/ 51202 w 266700"/>
                <a:gd name="connsiteY148" fmla="*/ 184298 h 205740"/>
                <a:gd name="connsiteX149" fmla="*/ 67077 w 266700"/>
                <a:gd name="connsiteY149" fmla="*/ 192553 h 205740"/>
                <a:gd name="connsiteX150" fmla="*/ 67077 w 266700"/>
                <a:gd name="connsiteY150" fmla="*/ 192553 h 205740"/>
                <a:gd name="connsiteX151" fmla="*/ 84857 w 266700"/>
                <a:gd name="connsiteY151" fmla="*/ 198903 h 205740"/>
                <a:gd name="connsiteX152" fmla="*/ 84857 w 266700"/>
                <a:gd name="connsiteY152" fmla="*/ 198903 h 205740"/>
                <a:gd name="connsiteX153" fmla="*/ 84857 w 266700"/>
                <a:gd name="connsiteY153" fmla="*/ 198903 h 205740"/>
                <a:gd name="connsiteX154" fmla="*/ 90572 w 266700"/>
                <a:gd name="connsiteY154" fmla="*/ 200173 h 205740"/>
                <a:gd name="connsiteX155" fmla="*/ 91207 w 266700"/>
                <a:gd name="connsiteY155" fmla="*/ 200173 h 205740"/>
                <a:gd name="connsiteX156" fmla="*/ 96287 w 266700"/>
                <a:gd name="connsiteY156" fmla="*/ 201443 h 205740"/>
                <a:gd name="connsiteX157" fmla="*/ 96922 w 266700"/>
                <a:gd name="connsiteY157" fmla="*/ 201443 h 205740"/>
                <a:gd name="connsiteX158" fmla="*/ 102002 w 266700"/>
                <a:gd name="connsiteY158" fmla="*/ 202713 h 205740"/>
                <a:gd name="connsiteX159" fmla="*/ 103272 w 266700"/>
                <a:gd name="connsiteY159" fmla="*/ 202713 h 205740"/>
                <a:gd name="connsiteX160" fmla="*/ 107717 w 266700"/>
                <a:gd name="connsiteY160" fmla="*/ 203348 h 205740"/>
                <a:gd name="connsiteX161" fmla="*/ 109622 w 266700"/>
                <a:gd name="connsiteY161" fmla="*/ 203348 h 205740"/>
                <a:gd name="connsiteX162" fmla="*/ 114067 w 266700"/>
                <a:gd name="connsiteY162" fmla="*/ 203983 h 205740"/>
                <a:gd name="connsiteX163" fmla="*/ 116607 w 266700"/>
                <a:gd name="connsiteY163" fmla="*/ 203983 h 205740"/>
                <a:gd name="connsiteX164" fmla="*/ 120417 w 266700"/>
                <a:gd name="connsiteY164" fmla="*/ 204618 h 205740"/>
                <a:gd name="connsiteX165" fmla="*/ 124227 w 266700"/>
                <a:gd name="connsiteY165" fmla="*/ 204618 h 205740"/>
                <a:gd name="connsiteX166" fmla="*/ 126767 w 266700"/>
                <a:gd name="connsiteY166" fmla="*/ 204618 h 205740"/>
                <a:gd name="connsiteX167" fmla="*/ 133117 w 266700"/>
                <a:gd name="connsiteY167" fmla="*/ 204618 h 205740"/>
                <a:gd name="connsiteX168" fmla="*/ 139467 w 266700"/>
                <a:gd name="connsiteY168" fmla="*/ 204618 h 205740"/>
                <a:gd name="connsiteX169" fmla="*/ 142007 w 266700"/>
                <a:gd name="connsiteY169" fmla="*/ 204618 h 205740"/>
                <a:gd name="connsiteX170" fmla="*/ 146452 w 266700"/>
                <a:gd name="connsiteY170" fmla="*/ 204618 h 205740"/>
                <a:gd name="connsiteX171" fmla="*/ 148992 w 266700"/>
                <a:gd name="connsiteY171" fmla="*/ 204618 h 205740"/>
                <a:gd name="connsiteX172" fmla="*/ 150897 w 266700"/>
                <a:gd name="connsiteY172" fmla="*/ 202078 h 205740"/>
                <a:gd name="connsiteX173" fmla="*/ 131847 w 266700"/>
                <a:gd name="connsiteY173" fmla="*/ 195728 h 205740"/>
                <a:gd name="connsiteX174" fmla="*/ 5482 w 266700"/>
                <a:gd name="connsiteY174" fmla="*/ 99843 h 205740"/>
                <a:gd name="connsiteX175" fmla="*/ 131847 w 266700"/>
                <a:gd name="connsiteY175" fmla="*/ 3958 h 205740"/>
                <a:gd name="connsiteX176" fmla="*/ 254402 w 266700"/>
                <a:gd name="connsiteY176" fmla="*/ 75713 h 205740"/>
                <a:gd name="connsiteX177" fmla="*/ 258212 w 266700"/>
                <a:gd name="connsiteY177" fmla="*/ 97303 h 205740"/>
                <a:gd name="connsiteX178" fmla="*/ 258212 w 266700"/>
                <a:gd name="connsiteY178" fmla="*/ 99208 h 205740"/>
                <a:gd name="connsiteX179" fmla="*/ 256307 w 266700"/>
                <a:gd name="connsiteY179" fmla="*/ 115083 h 205740"/>
                <a:gd name="connsiteX180" fmla="*/ 250592 w 266700"/>
                <a:gd name="connsiteY180" fmla="*/ 131593 h 205740"/>
                <a:gd name="connsiteX181" fmla="*/ 131847 w 266700"/>
                <a:gd name="connsiteY181" fmla="*/ 195728 h 20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266700" h="205740">
                  <a:moveTo>
                    <a:pt x="150897" y="202078"/>
                  </a:moveTo>
                  <a:cubicBezTo>
                    <a:pt x="152167" y="202078"/>
                    <a:pt x="152802" y="202078"/>
                    <a:pt x="154072" y="201443"/>
                  </a:cubicBezTo>
                  <a:cubicBezTo>
                    <a:pt x="155342" y="201443"/>
                    <a:pt x="155977" y="201443"/>
                    <a:pt x="157247" y="200808"/>
                  </a:cubicBezTo>
                  <a:cubicBezTo>
                    <a:pt x="158517" y="200808"/>
                    <a:pt x="159152" y="200173"/>
                    <a:pt x="160422" y="200173"/>
                  </a:cubicBezTo>
                  <a:cubicBezTo>
                    <a:pt x="161692" y="200173"/>
                    <a:pt x="162327" y="199538"/>
                    <a:pt x="163597" y="199538"/>
                  </a:cubicBezTo>
                  <a:cubicBezTo>
                    <a:pt x="164867" y="199538"/>
                    <a:pt x="165502" y="198903"/>
                    <a:pt x="166772" y="198903"/>
                  </a:cubicBezTo>
                  <a:cubicBezTo>
                    <a:pt x="167407" y="198903"/>
                    <a:pt x="168677" y="198268"/>
                    <a:pt x="169312" y="198268"/>
                  </a:cubicBezTo>
                  <a:cubicBezTo>
                    <a:pt x="170582" y="198268"/>
                    <a:pt x="171217" y="197633"/>
                    <a:pt x="172487" y="197633"/>
                  </a:cubicBezTo>
                  <a:cubicBezTo>
                    <a:pt x="173122" y="197633"/>
                    <a:pt x="173757" y="196998"/>
                    <a:pt x="175027" y="196998"/>
                  </a:cubicBezTo>
                  <a:cubicBezTo>
                    <a:pt x="176297" y="196998"/>
                    <a:pt x="177567" y="196363"/>
                    <a:pt x="178837" y="196363"/>
                  </a:cubicBezTo>
                  <a:lnTo>
                    <a:pt x="178837" y="196363"/>
                  </a:lnTo>
                  <a:cubicBezTo>
                    <a:pt x="180742" y="195728"/>
                    <a:pt x="182012" y="195093"/>
                    <a:pt x="183917" y="195093"/>
                  </a:cubicBezTo>
                  <a:cubicBezTo>
                    <a:pt x="184552" y="195093"/>
                    <a:pt x="185822" y="194458"/>
                    <a:pt x="186457" y="194458"/>
                  </a:cubicBezTo>
                  <a:cubicBezTo>
                    <a:pt x="187092" y="194458"/>
                    <a:pt x="188362" y="193823"/>
                    <a:pt x="188997" y="193823"/>
                  </a:cubicBezTo>
                  <a:cubicBezTo>
                    <a:pt x="189632" y="193188"/>
                    <a:pt x="190902" y="193188"/>
                    <a:pt x="191537" y="192553"/>
                  </a:cubicBezTo>
                  <a:cubicBezTo>
                    <a:pt x="192172" y="191918"/>
                    <a:pt x="193442" y="191918"/>
                    <a:pt x="194077" y="191283"/>
                  </a:cubicBezTo>
                  <a:cubicBezTo>
                    <a:pt x="194712" y="190648"/>
                    <a:pt x="195982" y="190648"/>
                    <a:pt x="196617" y="190013"/>
                  </a:cubicBezTo>
                  <a:cubicBezTo>
                    <a:pt x="197887" y="189378"/>
                    <a:pt x="198522" y="188743"/>
                    <a:pt x="199792" y="188743"/>
                  </a:cubicBezTo>
                  <a:cubicBezTo>
                    <a:pt x="201062" y="188108"/>
                    <a:pt x="202332" y="187473"/>
                    <a:pt x="202967" y="186838"/>
                  </a:cubicBezTo>
                  <a:cubicBezTo>
                    <a:pt x="203602" y="186203"/>
                    <a:pt x="204872" y="186203"/>
                    <a:pt x="205507" y="185568"/>
                  </a:cubicBezTo>
                  <a:cubicBezTo>
                    <a:pt x="206142" y="184933"/>
                    <a:pt x="206777" y="184933"/>
                    <a:pt x="208047" y="184298"/>
                  </a:cubicBezTo>
                  <a:cubicBezTo>
                    <a:pt x="208682" y="183663"/>
                    <a:pt x="209952" y="183663"/>
                    <a:pt x="210587" y="183028"/>
                  </a:cubicBezTo>
                  <a:cubicBezTo>
                    <a:pt x="211222" y="182393"/>
                    <a:pt x="211857" y="182393"/>
                    <a:pt x="213127" y="181758"/>
                  </a:cubicBezTo>
                  <a:cubicBezTo>
                    <a:pt x="213762" y="181123"/>
                    <a:pt x="215032" y="180488"/>
                    <a:pt x="215667" y="180488"/>
                  </a:cubicBezTo>
                  <a:cubicBezTo>
                    <a:pt x="216302" y="179853"/>
                    <a:pt x="216937" y="179853"/>
                    <a:pt x="217572" y="179218"/>
                  </a:cubicBezTo>
                  <a:cubicBezTo>
                    <a:pt x="218842" y="178583"/>
                    <a:pt x="220112" y="177313"/>
                    <a:pt x="221382" y="176678"/>
                  </a:cubicBezTo>
                  <a:cubicBezTo>
                    <a:pt x="222017" y="176043"/>
                    <a:pt x="222652" y="176043"/>
                    <a:pt x="223287" y="175408"/>
                  </a:cubicBezTo>
                  <a:cubicBezTo>
                    <a:pt x="223922" y="174773"/>
                    <a:pt x="225192" y="174138"/>
                    <a:pt x="225827" y="173503"/>
                  </a:cubicBezTo>
                  <a:cubicBezTo>
                    <a:pt x="226462" y="172868"/>
                    <a:pt x="227097" y="172868"/>
                    <a:pt x="227732" y="172233"/>
                  </a:cubicBezTo>
                  <a:cubicBezTo>
                    <a:pt x="228367" y="171598"/>
                    <a:pt x="229002" y="170963"/>
                    <a:pt x="230272" y="170328"/>
                  </a:cubicBezTo>
                  <a:cubicBezTo>
                    <a:pt x="230907" y="169693"/>
                    <a:pt x="231542" y="169693"/>
                    <a:pt x="232177" y="169058"/>
                  </a:cubicBezTo>
                  <a:cubicBezTo>
                    <a:pt x="233447" y="168423"/>
                    <a:pt x="234082" y="167153"/>
                    <a:pt x="235352" y="166518"/>
                  </a:cubicBezTo>
                  <a:cubicBezTo>
                    <a:pt x="235987" y="165883"/>
                    <a:pt x="236622" y="165883"/>
                    <a:pt x="236622" y="165248"/>
                  </a:cubicBezTo>
                  <a:cubicBezTo>
                    <a:pt x="237257" y="164613"/>
                    <a:pt x="238527" y="163343"/>
                    <a:pt x="239162" y="162708"/>
                  </a:cubicBezTo>
                  <a:cubicBezTo>
                    <a:pt x="239797" y="162073"/>
                    <a:pt x="239797" y="161438"/>
                    <a:pt x="240432" y="161438"/>
                  </a:cubicBezTo>
                  <a:cubicBezTo>
                    <a:pt x="241067" y="160803"/>
                    <a:pt x="241702" y="160168"/>
                    <a:pt x="242337" y="158898"/>
                  </a:cubicBezTo>
                  <a:cubicBezTo>
                    <a:pt x="242972" y="158263"/>
                    <a:pt x="242972" y="157628"/>
                    <a:pt x="243607" y="157628"/>
                  </a:cubicBezTo>
                  <a:cubicBezTo>
                    <a:pt x="244242" y="156993"/>
                    <a:pt x="244877" y="155723"/>
                    <a:pt x="245512" y="155088"/>
                  </a:cubicBezTo>
                  <a:cubicBezTo>
                    <a:pt x="245512" y="154453"/>
                    <a:pt x="246147" y="154453"/>
                    <a:pt x="246782" y="153818"/>
                  </a:cubicBezTo>
                  <a:cubicBezTo>
                    <a:pt x="248052" y="152548"/>
                    <a:pt x="248687" y="151278"/>
                    <a:pt x="249957" y="150008"/>
                  </a:cubicBezTo>
                  <a:cubicBezTo>
                    <a:pt x="249957" y="149373"/>
                    <a:pt x="250592" y="149373"/>
                    <a:pt x="250592" y="148738"/>
                  </a:cubicBezTo>
                  <a:cubicBezTo>
                    <a:pt x="251227" y="148103"/>
                    <a:pt x="251862" y="146833"/>
                    <a:pt x="252497" y="146198"/>
                  </a:cubicBezTo>
                  <a:cubicBezTo>
                    <a:pt x="252497" y="145563"/>
                    <a:pt x="253132" y="144928"/>
                    <a:pt x="253132" y="144928"/>
                  </a:cubicBezTo>
                  <a:cubicBezTo>
                    <a:pt x="253767" y="144293"/>
                    <a:pt x="254402" y="143023"/>
                    <a:pt x="255037" y="142388"/>
                  </a:cubicBezTo>
                  <a:cubicBezTo>
                    <a:pt x="255037" y="141753"/>
                    <a:pt x="255672" y="141753"/>
                    <a:pt x="255672" y="141118"/>
                  </a:cubicBezTo>
                  <a:cubicBezTo>
                    <a:pt x="256307" y="139848"/>
                    <a:pt x="256942" y="138578"/>
                    <a:pt x="257577" y="137308"/>
                  </a:cubicBezTo>
                  <a:cubicBezTo>
                    <a:pt x="257577" y="137308"/>
                    <a:pt x="257577" y="137308"/>
                    <a:pt x="257577" y="136673"/>
                  </a:cubicBezTo>
                  <a:cubicBezTo>
                    <a:pt x="258212" y="135403"/>
                    <a:pt x="258847" y="134133"/>
                    <a:pt x="259482" y="132863"/>
                  </a:cubicBezTo>
                  <a:cubicBezTo>
                    <a:pt x="259482" y="132863"/>
                    <a:pt x="259482" y="132228"/>
                    <a:pt x="260117" y="132228"/>
                  </a:cubicBezTo>
                  <a:cubicBezTo>
                    <a:pt x="263927" y="122703"/>
                    <a:pt x="265832" y="112543"/>
                    <a:pt x="265832" y="101748"/>
                  </a:cubicBezTo>
                  <a:cubicBezTo>
                    <a:pt x="265832" y="90953"/>
                    <a:pt x="263927" y="80793"/>
                    <a:pt x="260117" y="71268"/>
                  </a:cubicBezTo>
                  <a:cubicBezTo>
                    <a:pt x="260117" y="71268"/>
                    <a:pt x="260117" y="70633"/>
                    <a:pt x="259482" y="70633"/>
                  </a:cubicBezTo>
                  <a:cubicBezTo>
                    <a:pt x="258847" y="69363"/>
                    <a:pt x="258212" y="68093"/>
                    <a:pt x="257577" y="66823"/>
                  </a:cubicBezTo>
                  <a:cubicBezTo>
                    <a:pt x="257577" y="66188"/>
                    <a:pt x="256942" y="66188"/>
                    <a:pt x="256942" y="65553"/>
                  </a:cubicBezTo>
                  <a:cubicBezTo>
                    <a:pt x="256307" y="64283"/>
                    <a:pt x="255672" y="63013"/>
                    <a:pt x="255037" y="61743"/>
                  </a:cubicBezTo>
                  <a:cubicBezTo>
                    <a:pt x="255037" y="61108"/>
                    <a:pt x="254402" y="61108"/>
                    <a:pt x="254402" y="60473"/>
                  </a:cubicBezTo>
                  <a:cubicBezTo>
                    <a:pt x="253767" y="59203"/>
                    <a:pt x="253132" y="58568"/>
                    <a:pt x="252497" y="57298"/>
                  </a:cubicBezTo>
                  <a:cubicBezTo>
                    <a:pt x="248687" y="50948"/>
                    <a:pt x="244242" y="45233"/>
                    <a:pt x="239162" y="40153"/>
                  </a:cubicBezTo>
                  <a:cubicBezTo>
                    <a:pt x="239162" y="40153"/>
                    <a:pt x="239162" y="40153"/>
                    <a:pt x="239162" y="40153"/>
                  </a:cubicBezTo>
                  <a:lnTo>
                    <a:pt x="239162" y="40153"/>
                  </a:lnTo>
                  <a:cubicBezTo>
                    <a:pt x="237892" y="38883"/>
                    <a:pt x="235987" y="36978"/>
                    <a:pt x="234717" y="35708"/>
                  </a:cubicBezTo>
                  <a:cubicBezTo>
                    <a:pt x="234717" y="35708"/>
                    <a:pt x="234717" y="35708"/>
                    <a:pt x="234717" y="35708"/>
                  </a:cubicBezTo>
                  <a:cubicBezTo>
                    <a:pt x="233447" y="34438"/>
                    <a:pt x="231542" y="33168"/>
                    <a:pt x="230272" y="31898"/>
                  </a:cubicBezTo>
                  <a:cubicBezTo>
                    <a:pt x="229637" y="31898"/>
                    <a:pt x="229637" y="31263"/>
                    <a:pt x="229002" y="31263"/>
                  </a:cubicBezTo>
                  <a:cubicBezTo>
                    <a:pt x="227732" y="29993"/>
                    <a:pt x="226462" y="29358"/>
                    <a:pt x="225192" y="28088"/>
                  </a:cubicBezTo>
                  <a:cubicBezTo>
                    <a:pt x="224557" y="27453"/>
                    <a:pt x="224557" y="27453"/>
                    <a:pt x="223922" y="26818"/>
                  </a:cubicBezTo>
                  <a:cubicBezTo>
                    <a:pt x="222652" y="25548"/>
                    <a:pt x="221382" y="24913"/>
                    <a:pt x="219477" y="23643"/>
                  </a:cubicBezTo>
                  <a:cubicBezTo>
                    <a:pt x="218842" y="23643"/>
                    <a:pt x="218842" y="23008"/>
                    <a:pt x="218207" y="23008"/>
                  </a:cubicBezTo>
                  <a:cubicBezTo>
                    <a:pt x="216302" y="21738"/>
                    <a:pt x="215032" y="21103"/>
                    <a:pt x="213127" y="19833"/>
                  </a:cubicBezTo>
                  <a:cubicBezTo>
                    <a:pt x="213127" y="19833"/>
                    <a:pt x="212492" y="19833"/>
                    <a:pt x="212492" y="19198"/>
                  </a:cubicBezTo>
                  <a:cubicBezTo>
                    <a:pt x="210587" y="17928"/>
                    <a:pt x="208682" y="16658"/>
                    <a:pt x="206142" y="16023"/>
                  </a:cubicBezTo>
                  <a:cubicBezTo>
                    <a:pt x="206142" y="16023"/>
                    <a:pt x="206142" y="16023"/>
                    <a:pt x="206142" y="16023"/>
                  </a:cubicBezTo>
                  <a:cubicBezTo>
                    <a:pt x="204237" y="14753"/>
                    <a:pt x="202332" y="14118"/>
                    <a:pt x="200427" y="12848"/>
                  </a:cubicBezTo>
                  <a:cubicBezTo>
                    <a:pt x="199792" y="12848"/>
                    <a:pt x="199157" y="12213"/>
                    <a:pt x="198522" y="12213"/>
                  </a:cubicBezTo>
                  <a:cubicBezTo>
                    <a:pt x="197252" y="11578"/>
                    <a:pt x="195347" y="10943"/>
                    <a:pt x="194077" y="10308"/>
                  </a:cubicBezTo>
                  <a:cubicBezTo>
                    <a:pt x="193442" y="10308"/>
                    <a:pt x="192807" y="9673"/>
                    <a:pt x="192172" y="9673"/>
                  </a:cubicBezTo>
                  <a:cubicBezTo>
                    <a:pt x="190902" y="9038"/>
                    <a:pt x="188997" y="8403"/>
                    <a:pt x="187727" y="7768"/>
                  </a:cubicBezTo>
                  <a:cubicBezTo>
                    <a:pt x="187092" y="7768"/>
                    <a:pt x="186457" y="7133"/>
                    <a:pt x="185822" y="7133"/>
                  </a:cubicBezTo>
                  <a:cubicBezTo>
                    <a:pt x="183917" y="6498"/>
                    <a:pt x="182647" y="5863"/>
                    <a:pt x="180742" y="5863"/>
                  </a:cubicBezTo>
                  <a:cubicBezTo>
                    <a:pt x="180107" y="5863"/>
                    <a:pt x="179472" y="5228"/>
                    <a:pt x="178837" y="5228"/>
                  </a:cubicBezTo>
                  <a:cubicBezTo>
                    <a:pt x="176297" y="4593"/>
                    <a:pt x="174392" y="3958"/>
                    <a:pt x="171852" y="3323"/>
                  </a:cubicBezTo>
                  <a:cubicBezTo>
                    <a:pt x="171852" y="3323"/>
                    <a:pt x="171217" y="3323"/>
                    <a:pt x="171217" y="3323"/>
                  </a:cubicBezTo>
                  <a:cubicBezTo>
                    <a:pt x="169312" y="2688"/>
                    <a:pt x="166772" y="2053"/>
                    <a:pt x="164867" y="2053"/>
                  </a:cubicBezTo>
                  <a:cubicBezTo>
                    <a:pt x="164232" y="2053"/>
                    <a:pt x="163597" y="2053"/>
                    <a:pt x="162327" y="1418"/>
                  </a:cubicBezTo>
                  <a:cubicBezTo>
                    <a:pt x="160422" y="1418"/>
                    <a:pt x="159152" y="783"/>
                    <a:pt x="157247" y="783"/>
                  </a:cubicBezTo>
                  <a:cubicBezTo>
                    <a:pt x="156612" y="783"/>
                    <a:pt x="155342" y="783"/>
                    <a:pt x="154707" y="148"/>
                  </a:cubicBezTo>
                  <a:cubicBezTo>
                    <a:pt x="152802" y="148"/>
                    <a:pt x="151532" y="-487"/>
                    <a:pt x="149627" y="-487"/>
                  </a:cubicBezTo>
                  <a:cubicBezTo>
                    <a:pt x="148992" y="-487"/>
                    <a:pt x="147722" y="-487"/>
                    <a:pt x="147087" y="-487"/>
                  </a:cubicBezTo>
                  <a:cubicBezTo>
                    <a:pt x="145182" y="-487"/>
                    <a:pt x="143912" y="-487"/>
                    <a:pt x="142007" y="-1122"/>
                  </a:cubicBezTo>
                  <a:cubicBezTo>
                    <a:pt x="141372" y="-1122"/>
                    <a:pt x="140102" y="-1122"/>
                    <a:pt x="139467" y="-1122"/>
                  </a:cubicBezTo>
                  <a:cubicBezTo>
                    <a:pt x="136927" y="-1122"/>
                    <a:pt x="134387" y="-1122"/>
                    <a:pt x="131847" y="-1122"/>
                  </a:cubicBezTo>
                  <a:cubicBezTo>
                    <a:pt x="129307" y="-1122"/>
                    <a:pt x="126767" y="-1122"/>
                    <a:pt x="124227" y="-1122"/>
                  </a:cubicBezTo>
                  <a:cubicBezTo>
                    <a:pt x="123592" y="-1122"/>
                    <a:pt x="122322" y="-1122"/>
                    <a:pt x="121687" y="-1122"/>
                  </a:cubicBezTo>
                  <a:cubicBezTo>
                    <a:pt x="119782" y="-1122"/>
                    <a:pt x="118512" y="-1122"/>
                    <a:pt x="116607" y="-487"/>
                  </a:cubicBezTo>
                  <a:cubicBezTo>
                    <a:pt x="115972" y="-487"/>
                    <a:pt x="114702" y="-487"/>
                    <a:pt x="114067" y="-487"/>
                  </a:cubicBezTo>
                  <a:cubicBezTo>
                    <a:pt x="112797" y="-487"/>
                    <a:pt x="110892" y="148"/>
                    <a:pt x="109622" y="148"/>
                  </a:cubicBezTo>
                  <a:cubicBezTo>
                    <a:pt x="108987" y="148"/>
                    <a:pt x="107717" y="148"/>
                    <a:pt x="107082" y="783"/>
                  </a:cubicBezTo>
                  <a:cubicBezTo>
                    <a:pt x="105812" y="783"/>
                    <a:pt x="103907" y="1418"/>
                    <a:pt x="102637" y="1418"/>
                  </a:cubicBezTo>
                  <a:cubicBezTo>
                    <a:pt x="102002" y="1418"/>
                    <a:pt x="100732" y="1418"/>
                    <a:pt x="100097" y="2053"/>
                  </a:cubicBezTo>
                  <a:cubicBezTo>
                    <a:pt x="98192" y="2053"/>
                    <a:pt x="96922" y="2688"/>
                    <a:pt x="95017" y="3323"/>
                  </a:cubicBezTo>
                  <a:cubicBezTo>
                    <a:pt x="94382" y="3323"/>
                    <a:pt x="93747" y="3323"/>
                    <a:pt x="93112" y="3958"/>
                  </a:cubicBezTo>
                  <a:cubicBezTo>
                    <a:pt x="86127" y="5863"/>
                    <a:pt x="79142" y="7768"/>
                    <a:pt x="72792" y="10308"/>
                  </a:cubicBezTo>
                  <a:cubicBezTo>
                    <a:pt x="72792" y="10308"/>
                    <a:pt x="72157" y="10308"/>
                    <a:pt x="72157" y="10943"/>
                  </a:cubicBezTo>
                  <a:cubicBezTo>
                    <a:pt x="70252" y="11578"/>
                    <a:pt x="68347" y="12213"/>
                    <a:pt x="66442" y="13483"/>
                  </a:cubicBezTo>
                  <a:cubicBezTo>
                    <a:pt x="65807" y="13483"/>
                    <a:pt x="65807" y="13483"/>
                    <a:pt x="65172" y="14118"/>
                  </a:cubicBezTo>
                  <a:cubicBezTo>
                    <a:pt x="63267" y="14753"/>
                    <a:pt x="61362" y="16023"/>
                    <a:pt x="60092" y="16658"/>
                  </a:cubicBezTo>
                  <a:cubicBezTo>
                    <a:pt x="60092" y="16658"/>
                    <a:pt x="59457" y="16658"/>
                    <a:pt x="59457" y="17293"/>
                  </a:cubicBezTo>
                  <a:cubicBezTo>
                    <a:pt x="57552" y="17928"/>
                    <a:pt x="55647" y="19198"/>
                    <a:pt x="53742" y="20468"/>
                  </a:cubicBezTo>
                  <a:cubicBezTo>
                    <a:pt x="53742" y="20468"/>
                    <a:pt x="53742" y="20468"/>
                    <a:pt x="53742" y="20468"/>
                  </a:cubicBezTo>
                  <a:cubicBezTo>
                    <a:pt x="41677" y="26818"/>
                    <a:pt x="31517" y="35073"/>
                    <a:pt x="23262" y="43963"/>
                  </a:cubicBezTo>
                  <a:cubicBezTo>
                    <a:pt x="21992" y="45233"/>
                    <a:pt x="20722" y="46503"/>
                    <a:pt x="19452" y="47773"/>
                  </a:cubicBezTo>
                  <a:lnTo>
                    <a:pt x="19452" y="47773"/>
                  </a:lnTo>
                  <a:cubicBezTo>
                    <a:pt x="18182" y="49043"/>
                    <a:pt x="16912" y="50313"/>
                    <a:pt x="16277" y="52218"/>
                  </a:cubicBezTo>
                  <a:lnTo>
                    <a:pt x="16277" y="52218"/>
                  </a:lnTo>
                  <a:cubicBezTo>
                    <a:pt x="15007" y="53488"/>
                    <a:pt x="14372" y="55393"/>
                    <a:pt x="13102" y="56663"/>
                  </a:cubicBezTo>
                  <a:lnTo>
                    <a:pt x="13102" y="56663"/>
                  </a:lnTo>
                  <a:lnTo>
                    <a:pt x="13102" y="56663"/>
                  </a:lnTo>
                  <a:cubicBezTo>
                    <a:pt x="11197" y="59838"/>
                    <a:pt x="9292" y="63013"/>
                    <a:pt x="7387" y="66188"/>
                  </a:cubicBezTo>
                  <a:cubicBezTo>
                    <a:pt x="6752" y="67458"/>
                    <a:pt x="6117" y="68093"/>
                    <a:pt x="6117" y="69363"/>
                  </a:cubicBezTo>
                  <a:cubicBezTo>
                    <a:pt x="6117" y="69363"/>
                    <a:pt x="6117" y="69363"/>
                    <a:pt x="6117" y="69998"/>
                  </a:cubicBezTo>
                  <a:cubicBezTo>
                    <a:pt x="6117" y="69998"/>
                    <a:pt x="6117" y="70633"/>
                    <a:pt x="6117" y="70633"/>
                  </a:cubicBezTo>
                  <a:cubicBezTo>
                    <a:pt x="5482" y="71903"/>
                    <a:pt x="5482" y="72538"/>
                    <a:pt x="4847" y="73808"/>
                  </a:cubicBezTo>
                  <a:cubicBezTo>
                    <a:pt x="4212" y="75078"/>
                    <a:pt x="4212" y="75713"/>
                    <a:pt x="3577" y="76983"/>
                  </a:cubicBezTo>
                  <a:cubicBezTo>
                    <a:pt x="3577" y="76983"/>
                    <a:pt x="3577" y="76983"/>
                    <a:pt x="3577" y="76983"/>
                  </a:cubicBezTo>
                  <a:cubicBezTo>
                    <a:pt x="1037" y="85238"/>
                    <a:pt x="-868" y="94128"/>
                    <a:pt x="-868" y="103018"/>
                  </a:cubicBezTo>
                  <a:cubicBezTo>
                    <a:pt x="-868" y="110638"/>
                    <a:pt x="402" y="118258"/>
                    <a:pt x="2307" y="125243"/>
                  </a:cubicBezTo>
                  <a:cubicBezTo>
                    <a:pt x="2942" y="127783"/>
                    <a:pt x="4212" y="130958"/>
                    <a:pt x="4847" y="133498"/>
                  </a:cubicBezTo>
                  <a:cubicBezTo>
                    <a:pt x="4847" y="133498"/>
                    <a:pt x="4847" y="134133"/>
                    <a:pt x="4847" y="134133"/>
                  </a:cubicBezTo>
                  <a:cubicBezTo>
                    <a:pt x="5482" y="135403"/>
                    <a:pt x="6117" y="136673"/>
                    <a:pt x="6752" y="138578"/>
                  </a:cubicBezTo>
                  <a:cubicBezTo>
                    <a:pt x="6752" y="139213"/>
                    <a:pt x="7387" y="139213"/>
                    <a:pt x="7387" y="139848"/>
                  </a:cubicBezTo>
                  <a:cubicBezTo>
                    <a:pt x="8022" y="140483"/>
                    <a:pt x="8657" y="141753"/>
                    <a:pt x="8657" y="143023"/>
                  </a:cubicBezTo>
                  <a:cubicBezTo>
                    <a:pt x="9292" y="143658"/>
                    <a:pt x="9292" y="144293"/>
                    <a:pt x="9927" y="144928"/>
                  </a:cubicBezTo>
                  <a:cubicBezTo>
                    <a:pt x="10562" y="145563"/>
                    <a:pt x="10562" y="146198"/>
                    <a:pt x="11197" y="147468"/>
                  </a:cubicBezTo>
                  <a:cubicBezTo>
                    <a:pt x="11832" y="148103"/>
                    <a:pt x="11832" y="148738"/>
                    <a:pt x="12467" y="149373"/>
                  </a:cubicBezTo>
                  <a:cubicBezTo>
                    <a:pt x="13102" y="150008"/>
                    <a:pt x="13737" y="151278"/>
                    <a:pt x="14372" y="151913"/>
                  </a:cubicBezTo>
                  <a:cubicBezTo>
                    <a:pt x="15007" y="152548"/>
                    <a:pt x="15642" y="153818"/>
                    <a:pt x="16277" y="154453"/>
                  </a:cubicBezTo>
                  <a:cubicBezTo>
                    <a:pt x="16912" y="155088"/>
                    <a:pt x="17547" y="155723"/>
                    <a:pt x="18182" y="156993"/>
                  </a:cubicBezTo>
                  <a:cubicBezTo>
                    <a:pt x="18817" y="157628"/>
                    <a:pt x="19452" y="158263"/>
                    <a:pt x="20087" y="158898"/>
                  </a:cubicBezTo>
                  <a:cubicBezTo>
                    <a:pt x="20722" y="159533"/>
                    <a:pt x="20722" y="160168"/>
                    <a:pt x="21357" y="160803"/>
                  </a:cubicBezTo>
                  <a:cubicBezTo>
                    <a:pt x="21992" y="161438"/>
                    <a:pt x="22627" y="162073"/>
                    <a:pt x="23262" y="162708"/>
                  </a:cubicBezTo>
                  <a:cubicBezTo>
                    <a:pt x="23897" y="163343"/>
                    <a:pt x="23897" y="163978"/>
                    <a:pt x="24532" y="163978"/>
                  </a:cubicBezTo>
                  <a:cubicBezTo>
                    <a:pt x="27072" y="166518"/>
                    <a:pt x="29612" y="169058"/>
                    <a:pt x="32152" y="170963"/>
                  </a:cubicBezTo>
                  <a:cubicBezTo>
                    <a:pt x="32787" y="171598"/>
                    <a:pt x="32787" y="171598"/>
                    <a:pt x="33422" y="172233"/>
                  </a:cubicBezTo>
                  <a:cubicBezTo>
                    <a:pt x="34057" y="172868"/>
                    <a:pt x="35327" y="173503"/>
                    <a:pt x="35962" y="174138"/>
                  </a:cubicBezTo>
                  <a:cubicBezTo>
                    <a:pt x="36597" y="174138"/>
                    <a:pt x="36597" y="174773"/>
                    <a:pt x="37232" y="174773"/>
                  </a:cubicBezTo>
                  <a:cubicBezTo>
                    <a:pt x="40407" y="177313"/>
                    <a:pt x="43582" y="179853"/>
                    <a:pt x="47392" y="181758"/>
                  </a:cubicBezTo>
                  <a:cubicBezTo>
                    <a:pt x="47392" y="181758"/>
                    <a:pt x="47392" y="181758"/>
                    <a:pt x="47392" y="181758"/>
                  </a:cubicBezTo>
                  <a:cubicBezTo>
                    <a:pt x="48662" y="182393"/>
                    <a:pt x="49932" y="183028"/>
                    <a:pt x="50567" y="183663"/>
                  </a:cubicBezTo>
                  <a:cubicBezTo>
                    <a:pt x="50567" y="183663"/>
                    <a:pt x="51202" y="183663"/>
                    <a:pt x="51202" y="184298"/>
                  </a:cubicBezTo>
                  <a:cubicBezTo>
                    <a:pt x="56282" y="187473"/>
                    <a:pt x="61362" y="190013"/>
                    <a:pt x="67077" y="192553"/>
                  </a:cubicBezTo>
                  <a:cubicBezTo>
                    <a:pt x="67077" y="192553"/>
                    <a:pt x="67077" y="192553"/>
                    <a:pt x="67077" y="192553"/>
                  </a:cubicBezTo>
                  <a:cubicBezTo>
                    <a:pt x="72792" y="195093"/>
                    <a:pt x="79142" y="196998"/>
                    <a:pt x="84857" y="198903"/>
                  </a:cubicBezTo>
                  <a:lnTo>
                    <a:pt x="84857" y="198903"/>
                  </a:lnTo>
                  <a:lnTo>
                    <a:pt x="84857" y="198903"/>
                  </a:lnTo>
                  <a:cubicBezTo>
                    <a:pt x="86762" y="199538"/>
                    <a:pt x="88667" y="200173"/>
                    <a:pt x="90572" y="200173"/>
                  </a:cubicBezTo>
                  <a:cubicBezTo>
                    <a:pt x="90572" y="200173"/>
                    <a:pt x="90572" y="200173"/>
                    <a:pt x="91207" y="200173"/>
                  </a:cubicBezTo>
                  <a:cubicBezTo>
                    <a:pt x="93112" y="200808"/>
                    <a:pt x="94382" y="200808"/>
                    <a:pt x="96287" y="201443"/>
                  </a:cubicBezTo>
                  <a:cubicBezTo>
                    <a:pt x="96287" y="201443"/>
                    <a:pt x="96922" y="201443"/>
                    <a:pt x="96922" y="201443"/>
                  </a:cubicBezTo>
                  <a:cubicBezTo>
                    <a:pt x="98827" y="202078"/>
                    <a:pt x="100097" y="202078"/>
                    <a:pt x="102002" y="202713"/>
                  </a:cubicBezTo>
                  <a:cubicBezTo>
                    <a:pt x="102637" y="202713"/>
                    <a:pt x="102637" y="202713"/>
                    <a:pt x="103272" y="202713"/>
                  </a:cubicBezTo>
                  <a:cubicBezTo>
                    <a:pt x="104542" y="202713"/>
                    <a:pt x="106447" y="203348"/>
                    <a:pt x="107717" y="203348"/>
                  </a:cubicBezTo>
                  <a:cubicBezTo>
                    <a:pt x="108352" y="203348"/>
                    <a:pt x="108987" y="203348"/>
                    <a:pt x="109622" y="203348"/>
                  </a:cubicBezTo>
                  <a:cubicBezTo>
                    <a:pt x="110892" y="203348"/>
                    <a:pt x="112162" y="203983"/>
                    <a:pt x="114067" y="203983"/>
                  </a:cubicBezTo>
                  <a:cubicBezTo>
                    <a:pt x="114702" y="203983"/>
                    <a:pt x="115972" y="203983"/>
                    <a:pt x="116607" y="203983"/>
                  </a:cubicBezTo>
                  <a:cubicBezTo>
                    <a:pt x="117877" y="203983"/>
                    <a:pt x="119147" y="203983"/>
                    <a:pt x="120417" y="204618"/>
                  </a:cubicBezTo>
                  <a:cubicBezTo>
                    <a:pt x="121687" y="204618"/>
                    <a:pt x="122957" y="204618"/>
                    <a:pt x="124227" y="204618"/>
                  </a:cubicBezTo>
                  <a:cubicBezTo>
                    <a:pt x="124862" y="204618"/>
                    <a:pt x="126132" y="204618"/>
                    <a:pt x="126767" y="204618"/>
                  </a:cubicBezTo>
                  <a:cubicBezTo>
                    <a:pt x="128672" y="204618"/>
                    <a:pt x="131212" y="204618"/>
                    <a:pt x="133117" y="204618"/>
                  </a:cubicBezTo>
                  <a:cubicBezTo>
                    <a:pt x="135657" y="204618"/>
                    <a:pt x="137562" y="204618"/>
                    <a:pt x="139467" y="204618"/>
                  </a:cubicBezTo>
                  <a:cubicBezTo>
                    <a:pt x="140102" y="204618"/>
                    <a:pt x="140737" y="204618"/>
                    <a:pt x="142007" y="204618"/>
                  </a:cubicBezTo>
                  <a:cubicBezTo>
                    <a:pt x="143277" y="204618"/>
                    <a:pt x="144547" y="204618"/>
                    <a:pt x="146452" y="204618"/>
                  </a:cubicBezTo>
                  <a:cubicBezTo>
                    <a:pt x="147087" y="204618"/>
                    <a:pt x="148357" y="204618"/>
                    <a:pt x="148992" y="204618"/>
                  </a:cubicBezTo>
                  <a:cubicBezTo>
                    <a:pt x="148992" y="202713"/>
                    <a:pt x="150262" y="202078"/>
                    <a:pt x="150897" y="202078"/>
                  </a:cubicBezTo>
                  <a:moveTo>
                    <a:pt x="131847" y="195728"/>
                  </a:moveTo>
                  <a:cubicBezTo>
                    <a:pt x="61997" y="195728"/>
                    <a:pt x="5482" y="153183"/>
                    <a:pt x="5482" y="99843"/>
                  </a:cubicBezTo>
                  <a:cubicBezTo>
                    <a:pt x="5482" y="46503"/>
                    <a:pt x="61997" y="3958"/>
                    <a:pt x="131847" y="3958"/>
                  </a:cubicBezTo>
                  <a:cubicBezTo>
                    <a:pt x="190902" y="3958"/>
                    <a:pt x="240432" y="34438"/>
                    <a:pt x="254402" y="75713"/>
                  </a:cubicBezTo>
                  <a:cubicBezTo>
                    <a:pt x="256942" y="82698"/>
                    <a:pt x="258212" y="90318"/>
                    <a:pt x="258212" y="97303"/>
                  </a:cubicBezTo>
                  <a:cubicBezTo>
                    <a:pt x="258212" y="97938"/>
                    <a:pt x="258212" y="98573"/>
                    <a:pt x="258212" y="99208"/>
                  </a:cubicBezTo>
                  <a:cubicBezTo>
                    <a:pt x="258212" y="104923"/>
                    <a:pt x="257577" y="110003"/>
                    <a:pt x="256307" y="115083"/>
                  </a:cubicBezTo>
                  <a:cubicBezTo>
                    <a:pt x="255037" y="120798"/>
                    <a:pt x="253132" y="125878"/>
                    <a:pt x="250592" y="131593"/>
                  </a:cubicBezTo>
                  <a:cubicBezTo>
                    <a:pt x="233447" y="169693"/>
                    <a:pt x="187092" y="195728"/>
                    <a:pt x="131847" y="195728"/>
                  </a:cubicBezTo>
                </a:path>
              </a:pathLst>
            </a:custGeom>
            <a:solidFill>
              <a:srgbClr val="FFFFFF"/>
            </a:solidFill>
            <a:ln w="6350" cap="flat">
              <a:noFill/>
              <a:prstDash val="solid"/>
              <a:miter/>
            </a:ln>
          </p:spPr>
          <p:txBody>
            <a:bodyPr rtlCol="0" anchor="ctr"/>
            <a:lstStyle/>
            <a:p>
              <a:endParaRPr lang="en-GB"/>
            </a:p>
          </p:txBody>
        </p:sp>
        <p:sp>
          <p:nvSpPr>
            <p:cNvPr id="114" name="Freeform 113">
              <a:extLst>
                <a:ext uri="{FF2B5EF4-FFF2-40B4-BE49-F238E27FC236}">
                  <a16:creationId xmlns:a16="http://schemas.microsoft.com/office/drawing/2014/main" id="{5DF4A5FC-9919-86FD-EB2C-745516AB69A6}"/>
                </a:ext>
              </a:extLst>
            </p:cNvPr>
            <p:cNvSpPr/>
            <p:nvPr/>
          </p:nvSpPr>
          <p:spPr>
            <a:xfrm>
              <a:off x="-9659213" y="3231277"/>
              <a:ext cx="216557" cy="30082"/>
            </a:xfrm>
            <a:custGeom>
              <a:avLst/>
              <a:gdLst>
                <a:gd name="connsiteX0" fmla="*/ 40001 w 216557"/>
                <a:gd name="connsiteY0" fmla="*/ 28961 h 30082"/>
                <a:gd name="connsiteX1" fmla="*/ 213991 w 216557"/>
                <a:gd name="connsiteY1" fmla="*/ 8006 h 30082"/>
                <a:gd name="connsiteX2" fmla="*/ 213356 w 216557"/>
                <a:gd name="connsiteY2" fmla="*/ 2926 h 30082"/>
                <a:gd name="connsiteX3" fmla="*/ 210816 w 216557"/>
                <a:gd name="connsiteY3" fmla="*/ 1021 h 30082"/>
                <a:gd name="connsiteX4" fmla="*/ 200656 w 216557"/>
                <a:gd name="connsiteY4" fmla="*/ -884 h 30082"/>
                <a:gd name="connsiteX5" fmla="*/ 2536 w 216557"/>
                <a:gd name="connsiteY5" fmla="*/ 12451 h 30082"/>
                <a:gd name="connsiteX6" fmla="*/ -639 w 216557"/>
                <a:gd name="connsiteY6" fmla="*/ 17531 h 30082"/>
                <a:gd name="connsiteX7" fmla="*/ 1901 w 216557"/>
                <a:gd name="connsiteY7" fmla="*/ 21976 h 30082"/>
                <a:gd name="connsiteX8" fmla="*/ 36191 w 216557"/>
                <a:gd name="connsiteY8" fmla="*/ 28961 h 30082"/>
                <a:gd name="connsiteX9" fmla="*/ 40001 w 216557"/>
                <a:gd name="connsiteY9" fmla="*/ 28961 h 3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557" h="30082">
                  <a:moveTo>
                    <a:pt x="40001" y="28961"/>
                  </a:moveTo>
                  <a:cubicBezTo>
                    <a:pt x="47621" y="28961"/>
                    <a:pt x="210816" y="8641"/>
                    <a:pt x="213991" y="8006"/>
                  </a:cubicBezTo>
                  <a:cubicBezTo>
                    <a:pt x="217166" y="7371"/>
                    <a:pt x="215261" y="4196"/>
                    <a:pt x="213356" y="2926"/>
                  </a:cubicBezTo>
                  <a:cubicBezTo>
                    <a:pt x="212721" y="2291"/>
                    <a:pt x="211451" y="1656"/>
                    <a:pt x="210816" y="1021"/>
                  </a:cubicBezTo>
                  <a:cubicBezTo>
                    <a:pt x="207641" y="-884"/>
                    <a:pt x="204466" y="-1519"/>
                    <a:pt x="200656" y="-884"/>
                  </a:cubicBezTo>
                  <a:cubicBezTo>
                    <a:pt x="199386" y="-884"/>
                    <a:pt x="12061" y="12451"/>
                    <a:pt x="2536" y="12451"/>
                  </a:cubicBezTo>
                  <a:cubicBezTo>
                    <a:pt x="-4" y="12451"/>
                    <a:pt x="-4" y="15626"/>
                    <a:pt x="-639" y="17531"/>
                  </a:cubicBezTo>
                  <a:cubicBezTo>
                    <a:pt x="-1274" y="20706"/>
                    <a:pt x="-639" y="21341"/>
                    <a:pt x="1901" y="21976"/>
                  </a:cubicBezTo>
                  <a:cubicBezTo>
                    <a:pt x="5711" y="23246"/>
                    <a:pt x="26031" y="28961"/>
                    <a:pt x="36191" y="28961"/>
                  </a:cubicBezTo>
                  <a:cubicBezTo>
                    <a:pt x="36826" y="28961"/>
                    <a:pt x="40001" y="28961"/>
                    <a:pt x="40001" y="28961"/>
                  </a:cubicBezTo>
                </a:path>
              </a:pathLst>
            </a:custGeom>
            <a:solidFill>
              <a:srgbClr val="FFFFFF"/>
            </a:solidFill>
            <a:ln w="6350" cap="flat">
              <a:noFill/>
              <a:prstDash val="solid"/>
              <a:miter/>
            </a:ln>
          </p:spPr>
          <p:txBody>
            <a:bodyPr rtlCol="0" anchor="ctr"/>
            <a:lstStyle/>
            <a:p>
              <a:endParaRPr lang="en-GB"/>
            </a:p>
          </p:txBody>
        </p:sp>
        <p:sp>
          <p:nvSpPr>
            <p:cNvPr id="115" name="Freeform 114">
              <a:extLst>
                <a:ext uri="{FF2B5EF4-FFF2-40B4-BE49-F238E27FC236}">
                  <a16:creationId xmlns:a16="http://schemas.microsoft.com/office/drawing/2014/main" id="{3EE07B88-98C6-EFD9-E54A-513C9402BDEE}"/>
                </a:ext>
              </a:extLst>
            </p:cNvPr>
            <p:cNvSpPr/>
            <p:nvPr/>
          </p:nvSpPr>
          <p:spPr>
            <a:xfrm>
              <a:off x="-9685807" y="3211194"/>
              <a:ext cx="237642" cy="22225"/>
            </a:xfrm>
            <a:custGeom>
              <a:avLst/>
              <a:gdLst>
                <a:gd name="connsiteX0" fmla="*/ 234234 w 237642"/>
                <a:gd name="connsiteY0" fmla="*/ 11578 h 22225"/>
                <a:gd name="connsiteX1" fmla="*/ 236774 w 237642"/>
                <a:gd name="connsiteY1" fmla="*/ 6498 h 22225"/>
                <a:gd name="connsiteX2" fmla="*/ 236774 w 237642"/>
                <a:gd name="connsiteY2" fmla="*/ 3323 h 22225"/>
                <a:gd name="connsiteX3" fmla="*/ 234869 w 237642"/>
                <a:gd name="connsiteY3" fmla="*/ 1418 h 22225"/>
                <a:gd name="connsiteX4" fmla="*/ 233599 w 237642"/>
                <a:gd name="connsiteY4" fmla="*/ 783 h 22225"/>
                <a:gd name="connsiteX5" fmla="*/ 5634 w 237642"/>
                <a:gd name="connsiteY5" fmla="*/ -1122 h 22225"/>
                <a:gd name="connsiteX6" fmla="*/ 1189 w 237642"/>
                <a:gd name="connsiteY6" fmla="*/ 3958 h 22225"/>
                <a:gd name="connsiteX7" fmla="*/ 554 w 237642"/>
                <a:gd name="connsiteY7" fmla="*/ 11578 h 22225"/>
                <a:gd name="connsiteX8" fmla="*/ 30399 w 237642"/>
                <a:gd name="connsiteY8" fmla="*/ 21103 h 22225"/>
                <a:gd name="connsiteX9" fmla="*/ 234234 w 237642"/>
                <a:gd name="connsiteY9" fmla="*/ 11578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642" h="22225">
                  <a:moveTo>
                    <a:pt x="234234" y="11578"/>
                  </a:moveTo>
                  <a:cubicBezTo>
                    <a:pt x="235505" y="10943"/>
                    <a:pt x="236139" y="8403"/>
                    <a:pt x="236774" y="6498"/>
                  </a:cubicBezTo>
                  <a:cubicBezTo>
                    <a:pt x="236774" y="5228"/>
                    <a:pt x="236774" y="3958"/>
                    <a:pt x="236774" y="3323"/>
                  </a:cubicBezTo>
                  <a:cubicBezTo>
                    <a:pt x="236139" y="2689"/>
                    <a:pt x="235505" y="1418"/>
                    <a:pt x="234869" y="1418"/>
                  </a:cubicBezTo>
                  <a:cubicBezTo>
                    <a:pt x="234234" y="1418"/>
                    <a:pt x="234234" y="783"/>
                    <a:pt x="233599" y="783"/>
                  </a:cubicBezTo>
                  <a:cubicBezTo>
                    <a:pt x="218994" y="148"/>
                    <a:pt x="6904" y="-1122"/>
                    <a:pt x="5634" y="-1122"/>
                  </a:cubicBezTo>
                  <a:cubicBezTo>
                    <a:pt x="4364" y="-1122"/>
                    <a:pt x="2459" y="1418"/>
                    <a:pt x="1189" y="3958"/>
                  </a:cubicBezTo>
                  <a:cubicBezTo>
                    <a:pt x="-716" y="7133"/>
                    <a:pt x="-1986" y="9673"/>
                    <a:pt x="554" y="11578"/>
                  </a:cubicBezTo>
                  <a:cubicBezTo>
                    <a:pt x="4364" y="13483"/>
                    <a:pt x="24049" y="21103"/>
                    <a:pt x="30399" y="21103"/>
                  </a:cubicBezTo>
                  <a:cubicBezTo>
                    <a:pt x="35480" y="21103"/>
                    <a:pt x="232330" y="13483"/>
                    <a:pt x="234234" y="11578"/>
                  </a:cubicBezTo>
                </a:path>
              </a:pathLst>
            </a:custGeom>
            <a:solidFill>
              <a:srgbClr val="FFFFFF"/>
            </a:solidFill>
            <a:ln w="6350" cap="flat">
              <a:noFill/>
              <a:prstDash val="solid"/>
              <a:miter/>
            </a:ln>
          </p:spPr>
          <p:txBody>
            <a:bodyPr rtlCol="0" anchor="ctr"/>
            <a:lstStyle/>
            <a:p>
              <a:endParaRPr lang="en-GB"/>
            </a:p>
          </p:txBody>
        </p:sp>
        <p:sp>
          <p:nvSpPr>
            <p:cNvPr id="116" name="Freeform 115">
              <a:extLst>
                <a:ext uri="{FF2B5EF4-FFF2-40B4-BE49-F238E27FC236}">
                  <a16:creationId xmlns:a16="http://schemas.microsoft.com/office/drawing/2014/main" id="{93C74615-935C-CCCF-C473-BA0623BFE4B3}"/>
                </a:ext>
              </a:extLst>
            </p:cNvPr>
            <p:cNvSpPr/>
            <p:nvPr/>
          </p:nvSpPr>
          <p:spPr>
            <a:xfrm>
              <a:off x="-9622790" y="3246755"/>
              <a:ext cx="185837" cy="41345"/>
            </a:xfrm>
            <a:custGeom>
              <a:avLst/>
              <a:gdLst>
                <a:gd name="connsiteX0" fmla="*/ 183917 w 185837"/>
                <a:gd name="connsiteY0" fmla="*/ 9038 h 41345"/>
                <a:gd name="connsiteX1" fmla="*/ 184552 w 185837"/>
                <a:gd name="connsiteY1" fmla="*/ 3958 h 41345"/>
                <a:gd name="connsiteX2" fmla="*/ 178202 w 185837"/>
                <a:gd name="connsiteY2" fmla="*/ -1122 h 41345"/>
                <a:gd name="connsiteX3" fmla="*/ 171852 w 185837"/>
                <a:gd name="connsiteY3" fmla="*/ -487 h 41345"/>
                <a:gd name="connsiteX4" fmla="*/ 4847 w 185837"/>
                <a:gd name="connsiteY4" fmla="*/ 24278 h 41345"/>
                <a:gd name="connsiteX5" fmla="*/ -868 w 185837"/>
                <a:gd name="connsiteY5" fmla="*/ 28723 h 41345"/>
                <a:gd name="connsiteX6" fmla="*/ 2307 w 185837"/>
                <a:gd name="connsiteY6" fmla="*/ 35708 h 41345"/>
                <a:gd name="connsiteX7" fmla="*/ 30882 w 185837"/>
                <a:gd name="connsiteY7" fmla="*/ 40153 h 41345"/>
                <a:gd name="connsiteX8" fmla="*/ 31517 w 185837"/>
                <a:gd name="connsiteY8" fmla="*/ 40153 h 41345"/>
                <a:gd name="connsiteX9" fmla="*/ 174392 w 185837"/>
                <a:gd name="connsiteY9" fmla="*/ 10942 h 41345"/>
                <a:gd name="connsiteX10" fmla="*/ 183917 w 185837"/>
                <a:gd name="connsiteY10" fmla="*/ 9038 h 41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837" h="41345">
                  <a:moveTo>
                    <a:pt x="183917" y="9038"/>
                  </a:moveTo>
                  <a:cubicBezTo>
                    <a:pt x="185187" y="7767"/>
                    <a:pt x="185187" y="5863"/>
                    <a:pt x="184552" y="3958"/>
                  </a:cubicBezTo>
                  <a:cubicBezTo>
                    <a:pt x="183917" y="1417"/>
                    <a:pt x="180742" y="-1122"/>
                    <a:pt x="178202" y="-1122"/>
                  </a:cubicBezTo>
                  <a:cubicBezTo>
                    <a:pt x="177567" y="-1122"/>
                    <a:pt x="173122" y="-487"/>
                    <a:pt x="171852" y="-487"/>
                  </a:cubicBezTo>
                  <a:lnTo>
                    <a:pt x="4847" y="24278"/>
                  </a:lnTo>
                  <a:cubicBezTo>
                    <a:pt x="-868" y="24913"/>
                    <a:pt x="-868" y="25548"/>
                    <a:pt x="-868" y="28723"/>
                  </a:cubicBezTo>
                  <a:cubicBezTo>
                    <a:pt x="-233" y="33803"/>
                    <a:pt x="-233" y="34438"/>
                    <a:pt x="2307" y="35708"/>
                  </a:cubicBezTo>
                  <a:cubicBezTo>
                    <a:pt x="5482" y="36978"/>
                    <a:pt x="27072" y="40788"/>
                    <a:pt x="30882" y="40153"/>
                  </a:cubicBezTo>
                  <a:cubicBezTo>
                    <a:pt x="30882" y="40153"/>
                    <a:pt x="31517" y="40153"/>
                    <a:pt x="31517" y="40153"/>
                  </a:cubicBezTo>
                  <a:cubicBezTo>
                    <a:pt x="38502" y="38883"/>
                    <a:pt x="162327" y="13483"/>
                    <a:pt x="174392" y="10942"/>
                  </a:cubicBezTo>
                  <a:cubicBezTo>
                    <a:pt x="175662" y="11578"/>
                    <a:pt x="183282" y="10308"/>
                    <a:pt x="183917" y="9038"/>
                  </a:cubicBezTo>
                </a:path>
              </a:pathLst>
            </a:custGeom>
            <a:solidFill>
              <a:srgbClr val="FFFFFF"/>
            </a:solidFill>
            <a:ln w="6350" cap="flat">
              <a:noFill/>
              <a:prstDash val="solid"/>
              <a:miter/>
            </a:ln>
          </p:spPr>
          <p:txBody>
            <a:bodyPr rtlCol="0" anchor="ctr"/>
            <a:lstStyle/>
            <a:p>
              <a:endParaRPr lang="en-GB"/>
            </a:p>
          </p:txBody>
        </p:sp>
        <p:sp>
          <p:nvSpPr>
            <p:cNvPr id="117" name="Freeform 116">
              <a:extLst>
                <a:ext uri="{FF2B5EF4-FFF2-40B4-BE49-F238E27FC236}">
                  <a16:creationId xmlns:a16="http://schemas.microsoft.com/office/drawing/2014/main" id="{7C885EF8-D8AA-2B12-524D-6E40F4468B22}"/>
                </a:ext>
              </a:extLst>
            </p:cNvPr>
            <p:cNvSpPr/>
            <p:nvPr/>
          </p:nvSpPr>
          <p:spPr>
            <a:xfrm>
              <a:off x="-8951029" y="3239090"/>
              <a:ext cx="201840" cy="44494"/>
            </a:xfrm>
            <a:custGeom>
              <a:avLst/>
              <a:gdLst>
                <a:gd name="connsiteX0" fmla="*/ 200496 w 201840"/>
                <a:gd name="connsiteY0" fmla="*/ 25593 h 44494"/>
                <a:gd name="connsiteX1" fmla="*/ 7456 w 201840"/>
                <a:gd name="connsiteY1" fmla="*/ -1078 h 44494"/>
                <a:gd name="connsiteX2" fmla="*/ -799 w 201840"/>
                <a:gd name="connsiteY2" fmla="*/ 7812 h 44494"/>
                <a:gd name="connsiteX3" fmla="*/ 1106 w 201840"/>
                <a:gd name="connsiteY3" fmla="*/ 10987 h 44494"/>
                <a:gd name="connsiteX4" fmla="*/ 34126 w 201840"/>
                <a:gd name="connsiteY4" fmla="*/ 18607 h 44494"/>
                <a:gd name="connsiteX5" fmla="*/ 72226 w 201840"/>
                <a:gd name="connsiteY5" fmla="*/ 28132 h 44494"/>
                <a:gd name="connsiteX6" fmla="*/ 119851 w 201840"/>
                <a:gd name="connsiteY6" fmla="*/ 37657 h 44494"/>
                <a:gd name="connsiteX7" fmla="*/ 146521 w 201840"/>
                <a:gd name="connsiteY7" fmla="*/ 42103 h 44494"/>
                <a:gd name="connsiteX8" fmla="*/ 165571 w 201840"/>
                <a:gd name="connsiteY8" fmla="*/ 43372 h 44494"/>
                <a:gd name="connsiteX9" fmla="*/ 195416 w 201840"/>
                <a:gd name="connsiteY9" fmla="*/ 40197 h 44494"/>
                <a:gd name="connsiteX10" fmla="*/ 200496 w 201840"/>
                <a:gd name="connsiteY10" fmla="*/ 28132 h 44494"/>
                <a:gd name="connsiteX11" fmla="*/ 200496 w 201840"/>
                <a:gd name="connsiteY11" fmla="*/ 25593 h 4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1840" h="44494">
                  <a:moveTo>
                    <a:pt x="200496" y="25593"/>
                  </a:moveTo>
                  <a:cubicBezTo>
                    <a:pt x="116676" y="20512"/>
                    <a:pt x="17616" y="193"/>
                    <a:pt x="7456" y="-1078"/>
                  </a:cubicBezTo>
                  <a:cubicBezTo>
                    <a:pt x="2376" y="-1713"/>
                    <a:pt x="-1434" y="4637"/>
                    <a:pt x="-799" y="7812"/>
                  </a:cubicBezTo>
                  <a:cubicBezTo>
                    <a:pt x="-799" y="8447"/>
                    <a:pt x="-164" y="10987"/>
                    <a:pt x="1106" y="10987"/>
                  </a:cubicBezTo>
                  <a:cubicBezTo>
                    <a:pt x="2376" y="11622"/>
                    <a:pt x="25871" y="16703"/>
                    <a:pt x="34126" y="18607"/>
                  </a:cubicBezTo>
                  <a:cubicBezTo>
                    <a:pt x="46826" y="21782"/>
                    <a:pt x="59526" y="24957"/>
                    <a:pt x="72226" y="28132"/>
                  </a:cubicBezTo>
                  <a:cubicBezTo>
                    <a:pt x="88101" y="31943"/>
                    <a:pt x="103976" y="35118"/>
                    <a:pt x="119851" y="37657"/>
                  </a:cubicBezTo>
                  <a:cubicBezTo>
                    <a:pt x="128741" y="38928"/>
                    <a:pt x="137631" y="40832"/>
                    <a:pt x="146521" y="42103"/>
                  </a:cubicBezTo>
                  <a:cubicBezTo>
                    <a:pt x="150966" y="42737"/>
                    <a:pt x="161126" y="43372"/>
                    <a:pt x="165571" y="43372"/>
                  </a:cubicBezTo>
                  <a:cubicBezTo>
                    <a:pt x="176366" y="42737"/>
                    <a:pt x="191606" y="41468"/>
                    <a:pt x="195416" y="40197"/>
                  </a:cubicBezTo>
                  <a:cubicBezTo>
                    <a:pt x="198591" y="39562"/>
                    <a:pt x="200496" y="29403"/>
                    <a:pt x="200496" y="28132"/>
                  </a:cubicBezTo>
                  <a:cubicBezTo>
                    <a:pt x="201131" y="26862"/>
                    <a:pt x="201131" y="25593"/>
                    <a:pt x="200496" y="25593"/>
                  </a:cubicBezTo>
                </a:path>
              </a:pathLst>
            </a:custGeom>
            <a:solidFill>
              <a:srgbClr val="FFFFFF"/>
            </a:solidFill>
            <a:ln w="6350" cap="flat">
              <a:noFill/>
              <a:prstDash val="solid"/>
              <a:miter/>
            </a:ln>
          </p:spPr>
          <p:txBody>
            <a:bodyPr rtlCol="0" anchor="ctr"/>
            <a:lstStyle/>
            <a:p>
              <a:endParaRPr lang="en-GB"/>
            </a:p>
          </p:txBody>
        </p:sp>
        <p:sp>
          <p:nvSpPr>
            <p:cNvPr id="118" name="Freeform 117">
              <a:extLst>
                <a:ext uri="{FF2B5EF4-FFF2-40B4-BE49-F238E27FC236}">
                  <a16:creationId xmlns:a16="http://schemas.microsoft.com/office/drawing/2014/main" id="{A799AB57-7210-3DE9-43C4-CE1C8F321C9B}"/>
                </a:ext>
              </a:extLst>
            </p:cNvPr>
            <p:cNvSpPr/>
            <p:nvPr/>
          </p:nvSpPr>
          <p:spPr>
            <a:xfrm>
              <a:off x="-8965045" y="3257902"/>
              <a:ext cx="177135" cy="49913"/>
            </a:xfrm>
            <a:custGeom>
              <a:avLst/>
              <a:gdLst>
                <a:gd name="connsiteX0" fmla="*/ 175143 w 177135"/>
                <a:gd name="connsiteY0" fmla="*/ 32815 h 49913"/>
                <a:gd name="connsiteX1" fmla="*/ 91958 w 177135"/>
                <a:gd name="connsiteY1" fmla="*/ 18845 h 49913"/>
                <a:gd name="connsiteX2" fmla="*/ 53223 w 177135"/>
                <a:gd name="connsiteY2" fmla="*/ 9956 h 49913"/>
                <a:gd name="connsiteX3" fmla="*/ 12583 w 177135"/>
                <a:gd name="connsiteY3" fmla="*/ -840 h 49913"/>
                <a:gd name="connsiteX4" fmla="*/ 10678 w 177135"/>
                <a:gd name="connsiteY4" fmla="*/ -840 h 49913"/>
                <a:gd name="connsiteX5" fmla="*/ -752 w 177135"/>
                <a:gd name="connsiteY5" fmla="*/ 6781 h 49913"/>
                <a:gd name="connsiteX6" fmla="*/ 74178 w 177135"/>
                <a:gd name="connsiteY6" fmla="*/ 34085 h 49913"/>
                <a:gd name="connsiteX7" fmla="*/ 157998 w 177135"/>
                <a:gd name="connsiteY7" fmla="*/ 48690 h 49913"/>
                <a:gd name="connsiteX8" fmla="*/ 170698 w 177135"/>
                <a:gd name="connsiteY8" fmla="*/ 47420 h 49913"/>
                <a:gd name="connsiteX9" fmla="*/ 175143 w 177135"/>
                <a:gd name="connsiteY9" fmla="*/ 32815 h 4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135" h="49913">
                  <a:moveTo>
                    <a:pt x="175143" y="32815"/>
                  </a:moveTo>
                  <a:cubicBezTo>
                    <a:pt x="147203" y="29006"/>
                    <a:pt x="119263" y="24560"/>
                    <a:pt x="91958" y="18845"/>
                  </a:cubicBezTo>
                  <a:cubicBezTo>
                    <a:pt x="79258" y="16306"/>
                    <a:pt x="65923" y="13131"/>
                    <a:pt x="53223" y="9956"/>
                  </a:cubicBezTo>
                  <a:cubicBezTo>
                    <a:pt x="39888" y="6781"/>
                    <a:pt x="25918" y="3606"/>
                    <a:pt x="12583" y="-840"/>
                  </a:cubicBezTo>
                  <a:cubicBezTo>
                    <a:pt x="12583" y="-840"/>
                    <a:pt x="11313" y="-1475"/>
                    <a:pt x="10678" y="-840"/>
                  </a:cubicBezTo>
                  <a:cubicBezTo>
                    <a:pt x="7503" y="431"/>
                    <a:pt x="-2022" y="3606"/>
                    <a:pt x="-752" y="6781"/>
                  </a:cubicBezTo>
                  <a:cubicBezTo>
                    <a:pt x="518" y="9956"/>
                    <a:pt x="50048" y="26465"/>
                    <a:pt x="74178" y="34085"/>
                  </a:cubicBezTo>
                  <a:cubicBezTo>
                    <a:pt x="91958" y="39165"/>
                    <a:pt x="133868" y="48056"/>
                    <a:pt x="157998" y="48690"/>
                  </a:cubicBezTo>
                  <a:cubicBezTo>
                    <a:pt x="164348" y="48690"/>
                    <a:pt x="168793" y="49325"/>
                    <a:pt x="170698" y="47420"/>
                  </a:cubicBezTo>
                  <a:cubicBezTo>
                    <a:pt x="171968" y="45515"/>
                    <a:pt x="178953" y="33450"/>
                    <a:pt x="175143" y="32815"/>
                  </a:cubicBezTo>
                </a:path>
              </a:pathLst>
            </a:custGeom>
            <a:solidFill>
              <a:srgbClr val="FFFFFF"/>
            </a:solidFill>
            <a:ln w="6350" cap="flat">
              <a:noFill/>
              <a:prstDash val="solid"/>
              <a:miter/>
            </a:ln>
          </p:spPr>
          <p:txBody>
            <a:bodyPr rtlCol="0" anchor="ctr"/>
            <a:lstStyle/>
            <a:p>
              <a:endParaRPr lang="en-GB"/>
            </a:p>
          </p:txBody>
        </p:sp>
        <p:sp>
          <p:nvSpPr>
            <p:cNvPr id="119" name="Freeform 118">
              <a:extLst>
                <a:ext uri="{FF2B5EF4-FFF2-40B4-BE49-F238E27FC236}">
                  <a16:creationId xmlns:a16="http://schemas.microsoft.com/office/drawing/2014/main" id="{23DCAC27-38BF-E368-D9F6-B279C869166B}"/>
                </a:ext>
              </a:extLst>
            </p:cNvPr>
            <p:cNvSpPr/>
            <p:nvPr/>
          </p:nvSpPr>
          <p:spPr>
            <a:xfrm>
              <a:off x="-9037320" y="3308518"/>
              <a:ext cx="64274" cy="55766"/>
            </a:xfrm>
            <a:custGeom>
              <a:avLst/>
              <a:gdLst>
                <a:gd name="connsiteX0" fmla="*/ 46122 w 64274"/>
                <a:gd name="connsiteY0" fmla="*/ 29825 h 55766"/>
                <a:gd name="connsiteX1" fmla="*/ 13737 w 64274"/>
                <a:gd name="connsiteY1" fmla="*/ -655 h 55766"/>
                <a:gd name="connsiteX2" fmla="*/ -868 w 64274"/>
                <a:gd name="connsiteY2" fmla="*/ 3790 h 55766"/>
                <a:gd name="connsiteX3" fmla="*/ 2307 w 64274"/>
                <a:gd name="connsiteY3" fmla="*/ 8870 h 55766"/>
                <a:gd name="connsiteX4" fmla="*/ 29612 w 64274"/>
                <a:gd name="connsiteY4" fmla="*/ 41890 h 55766"/>
                <a:gd name="connsiteX5" fmla="*/ 33422 w 64274"/>
                <a:gd name="connsiteY5" fmla="*/ 46335 h 55766"/>
                <a:gd name="connsiteX6" fmla="*/ 35327 w 64274"/>
                <a:gd name="connsiteY6" fmla="*/ 47604 h 55766"/>
                <a:gd name="connsiteX7" fmla="*/ 35962 w 64274"/>
                <a:gd name="connsiteY7" fmla="*/ 48240 h 55766"/>
                <a:gd name="connsiteX8" fmla="*/ 53742 w 64274"/>
                <a:gd name="connsiteY8" fmla="*/ 54590 h 55766"/>
                <a:gd name="connsiteX9" fmla="*/ 61997 w 64274"/>
                <a:gd name="connsiteY9" fmla="*/ 45700 h 55766"/>
                <a:gd name="connsiteX10" fmla="*/ 46122 w 64274"/>
                <a:gd name="connsiteY10" fmla="*/ 29825 h 5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274" h="55766">
                  <a:moveTo>
                    <a:pt x="46122" y="29825"/>
                  </a:moveTo>
                  <a:cubicBezTo>
                    <a:pt x="32787" y="16490"/>
                    <a:pt x="15007" y="-21"/>
                    <a:pt x="13737" y="-655"/>
                  </a:cubicBezTo>
                  <a:cubicBezTo>
                    <a:pt x="10562" y="-1925"/>
                    <a:pt x="-233" y="-655"/>
                    <a:pt x="-868" y="3790"/>
                  </a:cubicBezTo>
                  <a:cubicBezTo>
                    <a:pt x="-868" y="5060"/>
                    <a:pt x="402" y="6965"/>
                    <a:pt x="2307" y="8870"/>
                  </a:cubicBezTo>
                  <a:cubicBezTo>
                    <a:pt x="2942" y="9504"/>
                    <a:pt x="21357" y="32365"/>
                    <a:pt x="29612" y="41890"/>
                  </a:cubicBezTo>
                  <a:cubicBezTo>
                    <a:pt x="31517" y="44429"/>
                    <a:pt x="32787" y="45700"/>
                    <a:pt x="33422" y="46335"/>
                  </a:cubicBezTo>
                  <a:cubicBezTo>
                    <a:pt x="34057" y="46335"/>
                    <a:pt x="34692" y="46970"/>
                    <a:pt x="35327" y="47604"/>
                  </a:cubicBezTo>
                  <a:cubicBezTo>
                    <a:pt x="35327" y="47604"/>
                    <a:pt x="35962" y="47604"/>
                    <a:pt x="35962" y="48240"/>
                  </a:cubicBezTo>
                  <a:cubicBezTo>
                    <a:pt x="40407" y="50779"/>
                    <a:pt x="49932" y="54590"/>
                    <a:pt x="53742" y="54590"/>
                  </a:cubicBezTo>
                  <a:cubicBezTo>
                    <a:pt x="59457" y="55225"/>
                    <a:pt x="66442" y="50145"/>
                    <a:pt x="61997" y="45700"/>
                  </a:cubicBezTo>
                  <a:cubicBezTo>
                    <a:pt x="60092" y="43795"/>
                    <a:pt x="53742" y="37445"/>
                    <a:pt x="46122" y="29825"/>
                  </a:cubicBezTo>
                </a:path>
              </a:pathLst>
            </a:custGeom>
            <a:solidFill>
              <a:srgbClr val="FFFFFF"/>
            </a:solidFill>
            <a:ln w="6350" cap="flat">
              <a:noFill/>
              <a:prstDash val="solid"/>
              <a:miter/>
            </a:ln>
          </p:spPr>
          <p:txBody>
            <a:bodyPr rtlCol="0" anchor="ctr"/>
            <a:lstStyle/>
            <a:p>
              <a:endParaRPr lang="en-GB"/>
            </a:p>
          </p:txBody>
        </p:sp>
        <p:sp>
          <p:nvSpPr>
            <p:cNvPr id="121" name="Freeform 120">
              <a:extLst>
                <a:ext uri="{FF2B5EF4-FFF2-40B4-BE49-F238E27FC236}">
                  <a16:creationId xmlns:a16="http://schemas.microsoft.com/office/drawing/2014/main" id="{5100EF90-5911-EED9-EA03-2D959DE6FDC0}"/>
                </a:ext>
              </a:extLst>
            </p:cNvPr>
            <p:cNvSpPr/>
            <p:nvPr/>
          </p:nvSpPr>
          <p:spPr>
            <a:xfrm>
              <a:off x="-9012149" y="3297025"/>
              <a:ext cx="80337" cy="61995"/>
            </a:xfrm>
            <a:custGeom>
              <a:avLst/>
              <a:gdLst>
                <a:gd name="connsiteX0" fmla="*/ 15236 w 80337"/>
                <a:gd name="connsiteY0" fmla="*/ 4487 h 61995"/>
                <a:gd name="connsiteX1" fmla="*/ 10156 w 80337"/>
                <a:gd name="connsiteY1" fmla="*/ 678 h 61995"/>
                <a:gd name="connsiteX2" fmla="*/ 1901 w 80337"/>
                <a:gd name="connsiteY2" fmla="*/ 2583 h 61995"/>
                <a:gd name="connsiteX3" fmla="*/ -639 w 80337"/>
                <a:gd name="connsiteY3" fmla="*/ 10203 h 61995"/>
                <a:gd name="connsiteX4" fmla="*/ 21586 w 80337"/>
                <a:gd name="connsiteY4" fmla="*/ 31793 h 61995"/>
                <a:gd name="connsiteX5" fmla="*/ 43811 w 80337"/>
                <a:gd name="connsiteY5" fmla="*/ 52747 h 61995"/>
                <a:gd name="connsiteX6" fmla="*/ 78736 w 80337"/>
                <a:gd name="connsiteY6" fmla="*/ 57828 h 61995"/>
                <a:gd name="connsiteX7" fmla="*/ 78736 w 80337"/>
                <a:gd name="connsiteY7" fmla="*/ 53383 h 61995"/>
                <a:gd name="connsiteX8" fmla="*/ 15236 w 80337"/>
                <a:gd name="connsiteY8" fmla="*/ 4487 h 61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337" h="61995">
                  <a:moveTo>
                    <a:pt x="15236" y="4487"/>
                  </a:moveTo>
                  <a:cubicBezTo>
                    <a:pt x="12696" y="2583"/>
                    <a:pt x="10791" y="1312"/>
                    <a:pt x="10156" y="678"/>
                  </a:cubicBezTo>
                  <a:cubicBezTo>
                    <a:pt x="5711" y="-2497"/>
                    <a:pt x="3806" y="-1228"/>
                    <a:pt x="1901" y="2583"/>
                  </a:cubicBezTo>
                  <a:cubicBezTo>
                    <a:pt x="-639" y="7028"/>
                    <a:pt x="-1274" y="8933"/>
                    <a:pt x="-639" y="10203"/>
                  </a:cubicBezTo>
                  <a:cubicBezTo>
                    <a:pt x="-4" y="10837"/>
                    <a:pt x="10791" y="21633"/>
                    <a:pt x="21586" y="31793"/>
                  </a:cubicBezTo>
                  <a:cubicBezTo>
                    <a:pt x="32381" y="41953"/>
                    <a:pt x="42541" y="51478"/>
                    <a:pt x="43811" y="52747"/>
                  </a:cubicBezTo>
                  <a:cubicBezTo>
                    <a:pt x="44446" y="53383"/>
                    <a:pt x="73021" y="66718"/>
                    <a:pt x="78736" y="57828"/>
                  </a:cubicBezTo>
                  <a:cubicBezTo>
                    <a:pt x="79371" y="56558"/>
                    <a:pt x="80006" y="54018"/>
                    <a:pt x="78736" y="53383"/>
                  </a:cubicBezTo>
                  <a:cubicBezTo>
                    <a:pt x="75561" y="50208"/>
                    <a:pt x="31746" y="17187"/>
                    <a:pt x="15236" y="4487"/>
                  </a:cubicBezTo>
                </a:path>
              </a:pathLst>
            </a:custGeom>
            <a:solidFill>
              <a:srgbClr val="FFFFFF"/>
            </a:solidFill>
            <a:ln w="6350" cap="flat">
              <a:noFill/>
              <a:prstDash val="solid"/>
              <a:miter/>
            </a:ln>
          </p:spPr>
          <p:txBody>
            <a:bodyPr rtlCol="0" anchor="ctr"/>
            <a:lstStyle/>
            <a:p>
              <a:endParaRPr lang="en-GB"/>
            </a:p>
          </p:txBody>
        </p:sp>
        <p:sp>
          <p:nvSpPr>
            <p:cNvPr id="122" name="Freeform 121">
              <a:extLst>
                <a:ext uri="{FF2B5EF4-FFF2-40B4-BE49-F238E27FC236}">
                  <a16:creationId xmlns:a16="http://schemas.microsoft.com/office/drawing/2014/main" id="{48252CE8-2362-2BCC-2D31-0A0D9E010185}"/>
                </a:ext>
              </a:extLst>
            </p:cNvPr>
            <p:cNvSpPr/>
            <p:nvPr/>
          </p:nvSpPr>
          <p:spPr>
            <a:xfrm>
              <a:off x="-9051290" y="3316193"/>
              <a:ext cx="38296" cy="47400"/>
            </a:xfrm>
            <a:custGeom>
              <a:avLst/>
              <a:gdLst>
                <a:gd name="connsiteX0" fmla="*/ 15007 w 38296"/>
                <a:gd name="connsiteY0" fmla="*/ 41199 h 47400"/>
                <a:gd name="connsiteX1" fmla="*/ 28977 w 38296"/>
                <a:gd name="connsiteY1" fmla="*/ 46279 h 47400"/>
                <a:gd name="connsiteX2" fmla="*/ 35962 w 38296"/>
                <a:gd name="connsiteY2" fmla="*/ 45009 h 47400"/>
                <a:gd name="connsiteX3" fmla="*/ 35962 w 38296"/>
                <a:gd name="connsiteY3" fmla="*/ 38659 h 47400"/>
                <a:gd name="connsiteX4" fmla="*/ 32152 w 38296"/>
                <a:gd name="connsiteY4" fmla="*/ 33579 h 47400"/>
                <a:gd name="connsiteX5" fmla="*/ 8022 w 38296"/>
                <a:gd name="connsiteY5" fmla="*/ 1829 h 47400"/>
                <a:gd name="connsiteX6" fmla="*/ -868 w 38296"/>
                <a:gd name="connsiteY6" fmla="*/ -711 h 47400"/>
                <a:gd name="connsiteX7" fmla="*/ -233 w 38296"/>
                <a:gd name="connsiteY7" fmla="*/ 7544 h 47400"/>
                <a:gd name="connsiteX8" fmla="*/ -868 w 38296"/>
                <a:gd name="connsiteY8" fmla="*/ 16434 h 47400"/>
                <a:gd name="connsiteX9" fmla="*/ 9292 w 38296"/>
                <a:gd name="connsiteY9" fmla="*/ 32309 h 47400"/>
                <a:gd name="connsiteX10" fmla="*/ 15007 w 38296"/>
                <a:gd name="connsiteY10" fmla="*/ 41199 h 4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296" h="47400">
                  <a:moveTo>
                    <a:pt x="15007" y="41199"/>
                  </a:moveTo>
                  <a:cubicBezTo>
                    <a:pt x="17547" y="45009"/>
                    <a:pt x="25167" y="45644"/>
                    <a:pt x="28977" y="46279"/>
                  </a:cubicBezTo>
                  <a:cubicBezTo>
                    <a:pt x="30882" y="46279"/>
                    <a:pt x="34057" y="46279"/>
                    <a:pt x="35962" y="45009"/>
                  </a:cubicBezTo>
                  <a:cubicBezTo>
                    <a:pt x="38502" y="43104"/>
                    <a:pt x="37232" y="40564"/>
                    <a:pt x="35962" y="38659"/>
                  </a:cubicBezTo>
                  <a:cubicBezTo>
                    <a:pt x="35327" y="38024"/>
                    <a:pt x="34057" y="36119"/>
                    <a:pt x="32152" y="33579"/>
                  </a:cubicBezTo>
                  <a:cubicBezTo>
                    <a:pt x="24532" y="23419"/>
                    <a:pt x="9292" y="3099"/>
                    <a:pt x="8022" y="1829"/>
                  </a:cubicBezTo>
                  <a:cubicBezTo>
                    <a:pt x="6117" y="-76"/>
                    <a:pt x="1672" y="-1981"/>
                    <a:pt x="-868" y="-711"/>
                  </a:cubicBezTo>
                  <a:cubicBezTo>
                    <a:pt x="-868" y="1829"/>
                    <a:pt x="-233" y="5004"/>
                    <a:pt x="-233" y="7544"/>
                  </a:cubicBezTo>
                  <a:cubicBezTo>
                    <a:pt x="-233" y="10084"/>
                    <a:pt x="-868" y="13894"/>
                    <a:pt x="-868" y="16434"/>
                  </a:cubicBezTo>
                  <a:cubicBezTo>
                    <a:pt x="1037" y="20244"/>
                    <a:pt x="5482" y="26594"/>
                    <a:pt x="9292" y="32309"/>
                  </a:cubicBezTo>
                  <a:cubicBezTo>
                    <a:pt x="12467" y="36754"/>
                    <a:pt x="15007" y="40564"/>
                    <a:pt x="15007" y="41199"/>
                  </a:cubicBezTo>
                </a:path>
              </a:pathLst>
            </a:custGeom>
            <a:solidFill>
              <a:srgbClr val="FFFFFF"/>
            </a:solidFill>
            <a:ln w="6350" cap="flat">
              <a:noFill/>
              <a:prstDash val="solid"/>
              <a:miter/>
            </a:ln>
          </p:spPr>
          <p:txBody>
            <a:bodyPr rtlCol="0" anchor="ctr"/>
            <a:lstStyle/>
            <a:p>
              <a:endParaRPr lang="en-GB"/>
            </a:p>
          </p:txBody>
        </p:sp>
        <p:sp>
          <p:nvSpPr>
            <p:cNvPr id="123" name="Freeform 122">
              <a:extLst>
                <a:ext uri="{FF2B5EF4-FFF2-40B4-BE49-F238E27FC236}">
                  <a16:creationId xmlns:a16="http://schemas.microsoft.com/office/drawing/2014/main" id="{210D1763-AF7F-7E4A-FAD8-E27B4445ED53}"/>
                </a:ext>
              </a:extLst>
            </p:cNvPr>
            <p:cNvSpPr/>
            <p:nvPr/>
          </p:nvSpPr>
          <p:spPr>
            <a:xfrm>
              <a:off x="-9046334" y="3275080"/>
              <a:ext cx="27598" cy="25649"/>
            </a:xfrm>
            <a:custGeom>
              <a:avLst/>
              <a:gdLst>
                <a:gd name="connsiteX0" fmla="*/ 23387 w 27598"/>
                <a:gd name="connsiteY0" fmla="*/ 12462 h 25649"/>
                <a:gd name="connsiteX1" fmla="*/ 15766 w 27598"/>
                <a:gd name="connsiteY1" fmla="*/ 4842 h 25649"/>
                <a:gd name="connsiteX2" fmla="*/ 10051 w 27598"/>
                <a:gd name="connsiteY2" fmla="*/ 397 h 25649"/>
                <a:gd name="connsiteX3" fmla="*/ 3701 w 27598"/>
                <a:gd name="connsiteY3" fmla="*/ -873 h 25649"/>
                <a:gd name="connsiteX4" fmla="*/ -743 w 27598"/>
                <a:gd name="connsiteY4" fmla="*/ 2937 h 25649"/>
                <a:gd name="connsiteX5" fmla="*/ 2432 w 27598"/>
                <a:gd name="connsiteY5" fmla="*/ 9922 h 25649"/>
                <a:gd name="connsiteX6" fmla="*/ 3701 w 27598"/>
                <a:gd name="connsiteY6" fmla="*/ 11827 h 25649"/>
                <a:gd name="connsiteX7" fmla="*/ 10051 w 27598"/>
                <a:gd name="connsiteY7" fmla="*/ 18812 h 25649"/>
                <a:gd name="connsiteX8" fmla="*/ 18941 w 27598"/>
                <a:gd name="connsiteY8" fmla="*/ 24527 h 25649"/>
                <a:gd name="connsiteX9" fmla="*/ 23387 w 27598"/>
                <a:gd name="connsiteY9" fmla="*/ 23257 h 25649"/>
                <a:gd name="connsiteX10" fmla="*/ 26562 w 27598"/>
                <a:gd name="connsiteY10" fmla="*/ 19447 h 25649"/>
                <a:gd name="connsiteX11" fmla="*/ 24657 w 27598"/>
                <a:gd name="connsiteY11" fmla="*/ 14367 h 25649"/>
                <a:gd name="connsiteX12" fmla="*/ 23387 w 27598"/>
                <a:gd name="connsiteY12" fmla="*/ 12462 h 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598" h="25649">
                  <a:moveTo>
                    <a:pt x="23387" y="12462"/>
                  </a:moveTo>
                  <a:cubicBezTo>
                    <a:pt x="20846" y="9922"/>
                    <a:pt x="18307" y="7382"/>
                    <a:pt x="15766" y="4842"/>
                  </a:cubicBezTo>
                  <a:cubicBezTo>
                    <a:pt x="13862" y="2937"/>
                    <a:pt x="12591" y="1667"/>
                    <a:pt x="10051" y="397"/>
                  </a:cubicBezTo>
                  <a:cubicBezTo>
                    <a:pt x="8146" y="-873"/>
                    <a:pt x="5607" y="-1508"/>
                    <a:pt x="3701" y="-873"/>
                  </a:cubicBezTo>
                  <a:cubicBezTo>
                    <a:pt x="1796" y="-873"/>
                    <a:pt x="-109" y="1032"/>
                    <a:pt x="-743" y="2937"/>
                  </a:cubicBezTo>
                  <a:cubicBezTo>
                    <a:pt x="-1379" y="5477"/>
                    <a:pt x="526" y="8017"/>
                    <a:pt x="2432" y="9922"/>
                  </a:cubicBezTo>
                  <a:cubicBezTo>
                    <a:pt x="3066" y="10557"/>
                    <a:pt x="3701" y="11192"/>
                    <a:pt x="3701" y="11827"/>
                  </a:cubicBezTo>
                  <a:cubicBezTo>
                    <a:pt x="5607" y="14367"/>
                    <a:pt x="8146" y="16272"/>
                    <a:pt x="10051" y="18812"/>
                  </a:cubicBezTo>
                  <a:cubicBezTo>
                    <a:pt x="12591" y="21352"/>
                    <a:pt x="14496" y="23892"/>
                    <a:pt x="18941" y="24527"/>
                  </a:cubicBezTo>
                  <a:cubicBezTo>
                    <a:pt x="20212" y="24527"/>
                    <a:pt x="22116" y="24527"/>
                    <a:pt x="23387" y="23257"/>
                  </a:cubicBezTo>
                  <a:cubicBezTo>
                    <a:pt x="24657" y="22622"/>
                    <a:pt x="25926" y="21352"/>
                    <a:pt x="26562" y="19447"/>
                  </a:cubicBezTo>
                  <a:cubicBezTo>
                    <a:pt x="27196" y="17542"/>
                    <a:pt x="25926" y="15637"/>
                    <a:pt x="24657" y="14367"/>
                  </a:cubicBezTo>
                  <a:cubicBezTo>
                    <a:pt x="24657" y="13732"/>
                    <a:pt x="24021" y="13097"/>
                    <a:pt x="23387" y="12462"/>
                  </a:cubicBezTo>
                </a:path>
              </a:pathLst>
            </a:custGeom>
            <a:solidFill>
              <a:srgbClr val="FFFFFF"/>
            </a:solidFill>
            <a:ln w="6350" cap="flat">
              <a:noFill/>
              <a:prstDash val="solid"/>
              <a:miter/>
            </a:ln>
          </p:spPr>
          <p:txBody>
            <a:bodyPr rtlCol="0" anchor="ctr"/>
            <a:lstStyle/>
            <a:p>
              <a:endParaRPr lang="en-GB"/>
            </a:p>
          </p:txBody>
        </p:sp>
        <p:sp>
          <p:nvSpPr>
            <p:cNvPr id="124" name="Freeform 123">
              <a:extLst>
                <a:ext uri="{FF2B5EF4-FFF2-40B4-BE49-F238E27FC236}">
                  <a16:creationId xmlns:a16="http://schemas.microsoft.com/office/drawing/2014/main" id="{F567D462-E29F-CB51-EE36-DB38B33ED19A}"/>
                </a:ext>
              </a:extLst>
            </p:cNvPr>
            <p:cNvSpPr/>
            <p:nvPr/>
          </p:nvSpPr>
          <p:spPr>
            <a:xfrm>
              <a:off x="-9073641" y="3203575"/>
              <a:ext cx="88391" cy="71957"/>
            </a:xfrm>
            <a:custGeom>
              <a:avLst/>
              <a:gdLst>
                <a:gd name="connsiteX0" fmla="*/ 84348 w 88391"/>
                <a:gd name="connsiteY0" fmla="*/ -1122 h 71957"/>
                <a:gd name="connsiteX1" fmla="*/ 76728 w 88391"/>
                <a:gd name="connsiteY1" fmla="*/ -1122 h 71957"/>
                <a:gd name="connsiteX2" fmla="*/ 57043 w 88391"/>
                <a:gd name="connsiteY2" fmla="*/ -1122 h 71957"/>
                <a:gd name="connsiteX3" fmla="*/ 50693 w 88391"/>
                <a:gd name="connsiteY3" fmla="*/ -1122 h 71957"/>
                <a:gd name="connsiteX4" fmla="*/ 37993 w 88391"/>
                <a:gd name="connsiteY4" fmla="*/ -1122 h 71957"/>
                <a:gd name="connsiteX5" fmla="*/ -742 w 88391"/>
                <a:gd name="connsiteY5" fmla="*/ 12848 h 71957"/>
                <a:gd name="connsiteX6" fmla="*/ 1798 w 88391"/>
                <a:gd name="connsiteY6" fmla="*/ 23008 h 71957"/>
                <a:gd name="connsiteX7" fmla="*/ 8148 w 88391"/>
                <a:gd name="connsiteY7" fmla="*/ 35073 h 71957"/>
                <a:gd name="connsiteX8" fmla="*/ 8148 w 88391"/>
                <a:gd name="connsiteY8" fmla="*/ 35708 h 71957"/>
                <a:gd name="connsiteX9" fmla="*/ 8783 w 88391"/>
                <a:gd name="connsiteY9" fmla="*/ 36978 h 71957"/>
                <a:gd name="connsiteX10" fmla="*/ 16403 w 88391"/>
                <a:gd name="connsiteY10" fmla="*/ 55393 h 71957"/>
                <a:gd name="connsiteX11" fmla="*/ 16403 w 88391"/>
                <a:gd name="connsiteY11" fmla="*/ 56028 h 71957"/>
                <a:gd name="connsiteX12" fmla="*/ 16403 w 88391"/>
                <a:gd name="connsiteY12" fmla="*/ 56663 h 71957"/>
                <a:gd name="connsiteX13" fmla="*/ 15768 w 88391"/>
                <a:gd name="connsiteY13" fmla="*/ 63648 h 71957"/>
                <a:gd name="connsiteX14" fmla="*/ 15768 w 88391"/>
                <a:gd name="connsiteY14" fmla="*/ 63648 h 71957"/>
                <a:gd name="connsiteX15" fmla="*/ 16403 w 88391"/>
                <a:gd name="connsiteY15" fmla="*/ 69998 h 71957"/>
                <a:gd name="connsiteX16" fmla="*/ 27198 w 88391"/>
                <a:gd name="connsiteY16" fmla="*/ 66188 h 71957"/>
                <a:gd name="connsiteX17" fmla="*/ 23388 w 88391"/>
                <a:gd name="connsiteY17" fmla="*/ 52853 h 71957"/>
                <a:gd name="connsiteX18" fmla="*/ 35453 w 88391"/>
                <a:gd name="connsiteY18" fmla="*/ 61108 h 71957"/>
                <a:gd name="connsiteX19" fmla="*/ 41803 w 88391"/>
                <a:gd name="connsiteY19" fmla="*/ 52853 h 71957"/>
                <a:gd name="connsiteX20" fmla="*/ 34183 w 88391"/>
                <a:gd name="connsiteY20" fmla="*/ 40153 h 71957"/>
                <a:gd name="connsiteX21" fmla="*/ 45613 w 88391"/>
                <a:gd name="connsiteY21" fmla="*/ 43963 h 71957"/>
                <a:gd name="connsiteX22" fmla="*/ 57678 w 88391"/>
                <a:gd name="connsiteY22" fmla="*/ 42693 h 71957"/>
                <a:gd name="connsiteX23" fmla="*/ 44343 w 88391"/>
                <a:gd name="connsiteY23" fmla="*/ 26183 h 71957"/>
                <a:gd name="connsiteX24" fmla="*/ 48788 w 88391"/>
                <a:gd name="connsiteY24" fmla="*/ 24913 h 71957"/>
                <a:gd name="connsiteX25" fmla="*/ 65298 w 88391"/>
                <a:gd name="connsiteY25" fmla="*/ 35073 h 71957"/>
                <a:gd name="connsiteX26" fmla="*/ 71648 w 88391"/>
                <a:gd name="connsiteY26" fmla="*/ 29993 h 71957"/>
                <a:gd name="connsiteX27" fmla="*/ 55773 w 88391"/>
                <a:gd name="connsiteY27" fmla="*/ 15388 h 71957"/>
                <a:gd name="connsiteX28" fmla="*/ 69108 w 88391"/>
                <a:gd name="connsiteY28" fmla="*/ 17928 h 71957"/>
                <a:gd name="connsiteX29" fmla="*/ 74823 w 88391"/>
                <a:gd name="connsiteY29" fmla="*/ 20468 h 71957"/>
                <a:gd name="connsiteX30" fmla="*/ 79903 w 88391"/>
                <a:gd name="connsiteY30" fmla="*/ 16023 h 71957"/>
                <a:gd name="connsiteX31" fmla="*/ 69108 w 88391"/>
                <a:gd name="connsiteY31" fmla="*/ 5863 h 71957"/>
                <a:gd name="connsiteX32" fmla="*/ 81173 w 88391"/>
                <a:gd name="connsiteY32" fmla="*/ 7133 h 71957"/>
                <a:gd name="connsiteX33" fmla="*/ 87523 w 88391"/>
                <a:gd name="connsiteY33" fmla="*/ 2053 h 71957"/>
                <a:gd name="connsiteX34" fmla="*/ 84348 w 88391"/>
                <a:gd name="connsiteY34" fmla="*/ -1122 h 71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8391" h="71957">
                  <a:moveTo>
                    <a:pt x="84348" y="-1122"/>
                  </a:moveTo>
                  <a:cubicBezTo>
                    <a:pt x="81808" y="-1122"/>
                    <a:pt x="79268" y="-1122"/>
                    <a:pt x="76728" y="-1122"/>
                  </a:cubicBezTo>
                  <a:lnTo>
                    <a:pt x="57043" y="-1122"/>
                  </a:lnTo>
                  <a:cubicBezTo>
                    <a:pt x="55138" y="-1122"/>
                    <a:pt x="52598" y="-1122"/>
                    <a:pt x="50693" y="-1122"/>
                  </a:cubicBezTo>
                  <a:cubicBezTo>
                    <a:pt x="46248" y="-1122"/>
                    <a:pt x="41803" y="-1122"/>
                    <a:pt x="37993" y="-1122"/>
                  </a:cubicBezTo>
                  <a:cubicBezTo>
                    <a:pt x="14498" y="-487"/>
                    <a:pt x="1163" y="3958"/>
                    <a:pt x="-742" y="12848"/>
                  </a:cubicBezTo>
                  <a:cubicBezTo>
                    <a:pt x="-1377" y="15388"/>
                    <a:pt x="528" y="19198"/>
                    <a:pt x="1798" y="23008"/>
                  </a:cubicBezTo>
                  <a:cubicBezTo>
                    <a:pt x="3703" y="27453"/>
                    <a:pt x="5608" y="31263"/>
                    <a:pt x="8148" y="35073"/>
                  </a:cubicBezTo>
                  <a:lnTo>
                    <a:pt x="8148" y="35708"/>
                  </a:lnTo>
                  <a:lnTo>
                    <a:pt x="8783" y="36978"/>
                  </a:lnTo>
                  <a:cubicBezTo>
                    <a:pt x="11958" y="42693"/>
                    <a:pt x="15133" y="48408"/>
                    <a:pt x="16403" y="55393"/>
                  </a:cubicBezTo>
                  <a:lnTo>
                    <a:pt x="16403" y="56028"/>
                  </a:lnTo>
                  <a:lnTo>
                    <a:pt x="16403" y="56663"/>
                  </a:lnTo>
                  <a:cubicBezTo>
                    <a:pt x="16403" y="59203"/>
                    <a:pt x="16403" y="61108"/>
                    <a:pt x="15768" y="63648"/>
                  </a:cubicBezTo>
                  <a:lnTo>
                    <a:pt x="15768" y="63648"/>
                  </a:lnTo>
                  <a:cubicBezTo>
                    <a:pt x="15133" y="66823"/>
                    <a:pt x="15133" y="69363"/>
                    <a:pt x="16403" y="69998"/>
                  </a:cubicBezTo>
                  <a:cubicBezTo>
                    <a:pt x="19578" y="72538"/>
                    <a:pt x="26563" y="68728"/>
                    <a:pt x="27198" y="66188"/>
                  </a:cubicBezTo>
                  <a:cubicBezTo>
                    <a:pt x="27833" y="63013"/>
                    <a:pt x="19578" y="55393"/>
                    <a:pt x="23388" y="52853"/>
                  </a:cubicBezTo>
                  <a:cubicBezTo>
                    <a:pt x="27833" y="48408"/>
                    <a:pt x="32278" y="60473"/>
                    <a:pt x="35453" y="61108"/>
                  </a:cubicBezTo>
                  <a:cubicBezTo>
                    <a:pt x="38628" y="61743"/>
                    <a:pt x="43708" y="57298"/>
                    <a:pt x="41803" y="52853"/>
                  </a:cubicBezTo>
                  <a:cubicBezTo>
                    <a:pt x="41168" y="50948"/>
                    <a:pt x="30373" y="45233"/>
                    <a:pt x="34183" y="40153"/>
                  </a:cubicBezTo>
                  <a:cubicBezTo>
                    <a:pt x="37358" y="36343"/>
                    <a:pt x="41803" y="41423"/>
                    <a:pt x="45613" y="43963"/>
                  </a:cubicBezTo>
                  <a:cubicBezTo>
                    <a:pt x="51963" y="49043"/>
                    <a:pt x="56408" y="47773"/>
                    <a:pt x="57678" y="42693"/>
                  </a:cubicBezTo>
                  <a:cubicBezTo>
                    <a:pt x="58948" y="39518"/>
                    <a:pt x="39263" y="31263"/>
                    <a:pt x="44343" y="26183"/>
                  </a:cubicBezTo>
                  <a:cubicBezTo>
                    <a:pt x="45613" y="24913"/>
                    <a:pt x="46883" y="24913"/>
                    <a:pt x="48788" y="24913"/>
                  </a:cubicBezTo>
                  <a:cubicBezTo>
                    <a:pt x="54503" y="26183"/>
                    <a:pt x="62123" y="34438"/>
                    <a:pt x="65298" y="35073"/>
                  </a:cubicBezTo>
                  <a:cubicBezTo>
                    <a:pt x="67838" y="35708"/>
                    <a:pt x="71648" y="33168"/>
                    <a:pt x="71648" y="29993"/>
                  </a:cubicBezTo>
                  <a:cubicBezTo>
                    <a:pt x="72283" y="26183"/>
                    <a:pt x="53233" y="19833"/>
                    <a:pt x="55773" y="15388"/>
                  </a:cubicBezTo>
                  <a:cubicBezTo>
                    <a:pt x="58313" y="10308"/>
                    <a:pt x="65933" y="16658"/>
                    <a:pt x="69108" y="17928"/>
                  </a:cubicBezTo>
                  <a:cubicBezTo>
                    <a:pt x="70378" y="18563"/>
                    <a:pt x="73553" y="20468"/>
                    <a:pt x="74823" y="20468"/>
                  </a:cubicBezTo>
                  <a:cubicBezTo>
                    <a:pt x="77998" y="20468"/>
                    <a:pt x="79268" y="19833"/>
                    <a:pt x="79903" y="16023"/>
                  </a:cubicBezTo>
                  <a:cubicBezTo>
                    <a:pt x="80538" y="11578"/>
                    <a:pt x="66568" y="10308"/>
                    <a:pt x="69108" y="5863"/>
                  </a:cubicBezTo>
                  <a:cubicBezTo>
                    <a:pt x="71648" y="783"/>
                    <a:pt x="77998" y="6498"/>
                    <a:pt x="81173" y="7133"/>
                  </a:cubicBezTo>
                  <a:cubicBezTo>
                    <a:pt x="85618" y="6498"/>
                    <a:pt x="87523" y="4593"/>
                    <a:pt x="87523" y="2053"/>
                  </a:cubicBezTo>
                  <a:cubicBezTo>
                    <a:pt x="87523" y="-1122"/>
                    <a:pt x="85618" y="-1122"/>
                    <a:pt x="84348" y="-1122"/>
                  </a:cubicBezTo>
                </a:path>
              </a:pathLst>
            </a:custGeom>
            <a:solidFill>
              <a:srgbClr val="FFFFFF"/>
            </a:solidFill>
            <a:ln w="6350" cap="flat">
              <a:noFill/>
              <a:prstDash val="solid"/>
              <a:miter/>
            </a:ln>
          </p:spPr>
          <p:txBody>
            <a:bodyPr rtlCol="0" anchor="ctr"/>
            <a:lstStyle/>
            <a:p>
              <a:endParaRPr lang="en-GB"/>
            </a:p>
          </p:txBody>
        </p:sp>
        <p:sp>
          <p:nvSpPr>
            <p:cNvPr id="125" name="Freeform 124">
              <a:extLst>
                <a:ext uri="{FF2B5EF4-FFF2-40B4-BE49-F238E27FC236}">
                  <a16:creationId xmlns:a16="http://schemas.microsoft.com/office/drawing/2014/main" id="{EB6A1F01-5AEB-D13A-D832-D1214B26E813}"/>
                </a:ext>
              </a:extLst>
            </p:cNvPr>
            <p:cNvSpPr/>
            <p:nvPr/>
          </p:nvSpPr>
          <p:spPr>
            <a:xfrm>
              <a:off x="-9405199" y="3202940"/>
              <a:ext cx="94955" cy="71780"/>
            </a:xfrm>
            <a:custGeom>
              <a:avLst/>
              <a:gdLst>
                <a:gd name="connsiteX0" fmla="*/ 76816 w 94955"/>
                <a:gd name="connsiteY0" fmla="*/ 56663 h 71780"/>
                <a:gd name="connsiteX1" fmla="*/ 76816 w 94955"/>
                <a:gd name="connsiteY1" fmla="*/ 56663 h 71780"/>
                <a:gd name="connsiteX2" fmla="*/ 84436 w 94955"/>
                <a:gd name="connsiteY2" fmla="*/ 37613 h 71780"/>
                <a:gd name="connsiteX3" fmla="*/ 85072 w 94955"/>
                <a:gd name="connsiteY3" fmla="*/ 36343 h 71780"/>
                <a:gd name="connsiteX4" fmla="*/ 85072 w 94955"/>
                <a:gd name="connsiteY4" fmla="*/ 35708 h 71780"/>
                <a:gd name="connsiteX5" fmla="*/ 91422 w 94955"/>
                <a:gd name="connsiteY5" fmla="*/ 23008 h 71780"/>
                <a:gd name="connsiteX6" fmla="*/ 93961 w 94955"/>
                <a:gd name="connsiteY6" fmla="*/ 12848 h 71780"/>
                <a:gd name="connsiteX7" fmla="*/ 54591 w 94955"/>
                <a:gd name="connsiteY7" fmla="*/ -1122 h 71780"/>
                <a:gd name="connsiteX8" fmla="*/ 41256 w 94955"/>
                <a:gd name="connsiteY8" fmla="*/ -1122 h 71780"/>
                <a:gd name="connsiteX9" fmla="*/ 30461 w 94955"/>
                <a:gd name="connsiteY9" fmla="*/ -1122 h 71780"/>
                <a:gd name="connsiteX10" fmla="*/ 17761 w 94955"/>
                <a:gd name="connsiteY10" fmla="*/ -1122 h 71780"/>
                <a:gd name="connsiteX11" fmla="*/ 5061 w 94955"/>
                <a:gd name="connsiteY11" fmla="*/ -1122 h 71780"/>
                <a:gd name="connsiteX12" fmla="*/ 3156 w 94955"/>
                <a:gd name="connsiteY12" fmla="*/ -1122 h 71780"/>
                <a:gd name="connsiteX13" fmla="*/ 3156 w 94955"/>
                <a:gd name="connsiteY13" fmla="*/ -1122 h 71780"/>
                <a:gd name="connsiteX14" fmla="*/ -653 w 94955"/>
                <a:gd name="connsiteY14" fmla="*/ 1418 h 71780"/>
                <a:gd name="connsiteX15" fmla="*/ 3156 w 94955"/>
                <a:gd name="connsiteY15" fmla="*/ 7768 h 71780"/>
                <a:gd name="connsiteX16" fmla="*/ 16491 w 94955"/>
                <a:gd name="connsiteY16" fmla="*/ 5228 h 71780"/>
                <a:gd name="connsiteX17" fmla="*/ 6331 w 94955"/>
                <a:gd name="connsiteY17" fmla="*/ 17928 h 71780"/>
                <a:gd name="connsiteX18" fmla="*/ 17127 w 94955"/>
                <a:gd name="connsiteY18" fmla="*/ 17928 h 71780"/>
                <a:gd name="connsiteX19" fmla="*/ 34906 w 94955"/>
                <a:gd name="connsiteY19" fmla="*/ 13483 h 71780"/>
                <a:gd name="connsiteX20" fmla="*/ 19666 w 94955"/>
                <a:gd name="connsiteY20" fmla="*/ 28723 h 71780"/>
                <a:gd name="connsiteX21" fmla="*/ 18397 w 94955"/>
                <a:gd name="connsiteY21" fmla="*/ 34438 h 71780"/>
                <a:gd name="connsiteX22" fmla="*/ 37447 w 94955"/>
                <a:gd name="connsiteY22" fmla="*/ 28088 h 71780"/>
                <a:gd name="connsiteX23" fmla="*/ 43797 w 94955"/>
                <a:gd name="connsiteY23" fmla="*/ 23643 h 71780"/>
                <a:gd name="connsiteX24" fmla="*/ 47606 w 94955"/>
                <a:gd name="connsiteY24" fmla="*/ 23643 h 71780"/>
                <a:gd name="connsiteX25" fmla="*/ 50781 w 94955"/>
                <a:gd name="connsiteY25" fmla="*/ 26818 h 71780"/>
                <a:gd name="connsiteX26" fmla="*/ 49511 w 94955"/>
                <a:gd name="connsiteY26" fmla="*/ 31263 h 71780"/>
                <a:gd name="connsiteX27" fmla="*/ 43797 w 94955"/>
                <a:gd name="connsiteY27" fmla="*/ 35708 h 71780"/>
                <a:gd name="connsiteX28" fmla="*/ 39352 w 94955"/>
                <a:gd name="connsiteY28" fmla="*/ 39518 h 71780"/>
                <a:gd name="connsiteX29" fmla="*/ 34272 w 94955"/>
                <a:gd name="connsiteY29" fmla="*/ 47138 h 71780"/>
                <a:gd name="connsiteX30" fmla="*/ 39986 w 94955"/>
                <a:gd name="connsiteY30" fmla="*/ 52218 h 71780"/>
                <a:gd name="connsiteX31" fmla="*/ 41891 w 94955"/>
                <a:gd name="connsiteY31" fmla="*/ 51583 h 71780"/>
                <a:gd name="connsiteX32" fmla="*/ 58402 w 94955"/>
                <a:gd name="connsiteY32" fmla="*/ 37613 h 71780"/>
                <a:gd name="connsiteX33" fmla="*/ 61577 w 94955"/>
                <a:gd name="connsiteY33" fmla="*/ 39518 h 71780"/>
                <a:gd name="connsiteX34" fmla="*/ 60941 w 94955"/>
                <a:gd name="connsiteY34" fmla="*/ 45233 h 71780"/>
                <a:gd name="connsiteX35" fmla="*/ 55227 w 94955"/>
                <a:gd name="connsiteY35" fmla="*/ 50948 h 71780"/>
                <a:gd name="connsiteX36" fmla="*/ 51416 w 94955"/>
                <a:gd name="connsiteY36" fmla="*/ 55393 h 71780"/>
                <a:gd name="connsiteX37" fmla="*/ 56497 w 94955"/>
                <a:gd name="connsiteY37" fmla="*/ 61743 h 71780"/>
                <a:gd name="connsiteX38" fmla="*/ 59672 w 94955"/>
                <a:gd name="connsiteY38" fmla="*/ 60473 h 71780"/>
                <a:gd name="connsiteX39" fmla="*/ 69197 w 94955"/>
                <a:gd name="connsiteY39" fmla="*/ 51583 h 71780"/>
                <a:gd name="connsiteX40" fmla="*/ 66022 w 94955"/>
                <a:gd name="connsiteY40" fmla="*/ 66188 h 71780"/>
                <a:gd name="connsiteX41" fmla="*/ 67927 w 94955"/>
                <a:gd name="connsiteY41" fmla="*/ 68728 h 71780"/>
                <a:gd name="connsiteX42" fmla="*/ 69831 w 94955"/>
                <a:gd name="connsiteY42" fmla="*/ 69998 h 71780"/>
                <a:gd name="connsiteX43" fmla="*/ 76816 w 94955"/>
                <a:gd name="connsiteY43" fmla="*/ 68728 h 71780"/>
                <a:gd name="connsiteX44" fmla="*/ 77452 w 94955"/>
                <a:gd name="connsiteY44" fmla="*/ 64918 h 71780"/>
                <a:gd name="connsiteX45" fmla="*/ 76816 w 94955"/>
                <a:gd name="connsiteY45" fmla="*/ 56663 h 71780"/>
                <a:gd name="connsiteX46" fmla="*/ 76816 w 94955"/>
                <a:gd name="connsiteY46" fmla="*/ 56663 h 71780"/>
                <a:gd name="connsiteX47" fmla="*/ 76816 w 94955"/>
                <a:gd name="connsiteY47" fmla="*/ 56663 h 7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955" h="71780">
                  <a:moveTo>
                    <a:pt x="76816" y="56663"/>
                  </a:moveTo>
                  <a:lnTo>
                    <a:pt x="76816" y="56663"/>
                  </a:lnTo>
                  <a:cubicBezTo>
                    <a:pt x="78086" y="49043"/>
                    <a:pt x="81261" y="43328"/>
                    <a:pt x="84436" y="37613"/>
                  </a:cubicBezTo>
                  <a:lnTo>
                    <a:pt x="85072" y="36343"/>
                  </a:lnTo>
                  <a:lnTo>
                    <a:pt x="85072" y="35708"/>
                  </a:lnTo>
                  <a:cubicBezTo>
                    <a:pt x="87611" y="31263"/>
                    <a:pt x="89516" y="27453"/>
                    <a:pt x="91422" y="23008"/>
                  </a:cubicBezTo>
                  <a:cubicBezTo>
                    <a:pt x="92691" y="19833"/>
                    <a:pt x="94597" y="16023"/>
                    <a:pt x="93961" y="12848"/>
                  </a:cubicBezTo>
                  <a:cubicBezTo>
                    <a:pt x="92056" y="3958"/>
                    <a:pt x="78722" y="-487"/>
                    <a:pt x="54591" y="-1122"/>
                  </a:cubicBezTo>
                  <a:cubicBezTo>
                    <a:pt x="50781" y="-1122"/>
                    <a:pt x="46336" y="-1122"/>
                    <a:pt x="41256" y="-1122"/>
                  </a:cubicBezTo>
                  <a:cubicBezTo>
                    <a:pt x="37447" y="-1122"/>
                    <a:pt x="34272" y="-1122"/>
                    <a:pt x="30461" y="-1122"/>
                  </a:cubicBezTo>
                  <a:cubicBezTo>
                    <a:pt x="26016" y="-1122"/>
                    <a:pt x="22206" y="-1122"/>
                    <a:pt x="17761" y="-1122"/>
                  </a:cubicBezTo>
                  <a:cubicBezTo>
                    <a:pt x="13316" y="-1122"/>
                    <a:pt x="9506" y="-1122"/>
                    <a:pt x="5061" y="-1122"/>
                  </a:cubicBezTo>
                  <a:cubicBezTo>
                    <a:pt x="4427" y="-1122"/>
                    <a:pt x="3791" y="-1122"/>
                    <a:pt x="3156" y="-1122"/>
                  </a:cubicBezTo>
                  <a:lnTo>
                    <a:pt x="3156" y="-1122"/>
                  </a:lnTo>
                  <a:cubicBezTo>
                    <a:pt x="1252" y="-1122"/>
                    <a:pt x="-19" y="-487"/>
                    <a:pt x="-653" y="1418"/>
                  </a:cubicBezTo>
                  <a:cubicBezTo>
                    <a:pt x="-1289" y="3958"/>
                    <a:pt x="-653" y="7768"/>
                    <a:pt x="3156" y="7768"/>
                  </a:cubicBezTo>
                  <a:cubicBezTo>
                    <a:pt x="7602" y="7768"/>
                    <a:pt x="13952" y="1418"/>
                    <a:pt x="16491" y="5228"/>
                  </a:cubicBezTo>
                  <a:cubicBezTo>
                    <a:pt x="19666" y="9673"/>
                    <a:pt x="3791" y="12213"/>
                    <a:pt x="6331" y="17928"/>
                  </a:cubicBezTo>
                  <a:cubicBezTo>
                    <a:pt x="9506" y="24913"/>
                    <a:pt x="15856" y="18563"/>
                    <a:pt x="17127" y="17928"/>
                  </a:cubicBezTo>
                  <a:cubicBezTo>
                    <a:pt x="20302" y="16658"/>
                    <a:pt x="30461" y="7133"/>
                    <a:pt x="34906" y="13483"/>
                  </a:cubicBezTo>
                  <a:cubicBezTo>
                    <a:pt x="38716" y="18563"/>
                    <a:pt x="21572" y="26183"/>
                    <a:pt x="19666" y="28723"/>
                  </a:cubicBezTo>
                  <a:cubicBezTo>
                    <a:pt x="19031" y="29358"/>
                    <a:pt x="17761" y="33168"/>
                    <a:pt x="18397" y="34438"/>
                  </a:cubicBezTo>
                  <a:cubicBezTo>
                    <a:pt x="22206" y="42693"/>
                    <a:pt x="31097" y="35073"/>
                    <a:pt x="37447" y="28088"/>
                  </a:cubicBezTo>
                  <a:cubicBezTo>
                    <a:pt x="39986" y="25548"/>
                    <a:pt x="41256" y="24278"/>
                    <a:pt x="43797" y="23643"/>
                  </a:cubicBezTo>
                  <a:cubicBezTo>
                    <a:pt x="45066" y="23008"/>
                    <a:pt x="46336" y="23008"/>
                    <a:pt x="47606" y="23643"/>
                  </a:cubicBezTo>
                  <a:cubicBezTo>
                    <a:pt x="48877" y="23643"/>
                    <a:pt x="50147" y="24913"/>
                    <a:pt x="50781" y="26818"/>
                  </a:cubicBezTo>
                  <a:cubicBezTo>
                    <a:pt x="51416" y="28723"/>
                    <a:pt x="50781" y="30628"/>
                    <a:pt x="49511" y="31263"/>
                  </a:cubicBezTo>
                  <a:cubicBezTo>
                    <a:pt x="47606" y="33168"/>
                    <a:pt x="45702" y="34438"/>
                    <a:pt x="43797" y="35708"/>
                  </a:cubicBezTo>
                  <a:cubicBezTo>
                    <a:pt x="42527" y="36978"/>
                    <a:pt x="41256" y="38248"/>
                    <a:pt x="39352" y="39518"/>
                  </a:cubicBezTo>
                  <a:cubicBezTo>
                    <a:pt x="37447" y="41423"/>
                    <a:pt x="33636" y="43963"/>
                    <a:pt x="34272" y="47138"/>
                  </a:cubicBezTo>
                  <a:cubicBezTo>
                    <a:pt x="34906" y="49678"/>
                    <a:pt x="36811" y="52218"/>
                    <a:pt x="39986" y="52218"/>
                  </a:cubicBezTo>
                  <a:cubicBezTo>
                    <a:pt x="40622" y="52218"/>
                    <a:pt x="41256" y="52218"/>
                    <a:pt x="41891" y="51583"/>
                  </a:cubicBezTo>
                  <a:cubicBezTo>
                    <a:pt x="45066" y="50313"/>
                    <a:pt x="53322" y="35708"/>
                    <a:pt x="58402" y="37613"/>
                  </a:cubicBezTo>
                  <a:cubicBezTo>
                    <a:pt x="59672" y="38248"/>
                    <a:pt x="61577" y="38248"/>
                    <a:pt x="61577" y="39518"/>
                  </a:cubicBezTo>
                  <a:cubicBezTo>
                    <a:pt x="62211" y="41423"/>
                    <a:pt x="62211" y="43963"/>
                    <a:pt x="60941" y="45233"/>
                  </a:cubicBezTo>
                  <a:cubicBezTo>
                    <a:pt x="59672" y="47138"/>
                    <a:pt x="57131" y="49678"/>
                    <a:pt x="55227" y="50948"/>
                  </a:cubicBezTo>
                  <a:cubicBezTo>
                    <a:pt x="53956" y="52218"/>
                    <a:pt x="52052" y="54123"/>
                    <a:pt x="51416" y="55393"/>
                  </a:cubicBezTo>
                  <a:cubicBezTo>
                    <a:pt x="48877" y="59838"/>
                    <a:pt x="52686" y="61743"/>
                    <a:pt x="56497" y="61743"/>
                  </a:cubicBezTo>
                  <a:cubicBezTo>
                    <a:pt x="57766" y="61743"/>
                    <a:pt x="58402" y="61108"/>
                    <a:pt x="59672" y="60473"/>
                  </a:cubicBezTo>
                  <a:cubicBezTo>
                    <a:pt x="62211" y="58568"/>
                    <a:pt x="64116" y="49678"/>
                    <a:pt x="69197" y="51583"/>
                  </a:cubicBezTo>
                  <a:cubicBezTo>
                    <a:pt x="74277" y="54123"/>
                    <a:pt x="64752" y="61108"/>
                    <a:pt x="66022" y="66188"/>
                  </a:cubicBezTo>
                  <a:cubicBezTo>
                    <a:pt x="66022" y="67458"/>
                    <a:pt x="67291" y="68093"/>
                    <a:pt x="67927" y="68728"/>
                  </a:cubicBezTo>
                  <a:cubicBezTo>
                    <a:pt x="68561" y="69363"/>
                    <a:pt x="69197" y="69363"/>
                    <a:pt x="69831" y="69998"/>
                  </a:cubicBezTo>
                  <a:cubicBezTo>
                    <a:pt x="72372" y="71268"/>
                    <a:pt x="74911" y="70633"/>
                    <a:pt x="76816" y="68728"/>
                  </a:cubicBezTo>
                  <a:cubicBezTo>
                    <a:pt x="77452" y="67458"/>
                    <a:pt x="77452" y="66188"/>
                    <a:pt x="77452" y="64918"/>
                  </a:cubicBezTo>
                  <a:cubicBezTo>
                    <a:pt x="76816" y="62378"/>
                    <a:pt x="76816" y="59838"/>
                    <a:pt x="76816" y="56663"/>
                  </a:cubicBezTo>
                  <a:lnTo>
                    <a:pt x="76816" y="56663"/>
                  </a:lnTo>
                  <a:lnTo>
                    <a:pt x="76816" y="56663"/>
                  </a:lnTo>
                  <a:close/>
                </a:path>
              </a:pathLst>
            </a:custGeom>
            <a:solidFill>
              <a:srgbClr val="FFFFFF"/>
            </a:solidFill>
            <a:ln w="6350" cap="flat">
              <a:noFill/>
              <a:prstDash val="solid"/>
              <a:miter/>
            </a:ln>
          </p:spPr>
          <p:txBody>
            <a:bodyPr rtlCol="0" anchor="ctr"/>
            <a:lstStyle/>
            <a:p>
              <a:endParaRPr lang="en-GB"/>
            </a:p>
          </p:txBody>
        </p:sp>
        <p:sp>
          <p:nvSpPr>
            <p:cNvPr id="126" name="Freeform 125">
              <a:extLst>
                <a:ext uri="{FF2B5EF4-FFF2-40B4-BE49-F238E27FC236}">
                  <a16:creationId xmlns:a16="http://schemas.microsoft.com/office/drawing/2014/main" id="{C006F2E6-35D7-D3D3-6997-42E795012A0C}"/>
                </a:ext>
              </a:extLst>
            </p:cNvPr>
            <p:cNvSpPr/>
            <p:nvPr/>
          </p:nvSpPr>
          <p:spPr>
            <a:xfrm>
              <a:off x="-9711099" y="3175634"/>
              <a:ext cx="438883" cy="99695"/>
            </a:xfrm>
            <a:custGeom>
              <a:avLst/>
              <a:gdLst>
                <a:gd name="connsiteX0" fmla="*/ 41721 w 438883"/>
                <a:gd name="connsiteY0" fmla="*/ 26183 h 99695"/>
                <a:gd name="connsiteX1" fmla="*/ 180151 w 438883"/>
                <a:gd name="connsiteY1" fmla="*/ 27453 h 99695"/>
                <a:gd name="connsiteX2" fmla="*/ 258256 w 438883"/>
                <a:gd name="connsiteY2" fmla="*/ 29358 h 99695"/>
                <a:gd name="connsiteX3" fmla="*/ 256351 w 438883"/>
                <a:gd name="connsiteY3" fmla="*/ 27453 h 99695"/>
                <a:gd name="connsiteX4" fmla="*/ 255081 w 438883"/>
                <a:gd name="connsiteY4" fmla="*/ 26818 h 99695"/>
                <a:gd name="connsiteX5" fmla="*/ 251271 w 438883"/>
                <a:gd name="connsiteY5" fmla="*/ 26183 h 99695"/>
                <a:gd name="connsiteX6" fmla="*/ 190311 w 438883"/>
                <a:gd name="connsiteY6" fmla="*/ 17293 h 99695"/>
                <a:gd name="connsiteX7" fmla="*/ 117921 w 438883"/>
                <a:gd name="connsiteY7" fmla="*/ 16658 h 99695"/>
                <a:gd name="connsiteX8" fmla="*/ 107126 w 438883"/>
                <a:gd name="connsiteY8" fmla="*/ 12848 h 99695"/>
                <a:gd name="connsiteX9" fmla="*/ 111571 w 438883"/>
                <a:gd name="connsiteY9" fmla="*/ 12213 h 99695"/>
                <a:gd name="connsiteX10" fmla="*/ 166816 w 438883"/>
                <a:gd name="connsiteY10" fmla="*/ 10308 h 99695"/>
                <a:gd name="connsiteX11" fmla="*/ 169356 w 438883"/>
                <a:gd name="connsiteY11" fmla="*/ 10308 h 99695"/>
                <a:gd name="connsiteX12" fmla="*/ 244286 w 438883"/>
                <a:gd name="connsiteY12" fmla="*/ 16658 h 99695"/>
                <a:gd name="connsiteX13" fmla="*/ 244286 w 438883"/>
                <a:gd name="connsiteY13" fmla="*/ 16658 h 99695"/>
                <a:gd name="connsiteX14" fmla="*/ 246826 w 438883"/>
                <a:gd name="connsiteY14" fmla="*/ 16658 h 99695"/>
                <a:gd name="connsiteX15" fmla="*/ 247461 w 438883"/>
                <a:gd name="connsiteY15" fmla="*/ 16658 h 99695"/>
                <a:gd name="connsiteX16" fmla="*/ 302706 w 438883"/>
                <a:gd name="connsiteY16" fmla="*/ 20468 h 99695"/>
                <a:gd name="connsiteX17" fmla="*/ 303341 w 438883"/>
                <a:gd name="connsiteY17" fmla="*/ 20468 h 99695"/>
                <a:gd name="connsiteX18" fmla="*/ 314136 w 438883"/>
                <a:gd name="connsiteY18" fmla="*/ 20468 h 99695"/>
                <a:gd name="connsiteX19" fmla="*/ 324931 w 438883"/>
                <a:gd name="connsiteY19" fmla="*/ 20468 h 99695"/>
                <a:gd name="connsiteX20" fmla="*/ 337631 w 438883"/>
                <a:gd name="connsiteY20" fmla="*/ 20468 h 99695"/>
                <a:gd name="connsiteX21" fmla="*/ 338266 w 438883"/>
                <a:gd name="connsiteY21" fmla="*/ 20468 h 99695"/>
                <a:gd name="connsiteX22" fmla="*/ 348426 w 438883"/>
                <a:gd name="connsiteY22" fmla="*/ 20468 h 99695"/>
                <a:gd name="connsiteX23" fmla="*/ 361126 w 438883"/>
                <a:gd name="connsiteY23" fmla="*/ 20468 h 99695"/>
                <a:gd name="connsiteX24" fmla="*/ 405576 w 438883"/>
                <a:gd name="connsiteY24" fmla="*/ 38883 h 99695"/>
                <a:gd name="connsiteX25" fmla="*/ 402401 w 438883"/>
                <a:gd name="connsiteY25" fmla="*/ 52853 h 99695"/>
                <a:gd name="connsiteX26" fmla="*/ 395416 w 438883"/>
                <a:gd name="connsiteY26" fmla="*/ 66188 h 99695"/>
                <a:gd name="connsiteX27" fmla="*/ 387796 w 438883"/>
                <a:gd name="connsiteY27" fmla="*/ 83968 h 99695"/>
                <a:gd name="connsiteX28" fmla="*/ 389066 w 438883"/>
                <a:gd name="connsiteY28" fmla="*/ 93493 h 99695"/>
                <a:gd name="connsiteX29" fmla="*/ 391606 w 438883"/>
                <a:gd name="connsiteY29" fmla="*/ 98573 h 99695"/>
                <a:gd name="connsiteX30" fmla="*/ 399861 w 438883"/>
                <a:gd name="connsiteY30" fmla="*/ 87778 h 99695"/>
                <a:gd name="connsiteX31" fmla="*/ 397956 w 438883"/>
                <a:gd name="connsiteY31" fmla="*/ 84603 h 99695"/>
                <a:gd name="connsiteX32" fmla="*/ 412561 w 438883"/>
                <a:gd name="connsiteY32" fmla="*/ 54123 h 99695"/>
                <a:gd name="connsiteX33" fmla="*/ 429706 w 438883"/>
                <a:gd name="connsiteY33" fmla="*/ 36978 h 99695"/>
                <a:gd name="connsiteX34" fmla="*/ 437961 w 438883"/>
                <a:gd name="connsiteY34" fmla="*/ 21103 h 99695"/>
                <a:gd name="connsiteX35" fmla="*/ 425261 w 438883"/>
                <a:gd name="connsiteY35" fmla="*/ 8403 h 99695"/>
                <a:gd name="connsiteX36" fmla="*/ 408116 w 438883"/>
                <a:gd name="connsiteY36" fmla="*/ 2688 h 99695"/>
                <a:gd name="connsiteX37" fmla="*/ 368746 w 438883"/>
                <a:gd name="connsiteY37" fmla="*/ -1122 h 99695"/>
                <a:gd name="connsiteX38" fmla="*/ 332551 w 438883"/>
                <a:gd name="connsiteY38" fmla="*/ 1418 h 99695"/>
                <a:gd name="connsiteX39" fmla="*/ 288101 w 438883"/>
                <a:gd name="connsiteY39" fmla="*/ 3958 h 99695"/>
                <a:gd name="connsiteX40" fmla="*/ 244286 w 438883"/>
                <a:gd name="connsiteY40" fmla="*/ 2053 h 99695"/>
                <a:gd name="connsiteX41" fmla="*/ 239841 w 438883"/>
                <a:gd name="connsiteY41" fmla="*/ 2053 h 99695"/>
                <a:gd name="connsiteX42" fmla="*/ 211266 w 438883"/>
                <a:gd name="connsiteY42" fmla="*/ 148 h 99695"/>
                <a:gd name="connsiteX43" fmla="*/ 143956 w 438883"/>
                <a:gd name="connsiteY43" fmla="*/ 148 h 99695"/>
                <a:gd name="connsiteX44" fmla="*/ 135701 w 438883"/>
                <a:gd name="connsiteY44" fmla="*/ 783 h 99695"/>
                <a:gd name="connsiteX45" fmla="*/ 66486 w 438883"/>
                <a:gd name="connsiteY45" fmla="*/ 3323 h 99695"/>
                <a:gd name="connsiteX46" fmla="*/ 32196 w 438883"/>
                <a:gd name="connsiteY46" fmla="*/ 1418 h 99695"/>
                <a:gd name="connsiteX47" fmla="*/ 13781 w 438883"/>
                <a:gd name="connsiteY47" fmla="*/ -487 h 99695"/>
                <a:gd name="connsiteX48" fmla="*/ 9336 w 438883"/>
                <a:gd name="connsiteY48" fmla="*/ 148 h 99695"/>
                <a:gd name="connsiteX49" fmla="*/ 7431 w 438883"/>
                <a:gd name="connsiteY49" fmla="*/ 783 h 99695"/>
                <a:gd name="connsiteX50" fmla="*/ -824 w 438883"/>
                <a:gd name="connsiteY50" fmla="*/ 10308 h 99695"/>
                <a:gd name="connsiteX51" fmla="*/ 22671 w 438883"/>
                <a:gd name="connsiteY51" fmla="*/ 22373 h 99695"/>
                <a:gd name="connsiteX52" fmla="*/ 41721 w 438883"/>
                <a:gd name="connsiteY52" fmla="*/ 26183 h 9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38883" h="99695">
                  <a:moveTo>
                    <a:pt x="41721" y="26183"/>
                  </a:moveTo>
                  <a:cubicBezTo>
                    <a:pt x="67756" y="26183"/>
                    <a:pt x="142051" y="26183"/>
                    <a:pt x="180151" y="27453"/>
                  </a:cubicBezTo>
                  <a:cubicBezTo>
                    <a:pt x="218251" y="28088"/>
                    <a:pt x="257621" y="31263"/>
                    <a:pt x="258256" y="29358"/>
                  </a:cubicBezTo>
                  <a:cubicBezTo>
                    <a:pt x="258256" y="28088"/>
                    <a:pt x="257621" y="27453"/>
                    <a:pt x="256351" y="27453"/>
                  </a:cubicBezTo>
                  <a:cubicBezTo>
                    <a:pt x="255716" y="27453"/>
                    <a:pt x="255081" y="26818"/>
                    <a:pt x="255081" y="26818"/>
                  </a:cubicBezTo>
                  <a:cubicBezTo>
                    <a:pt x="253811" y="26183"/>
                    <a:pt x="252541" y="26183"/>
                    <a:pt x="251271" y="26183"/>
                  </a:cubicBezTo>
                  <a:cubicBezTo>
                    <a:pt x="230951" y="22373"/>
                    <a:pt x="210631" y="19833"/>
                    <a:pt x="190311" y="17293"/>
                  </a:cubicBezTo>
                  <a:cubicBezTo>
                    <a:pt x="171896" y="15388"/>
                    <a:pt x="123636" y="16023"/>
                    <a:pt x="117921" y="16658"/>
                  </a:cubicBezTo>
                  <a:cubicBezTo>
                    <a:pt x="114111" y="16658"/>
                    <a:pt x="109666" y="16658"/>
                    <a:pt x="107126" y="12848"/>
                  </a:cubicBezTo>
                  <a:cubicBezTo>
                    <a:pt x="108396" y="12848"/>
                    <a:pt x="109666" y="12213"/>
                    <a:pt x="111571" y="12213"/>
                  </a:cubicBezTo>
                  <a:cubicBezTo>
                    <a:pt x="129986" y="10308"/>
                    <a:pt x="148401" y="10308"/>
                    <a:pt x="166816" y="10308"/>
                  </a:cubicBezTo>
                  <a:cubicBezTo>
                    <a:pt x="167451" y="10308"/>
                    <a:pt x="168721" y="10308"/>
                    <a:pt x="169356" y="10308"/>
                  </a:cubicBezTo>
                  <a:cubicBezTo>
                    <a:pt x="194756" y="10943"/>
                    <a:pt x="219521" y="14753"/>
                    <a:pt x="244286" y="16658"/>
                  </a:cubicBezTo>
                  <a:cubicBezTo>
                    <a:pt x="244286" y="16658"/>
                    <a:pt x="244286" y="16658"/>
                    <a:pt x="244286" y="16658"/>
                  </a:cubicBezTo>
                  <a:cubicBezTo>
                    <a:pt x="244286" y="16658"/>
                    <a:pt x="245556" y="16658"/>
                    <a:pt x="246826" y="16658"/>
                  </a:cubicBezTo>
                  <a:cubicBezTo>
                    <a:pt x="246826" y="16658"/>
                    <a:pt x="247461" y="16658"/>
                    <a:pt x="247461" y="16658"/>
                  </a:cubicBezTo>
                  <a:cubicBezTo>
                    <a:pt x="256986" y="17293"/>
                    <a:pt x="294451" y="20468"/>
                    <a:pt x="302706" y="20468"/>
                  </a:cubicBezTo>
                  <a:cubicBezTo>
                    <a:pt x="303341" y="20468"/>
                    <a:pt x="303341" y="20468"/>
                    <a:pt x="303341" y="20468"/>
                  </a:cubicBezTo>
                  <a:cubicBezTo>
                    <a:pt x="307151" y="20468"/>
                    <a:pt x="310326" y="20468"/>
                    <a:pt x="314136" y="20468"/>
                  </a:cubicBezTo>
                  <a:cubicBezTo>
                    <a:pt x="317946" y="20468"/>
                    <a:pt x="321121" y="20468"/>
                    <a:pt x="324931" y="20468"/>
                  </a:cubicBezTo>
                  <a:cubicBezTo>
                    <a:pt x="329376" y="20468"/>
                    <a:pt x="333186" y="20468"/>
                    <a:pt x="337631" y="20468"/>
                  </a:cubicBezTo>
                  <a:lnTo>
                    <a:pt x="338266" y="20468"/>
                  </a:lnTo>
                  <a:cubicBezTo>
                    <a:pt x="341441" y="20468"/>
                    <a:pt x="345251" y="20468"/>
                    <a:pt x="348426" y="20468"/>
                  </a:cubicBezTo>
                  <a:cubicBezTo>
                    <a:pt x="352871" y="20468"/>
                    <a:pt x="357316" y="20468"/>
                    <a:pt x="361126" y="20468"/>
                  </a:cubicBezTo>
                  <a:cubicBezTo>
                    <a:pt x="374461" y="20468"/>
                    <a:pt x="401766" y="22373"/>
                    <a:pt x="405576" y="38883"/>
                  </a:cubicBezTo>
                  <a:cubicBezTo>
                    <a:pt x="406846" y="43963"/>
                    <a:pt x="404306" y="48408"/>
                    <a:pt x="402401" y="52853"/>
                  </a:cubicBezTo>
                  <a:cubicBezTo>
                    <a:pt x="400496" y="57298"/>
                    <a:pt x="397956" y="61743"/>
                    <a:pt x="395416" y="66188"/>
                  </a:cubicBezTo>
                  <a:cubicBezTo>
                    <a:pt x="392241" y="71903"/>
                    <a:pt x="389066" y="77618"/>
                    <a:pt x="387796" y="83968"/>
                  </a:cubicBezTo>
                  <a:cubicBezTo>
                    <a:pt x="387796" y="87143"/>
                    <a:pt x="387796" y="90318"/>
                    <a:pt x="389066" y="93493"/>
                  </a:cubicBezTo>
                  <a:cubicBezTo>
                    <a:pt x="389701" y="94763"/>
                    <a:pt x="390971" y="96668"/>
                    <a:pt x="391606" y="98573"/>
                  </a:cubicBezTo>
                  <a:cubicBezTo>
                    <a:pt x="394146" y="94763"/>
                    <a:pt x="396686" y="90953"/>
                    <a:pt x="399861" y="87778"/>
                  </a:cubicBezTo>
                  <a:cubicBezTo>
                    <a:pt x="399226" y="86508"/>
                    <a:pt x="397956" y="84603"/>
                    <a:pt x="397956" y="84603"/>
                  </a:cubicBezTo>
                  <a:cubicBezTo>
                    <a:pt x="392241" y="73808"/>
                    <a:pt x="405576" y="61108"/>
                    <a:pt x="412561" y="54123"/>
                  </a:cubicBezTo>
                  <a:cubicBezTo>
                    <a:pt x="418276" y="48408"/>
                    <a:pt x="424626" y="42693"/>
                    <a:pt x="429706" y="36978"/>
                  </a:cubicBezTo>
                  <a:cubicBezTo>
                    <a:pt x="433516" y="32533"/>
                    <a:pt x="438596" y="27453"/>
                    <a:pt x="437961" y="21103"/>
                  </a:cubicBezTo>
                  <a:cubicBezTo>
                    <a:pt x="437326" y="14118"/>
                    <a:pt x="430976" y="10943"/>
                    <a:pt x="425261" y="8403"/>
                  </a:cubicBezTo>
                  <a:cubicBezTo>
                    <a:pt x="419546" y="5863"/>
                    <a:pt x="413831" y="4593"/>
                    <a:pt x="408116" y="2688"/>
                  </a:cubicBezTo>
                  <a:cubicBezTo>
                    <a:pt x="395416" y="-487"/>
                    <a:pt x="381446" y="-1122"/>
                    <a:pt x="368746" y="-1122"/>
                  </a:cubicBezTo>
                  <a:cubicBezTo>
                    <a:pt x="356681" y="-1122"/>
                    <a:pt x="344616" y="148"/>
                    <a:pt x="332551" y="1418"/>
                  </a:cubicBezTo>
                  <a:cubicBezTo>
                    <a:pt x="317946" y="3323"/>
                    <a:pt x="303341" y="3958"/>
                    <a:pt x="288101" y="3958"/>
                  </a:cubicBezTo>
                  <a:cubicBezTo>
                    <a:pt x="273496" y="3958"/>
                    <a:pt x="258891" y="3323"/>
                    <a:pt x="244286" y="2053"/>
                  </a:cubicBezTo>
                  <a:cubicBezTo>
                    <a:pt x="243016" y="2053"/>
                    <a:pt x="241111" y="2053"/>
                    <a:pt x="239841" y="2053"/>
                  </a:cubicBezTo>
                  <a:cubicBezTo>
                    <a:pt x="230951" y="1418"/>
                    <a:pt x="221426" y="783"/>
                    <a:pt x="211266" y="148"/>
                  </a:cubicBezTo>
                  <a:cubicBezTo>
                    <a:pt x="196661" y="-1122"/>
                    <a:pt x="150941" y="-487"/>
                    <a:pt x="143956" y="148"/>
                  </a:cubicBezTo>
                  <a:cubicBezTo>
                    <a:pt x="141416" y="148"/>
                    <a:pt x="138241" y="148"/>
                    <a:pt x="135701" y="783"/>
                  </a:cubicBezTo>
                  <a:cubicBezTo>
                    <a:pt x="112841" y="2053"/>
                    <a:pt x="89346" y="4593"/>
                    <a:pt x="66486" y="3323"/>
                  </a:cubicBezTo>
                  <a:cubicBezTo>
                    <a:pt x="55056" y="2688"/>
                    <a:pt x="43626" y="2688"/>
                    <a:pt x="32196" y="1418"/>
                  </a:cubicBezTo>
                  <a:lnTo>
                    <a:pt x="13781" y="-487"/>
                  </a:lnTo>
                  <a:cubicBezTo>
                    <a:pt x="11876" y="-487"/>
                    <a:pt x="10606" y="-487"/>
                    <a:pt x="9336" y="148"/>
                  </a:cubicBezTo>
                  <a:cubicBezTo>
                    <a:pt x="8701" y="148"/>
                    <a:pt x="8066" y="148"/>
                    <a:pt x="7431" y="783"/>
                  </a:cubicBezTo>
                  <a:cubicBezTo>
                    <a:pt x="4891" y="2053"/>
                    <a:pt x="-1459" y="9673"/>
                    <a:pt x="-824" y="10308"/>
                  </a:cubicBezTo>
                  <a:cubicBezTo>
                    <a:pt x="-189" y="10943"/>
                    <a:pt x="21401" y="21738"/>
                    <a:pt x="22671" y="22373"/>
                  </a:cubicBezTo>
                  <a:cubicBezTo>
                    <a:pt x="31561" y="24278"/>
                    <a:pt x="34101" y="26183"/>
                    <a:pt x="41721" y="26183"/>
                  </a:cubicBezTo>
                </a:path>
              </a:pathLst>
            </a:custGeom>
            <a:solidFill>
              <a:srgbClr val="FFFFFF"/>
            </a:solidFill>
            <a:ln w="6350" cap="flat">
              <a:noFill/>
              <a:prstDash val="solid"/>
              <a:miter/>
            </a:ln>
          </p:spPr>
          <p:txBody>
            <a:bodyPr rtlCol="0" anchor="ctr"/>
            <a:lstStyle/>
            <a:p>
              <a:endParaRPr lang="en-GB"/>
            </a:p>
          </p:txBody>
        </p:sp>
        <p:sp>
          <p:nvSpPr>
            <p:cNvPr id="127" name="Freeform 126">
              <a:extLst>
                <a:ext uri="{FF2B5EF4-FFF2-40B4-BE49-F238E27FC236}">
                  <a16:creationId xmlns:a16="http://schemas.microsoft.com/office/drawing/2014/main" id="{8BEC5E23-5BB5-B599-E4E5-243A03A0BAAB}"/>
                </a:ext>
              </a:extLst>
            </p:cNvPr>
            <p:cNvSpPr/>
            <p:nvPr/>
          </p:nvSpPr>
          <p:spPr>
            <a:xfrm>
              <a:off x="-9111669" y="3175000"/>
              <a:ext cx="436650" cy="101600"/>
            </a:xfrm>
            <a:custGeom>
              <a:avLst/>
              <a:gdLst>
                <a:gd name="connsiteX0" fmla="*/ 428446 w 436650"/>
                <a:gd name="connsiteY0" fmla="*/ 783 h 101600"/>
                <a:gd name="connsiteX1" fmla="*/ 426541 w 436650"/>
                <a:gd name="connsiteY1" fmla="*/ 148 h 101600"/>
                <a:gd name="connsiteX2" fmla="*/ 422096 w 436650"/>
                <a:gd name="connsiteY2" fmla="*/ -487 h 101600"/>
                <a:gd name="connsiteX3" fmla="*/ 403681 w 436650"/>
                <a:gd name="connsiteY3" fmla="*/ 1418 h 101600"/>
                <a:gd name="connsiteX4" fmla="*/ 369391 w 436650"/>
                <a:gd name="connsiteY4" fmla="*/ 3323 h 101600"/>
                <a:gd name="connsiteX5" fmla="*/ 300176 w 436650"/>
                <a:gd name="connsiteY5" fmla="*/ 783 h 101600"/>
                <a:gd name="connsiteX6" fmla="*/ 291921 w 436650"/>
                <a:gd name="connsiteY6" fmla="*/ 148 h 101600"/>
                <a:gd name="connsiteX7" fmla="*/ 224611 w 436650"/>
                <a:gd name="connsiteY7" fmla="*/ 148 h 101600"/>
                <a:gd name="connsiteX8" fmla="*/ 196036 w 436650"/>
                <a:gd name="connsiteY8" fmla="*/ 2053 h 101600"/>
                <a:gd name="connsiteX9" fmla="*/ 191591 w 436650"/>
                <a:gd name="connsiteY9" fmla="*/ 2053 h 101600"/>
                <a:gd name="connsiteX10" fmla="*/ 147776 w 436650"/>
                <a:gd name="connsiteY10" fmla="*/ 3958 h 101600"/>
                <a:gd name="connsiteX11" fmla="*/ 103326 w 436650"/>
                <a:gd name="connsiteY11" fmla="*/ 1418 h 101600"/>
                <a:gd name="connsiteX12" fmla="*/ 67131 w 436650"/>
                <a:gd name="connsiteY12" fmla="*/ -1122 h 101600"/>
                <a:gd name="connsiteX13" fmla="*/ 27761 w 436650"/>
                <a:gd name="connsiteY13" fmla="*/ 2688 h 101600"/>
                <a:gd name="connsiteX14" fmla="*/ 15696 w 436650"/>
                <a:gd name="connsiteY14" fmla="*/ 6498 h 101600"/>
                <a:gd name="connsiteX15" fmla="*/ 15061 w 436650"/>
                <a:gd name="connsiteY15" fmla="*/ 7133 h 101600"/>
                <a:gd name="connsiteX16" fmla="*/ 12521 w 436650"/>
                <a:gd name="connsiteY16" fmla="*/ 8403 h 101600"/>
                <a:gd name="connsiteX17" fmla="*/ 12521 w 436650"/>
                <a:gd name="connsiteY17" fmla="*/ 8403 h 101600"/>
                <a:gd name="connsiteX18" fmla="*/ 11886 w 436650"/>
                <a:gd name="connsiteY18" fmla="*/ 9038 h 101600"/>
                <a:gd name="connsiteX19" fmla="*/ -814 w 436650"/>
                <a:gd name="connsiteY19" fmla="*/ 21738 h 101600"/>
                <a:gd name="connsiteX20" fmla="*/ 7441 w 436650"/>
                <a:gd name="connsiteY20" fmla="*/ 37613 h 101600"/>
                <a:gd name="connsiteX21" fmla="*/ 24586 w 436650"/>
                <a:gd name="connsiteY21" fmla="*/ 54758 h 101600"/>
                <a:gd name="connsiteX22" fmla="*/ 39191 w 436650"/>
                <a:gd name="connsiteY22" fmla="*/ 85238 h 101600"/>
                <a:gd name="connsiteX23" fmla="*/ 36651 w 436650"/>
                <a:gd name="connsiteY23" fmla="*/ 89048 h 101600"/>
                <a:gd name="connsiteX24" fmla="*/ 44906 w 436650"/>
                <a:gd name="connsiteY24" fmla="*/ 100478 h 101600"/>
                <a:gd name="connsiteX25" fmla="*/ 47446 w 436650"/>
                <a:gd name="connsiteY25" fmla="*/ 94763 h 101600"/>
                <a:gd name="connsiteX26" fmla="*/ 48716 w 436650"/>
                <a:gd name="connsiteY26" fmla="*/ 85238 h 101600"/>
                <a:gd name="connsiteX27" fmla="*/ 41096 w 436650"/>
                <a:gd name="connsiteY27" fmla="*/ 67458 h 101600"/>
                <a:gd name="connsiteX28" fmla="*/ 34111 w 436650"/>
                <a:gd name="connsiteY28" fmla="*/ 54758 h 101600"/>
                <a:gd name="connsiteX29" fmla="*/ 30936 w 436650"/>
                <a:gd name="connsiteY29" fmla="*/ 40788 h 101600"/>
                <a:gd name="connsiteX30" fmla="*/ 75386 w 436650"/>
                <a:gd name="connsiteY30" fmla="*/ 22373 h 101600"/>
                <a:gd name="connsiteX31" fmla="*/ 88086 w 436650"/>
                <a:gd name="connsiteY31" fmla="*/ 22373 h 101600"/>
                <a:gd name="connsiteX32" fmla="*/ 98246 w 436650"/>
                <a:gd name="connsiteY32" fmla="*/ 22373 h 101600"/>
                <a:gd name="connsiteX33" fmla="*/ 98881 w 436650"/>
                <a:gd name="connsiteY33" fmla="*/ 22373 h 101600"/>
                <a:gd name="connsiteX34" fmla="*/ 111581 w 436650"/>
                <a:gd name="connsiteY34" fmla="*/ 22373 h 101600"/>
                <a:gd name="connsiteX35" fmla="*/ 122376 w 436650"/>
                <a:gd name="connsiteY35" fmla="*/ 22373 h 101600"/>
                <a:gd name="connsiteX36" fmla="*/ 133171 w 436650"/>
                <a:gd name="connsiteY36" fmla="*/ 22373 h 101600"/>
                <a:gd name="connsiteX37" fmla="*/ 133806 w 436650"/>
                <a:gd name="connsiteY37" fmla="*/ 22373 h 101600"/>
                <a:gd name="connsiteX38" fmla="*/ 189051 w 436650"/>
                <a:gd name="connsiteY38" fmla="*/ 18563 h 101600"/>
                <a:gd name="connsiteX39" fmla="*/ 189686 w 436650"/>
                <a:gd name="connsiteY39" fmla="*/ 18563 h 101600"/>
                <a:gd name="connsiteX40" fmla="*/ 192226 w 436650"/>
                <a:gd name="connsiteY40" fmla="*/ 18563 h 101600"/>
                <a:gd name="connsiteX41" fmla="*/ 192226 w 436650"/>
                <a:gd name="connsiteY41" fmla="*/ 18563 h 101600"/>
                <a:gd name="connsiteX42" fmla="*/ 267156 w 436650"/>
                <a:gd name="connsiteY42" fmla="*/ 12213 h 101600"/>
                <a:gd name="connsiteX43" fmla="*/ 269696 w 436650"/>
                <a:gd name="connsiteY43" fmla="*/ 12213 h 101600"/>
                <a:gd name="connsiteX44" fmla="*/ 324941 w 436650"/>
                <a:gd name="connsiteY44" fmla="*/ 14118 h 101600"/>
                <a:gd name="connsiteX45" fmla="*/ 329386 w 436650"/>
                <a:gd name="connsiteY45" fmla="*/ 14753 h 101600"/>
                <a:gd name="connsiteX46" fmla="*/ 318591 w 436650"/>
                <a:gd name="connsiteY46" fmla="*/ 18563 h 101600"/>
                <a:gd name="connsiteX47" fmla="*/ 246201 w 436650"/>
                <a:gd name="connsiteY47" fmla="*/ 19198 h 101600"/>
                <a:gd name="connsiteX48" fmla="*/ 185241 w 436650"/>
                <a:gd name="connsiteY48" fmla="*/ 27453 h 101600"/>
                <a:gd name="connsiteX49" fmla="*/ 181431 w 436650"/>
                <a:gd name="connsiteY49" fmla="*/ 28088 h 101600"/>
                <a:gd name="connsiteX50" fmla="*/ 180161 w 436650"/>
                <a:gd name="connsiteY50" fmla="*/ 28723 h 101600"/>
                <a:gd name="connsiteX51" fmla="*/ 178256 w 436650"/>
                <a:gd name="connsiteY51" fmla="*/ 30628 h 101600"/>
                <a:gd name="connsiteX52" fmla="*/ 256361 w 436650"/>
                <a:gd name="connsiteY52" fmla="*/ 28723 h 101600"/>
                <a:gd name="connsiteX53" fmla="*/ 394791 w 436650"/>
                <a:gd name="connsiteY53" fmla="*/ 27453 h 101600"/>
                <a:gd name="connsiteX54" fmla="*/ 411936 w 436650"/>
                <a:gd name="connsiteY54" fmla="*/ 23008 h 101600"/>
                <a:gd name="connsiteX55" fmla="*/ 435431 w 436650"/>
                <a:gd name="connsiteY55" fmla="*/ 10943 h 101600"/>
                <a:gd name="connsiteX56" fmla="*/ 428446 w 436650"/>
                <a:gd name="connsiteY56" fmla="*/ 783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36650" h="101600">
                  <a:moveTo>
                    <a:pt x="428446" y="783"/>
                  </a:moveTo>
                  <a:cubicBezTo>
                    <a:pt x="427811" y="783"/>
                    <a:pt x="427176" y="148"/>
                    <a:pt x="426541" y="148"/>
                  </a:cubicBezTo>
                  <a:cubicBezTo>
                    <a:pt x="425271" y="-487"/>
                    <a:pt x="423366" y="-487"/>
                    <a:pt x="422096" y="-487"/>
                  </a:cubicBezTo>
                  <a:lnTo>
                    <a:pt x="403681" y="1418"/>
                  </a:lnTo>
                  <a:cubicBezTo>
                    <a:pt x="392251" y="2053"/>
                    <a:pt x="380821" y="2688"/>
                    <a:pt x="369391" y="3323"/>
                  </a:cubicBezTo>
                  <a:cubicBezTo>
                    <a:pt x="346531" y="4593"/>
                    <a:pt x="323036" y="2053"/>
                    <a:pt x="300176" y="783"/>
                  </a:cubicBezTo>
                  <a:cubicBezTo>
                    <a:pt x="297636" y="783"/>
                    <a:pt x="294461" y="783"/>
                    <a:pt x="291921" y="148"/>
                  </a:cubicBezTo>
                  <a:cubicBezTo>
                    <a:pt x="284936" y="-487"/>
                    <a:pt x="239851" y="-1122"/>
                    <a:pt x="224611" y="148"/>
                  </a:cubicBezTo>
                  <a:cubicBezTo>
                    <a:pt x="215086" y="783"/>
                    <a:pt x="205561" y="1418"/>
                    <a:pt x="196036" y="2053"/>
                  </a:cubicBezTo>
                  <a:cubicBezTo>
                    <a:pt x="194766" y="2053"/>
                    <a:pt x="192861" y="2053"/>
                    <a:pt x="191591" y="2053"/>
                  </a:cubicBezTo>
                  <a:cubicBezTo>
                    <a:pt x="176986" y="2688"/>
                    <a:pt x="162381" y="3323"/>
                    <a:pt x="147776" y="3958"/>
                  </a:cubicBezTo>
                  <a:cubicBezTo>
                    <a:pt x="133171" y="3958"/>
                    <a:pt x="117931" y="3323"/>
                    <a:pt x="103326" y="1418"/>
                  </a:cubicBezTo>
                  <a:cubicBezTo>
                    <a:pt x="91261" y="148"/>
                    <a:pt x="79196" y="-1122"/>
                    <a:pt x="67131" y="-1122"/>
                  </a:cubicBezTo>
                  <a:cubicBezTo>
                    <a:pt x="53796" y="-1122"/>
                    <a:pt x="40461" y="-487"/>
                    <a:pt x="27761" y="2688"/>
                  </a:cubicBezTo>
                  <a:cubicBezTo>
                    <a:pt x="23316" y="3323"/>
                    <a:pt x="19506" y="4593"/>
                    <a:pt x="15696" y="6498"/>
                  </a:cubicBezTo>
                  <a:cubicBezTo>
                    <a:pt x="15061" y="6498"/>
                    <a:pt x="15061" y="6498"/>
                    <a:pt x="15061" y="7133"/>
                  </a:cubicBezTo>
                  <a:cubicBezTo>
                    <a:pt x="14426" y="7768"/>
                    <a:pt x="13156" y="7768"/>
                    <a:pt x="12521" y="8403"/>
                  </a:cubicBezTo>
                  <a:lnTo>
                    <a:pt x="12521" y="8403"/>
                  </a:lnTo>
                  <a:cubicBezTo>
                    <a:pt x="12521" y="8403"/>
                    <a:pt x="11886" y="8403"/>
                    <a:pt x="11886" y="9038"/>
                  </a:cubicBezTo>
                  <a:cubicBezTo>
                    <a:pt x="6171" y="11578"/>
                    <a:pt x="-179" y="14753"/>
                    <a:pt x="-814" y="21738"/>
                  </a:cubicBezTo>
                  <a:cubicBezTo>
                    <a:pt x="-1449" y="28088"/>
                    <a:pt x="3631" y="33168"/>
                    <a:pt x="7441" y="37613"/>
                  </a:cubicBezTo>
                  <a:cubicBezTo>
                    <a:pt x="12521" y="43963"/>
                    <a:pt x="18871" y="49043"/>
                    <a:pt x="24586" y="54758"/>
                  </a:cubicBezTo>
                  <a:cubicBezTo>
                    <a:pt x="30936" y="61743"/>
                    <a:pt x="44906" y="74443"/>
                    <a:pt x="39191" y="85238"/>
                  </a:cubicBezTo>
                  <a:cubicBezTo>
                    <a:pt x="39191" y="85238"/>
                    <a:pt x="37286" y="87778"/>
                    <a:pt x="36651" y="89048"/>
                  </a:cubicBezTo>
                  <a:cubicBezTo>
                    <a:pt x="39826" y="92858"/>
                    <a:pt x="42366" y="96033"/>
                    <a:pt x="44906" y="100478"/>
                  </a:cubicBezTo>
                  <a:cubicBezTo>
                    <a:pt x="45541" y="98573"/>
                    <a:pt x="46811" y="96668"/>
                    <a:pt x="47446" y="94763"/>
                  </a:cubicBezTo>
                  <a:cubicBezTo>
                    <a:pt x="48716" y="91588"/>
                    <a:pt x="49351" y="88413"/>
                    <a:pt x="48716" y="85238"/>
                  </a:cubicBezTo>
                  <a:cubicBezTo>
                    <a:pt x="47446" y="78888"/>
                    <a:pt x="44271" y="73173"/>
                    <a:pt x="41096" y="67458"/>
                  </a:cubicBezTo>
                  <a:cubicBezTo>
                    <a:pt x="38556" y="63013"/>
                    <a:pt x="36016" y="59203"/>
                    <a:pt x="34111" y="54758"/>
                  </a:cubicBezTo>
                  <a:cubicBezTo>
                    <a:pt x="32206" y="50313"/>
                    <a:pt x="30301" y="45868"/>
                    <a:pt x="30936" y="40788"/>
                  </a:cubicBezTo>
                  <a:cubicBezTo>
                    <a:pt x="34746" y="23643"/>
                    <a:pt x="62051" y="22373"/>
                    <a:pt x="75386" y="22373"/>
                  </a:cubicBezTo>
                  <a:cubicBezTo>
                    <a:pt x="79831" y="22373"/>
                    <a:pt x="84276" y="22373"/>
                    <a:pt x="88086" y="22373"/>
                  </a:cubicBezTo>
                  <a:cubicBezTo>
                    <a:pt x="91261" y="22373"/>
                    <a:pt x="95071" y="22373"/>
                    <a:pt x="98246" y="22373"/>
                  </a:cubicBezTo>
                  <a:cubicBezTo>
                    <a:pt x="98246" y="22373"/>
                    <a:pt x="98881" y="22373"/>
                    <a:pt x="98881" y="22373"/>
                  </a:cubicBezTo>
                  <a:cubicBezTo>
                    <a:pt x="103326" y="22373"/>
                    <a:pt x="107136" y="22373"/>
                    <a:pt x="111581" y="22373"/>
                  </a:cubicBezTo>
                  <a:cubicBezTo>
                    <a:pt x="115391" y="22373"/>
                    <a:pt x="118566" y="22373"/>
                    <a:pt x="122376" y="22373"/>
                  </a:cubicBezTo>
                  <a:cubicBezTo>
                    <a:pt x="126186" y="22373"/>
                    <a:pt x="129361" y="22373"/>
                    <a:pt x="133171" y="22373"/>
                  </a:cubicBezTo>
                  <a:cubicBezTo>
                    <a:pt x="133171" y="22373"/>
                    <a:pt x="133806" y="22373"/>
                    <a:pt x="133806" y="22373"/>
                  </a:cubicBezTo>
                  <a:cubicBezTo>
                    <a:pt x="142061" y="22373"/>
                    <a:pt x="179526" y="19198"/>
                    <a:pt x="189051" y="18563"/>
                  </a:cubicBezTo>
                  <a:cubicBezTo>
                    <a:pt x="189051" y="18563"/>
                    <a:pt x="189686" y="18563"/>
                    <a:pt x="189686" y="18563"/>
                  </a:cubicBezTo>
                  <a:cubicBezTo>
                    <a:pt x="190956" y="18563"/>
                    <a:pt x="192226" y="18563"/>
                    <a:pt x="192226" y="18563"/>
                  </a:cubicBezTo>
                  <a:cubicBezTo>
                    <a:pt x="192226" y="18563"/>
                    <a:pt x="192226" y="18563"/>
                    <a:pt x="192226" y="18563"/>
                  </a:cubicBezTo>
                  <a:cubicBezTo>
                    <a:pt x="217626" y="16023"/>
                    <a:pt x="242391" y="12848"/>
                    <a:pt x="267156" y="12213"/>
                  </a:cubicBezTo>
                  <a:cubicBezTo>
                    <a:pt x="267791" y="12213"/>
                    <a:pt x="268426" y="12213"/>
                    <a:pt x="269696" y="12213"/>
                  </a:cubicBezTo>
                  <a:cubicBezTo>
                    <a:pt x="288111" y="12213"/>
                    <a:pt x="306526" y="12213"/>
                    <a:pt x="324941" y="14118"/>
                  </a:cubicBezTo>
                  <a:cubicBezTo>
                    <a:pt x="326211" y="14118"/>
                    <a:pt x="328116" y="14118"/>
                    <a:pt x="329386" y="14753"/>
                  </a:cubicBezTo>
                  <a:cubicBezTo>
                    <a:pt x="327481" y="18563"/>
                    <a:pt x="323036" y="19198"/>
                    <a:pt x="318591" y="18563"/>
                  </a:cubicBezTo>
                  <a:cubicBezTo>
                    <a:pt x="313511" y="18563"/>
                    <a:pt x="264616" y="17293"/>
                    <a:pt x="246201" y="19198"/>
                  </a:cubicBezTo>
                  <a:cubicBezTo>
                    <a:pt x="225881" y="21103"/>
                    <a:pt x="205561" y="23643"/>
                    <a:pt x="185241" y="27453"/>
                  </a:cubicBezTo>
                  <a:cubicBezTo>
                    <a:pt x="183971" y="27453"/>
                    <a:pt x="182701" y="28088"/>
                    <a:pt x="181431" y="28088"/>
                  </a:cubicBezTo>
                  <a:cubicBezTo>
                    <a:pt x="180796" y="28088"/>
                    <a:pt x="180796" y="28088"/>
                    <a:pt x="180161" y="28723"/>
                  </a:cubicBezTo>
                  <a:cubicBezTo>
                    <a:pt x="179526" y="29358"/>
                    <a:pt x="178256" y="29993"/>
                    <a:pt x="178256" y="30628"/>
                  </a:cubicBezTo>
                  <a:cubicBezTo>
                    <a:pt x="178256" y="32533"/>
                    <a:pt x="217626" y="29993"/>
                    <a:pt x="256361" y="28723"/>
                  </a:cubicBezTo>
                  <a:cubicBezTo>
                    <a:pt x="295096" y="27453"/>
                    <a:pt x="368756" y="27453"/>
                    <a:pt x="394791" y="27453"/>
                  </a:cubicBezTo>
                  <a:cubicBezTo>
                    <a:pt x="402411" y="27453"/>
                    <a:pt x="404316" y="25548"/>
                    <a:pt x="411936" y="23008"/>
                  </a:cubicBezTo>
                  <a:cubicBezTo>
                    <a:pt x="413206" y="22373"/>
                    <a:pt x="434796" y="11578"/>
                    <a:pt x="435431" y="10943"/>
                  </a:cubicBezTo>
                  <a:cubicBezTo>
                    <a:pt x="437336" y="9038"/>
                    <a:pt x="430986" y="1418"/>
                    <a:pt x="428446" y="783"/>
                  </a:cubicBezTo>
                </a:path>
              </a:pathLst>
            </a:custGeom>
            <a:solidFill>
              <a:srgbClr val="FFFFFF"/>
            </a:solidFill>
            <a:ln w="6350" cap="flat">
              <a:noFill/>
              <a:prstDash val="solid"/>
              <a:miter/>
            </a:ln>
          </p:spPr>
          <p:txBody>
            <a:bodyPr rtlCol="0" anchor="ctr"/>
            <a:lstStyle/>
            <a:p>
              <a:endParaRPr lang="en-GB"/>
            </a:p>
          </p:txBody>
        </p:sp>
      </p:grpSp>
      <p:grpSp>
        <p:nvGrpSpPr>
          <p:cNvPr id="128" name="Graphic 79">
            <a:extLst>
              <a:ext uri="{FF2B5EF4-FFF2-40B4-BE49-F238E27FC236}">
                <a16:creationId xmlns:a16="http://schemas.microsoft.com/office/drawing/2014/main" id="{9340ABE6-861E-59E7-1555-C678D503CA89}"/>
              </a:ext>
            </a:extLst>
          </p:cNvPr>
          <p:cNvGrpSpPr/>
          <p:nvPr userDrawn="1"/>
        </p:nvGrpSpPr>
        <p:grpSpPr>
          <a:xfrm>
            <a:off x="7022466" y="4538344"/>
            <a:ext cx="1321434" cy="156844"/>
            <a:chOff x="-6693534" y="4538344"/>
            <a:chExt cx="1321434" cy="156844"/>
          </a:xfrm>
          <a:solidFill>
            <a:srgbClr val="FFFFFF"/>
          </a:solidFill>
        </p:grpSpPr>
        <p:sp>
          <p:nvSpPr>
            <p:cNvPr id="129" name="Freeform 128">
              <a:extLst>
                <a:ext uri="{FF2B5EF4-FFF2-40B4-BE49-F238E27FC236}">
                  <a16:creationId xmlns:a16="http://schemas.microsoft.com/office/drawing/2014/main" id="{8D02B247-A3EE-8D96-29CB-930CD353FA3F}"/>
                </a:ext>
              </a:extLst>
            </p:cNvPr>
            <p:cNvSpPr/>
            <p:nvPr/>
          </p:nvSpPr>
          <p:spPr>
            <a:xfrm>
              <a:off x="-5474334" y="4540250"/>
              <a:ext cx="102234" cy="152400"/>
            </a:xfrm>
            <a:custGeom>
              <a:avLst/>
              <a:gdLst>
                <a:gd name="connsiteX0" fmla="*/ 25782 w 102234"/>
                <a:gd name="connsiteY0" fmla="*/ -1575 h 152400"/>
                <a:gd name="connsiteX1" fmla="*/ 25782 w 102234"/>
                <a:gd name="connsiteY1" fmla="*/ -1575 h 152400"/>
                <a:gd name="connsiteX2" fmla="*/ -2158 w 102234"/>
                <a:gd name="connsiteY2" fmla="*/ -1575 h 152400"/>
                <a:gd name="connsiteX3" fmla="*/ -2158 w 102234"/>
                <a:gd name="connsiteY3" fmla="*/ 7950 h 152400"/>
                <a:gd name="connsiteX4" fmla="*/ 25782 w 102234"/>
                <a:gd name="connsiteY4" fmla="*/ 7950 h 152400"/>
                <a:gd name="connsiteX5" fmla="*/ 91187 w 102234"/>
                <a:gd name="connsiteY5" fmla="*/ 74625 h 152400"/>
                <a:gd name="connsiteX6" fmla="*/ 25782 w 102234"/>
                <a:gd name="connsiteY6" fmla="*/ 141300 h 152400"/>
                <a:gd name="connsiteX7" fmla="*/ -2158 w 102234"/>
                <a:gd name="connsiteY7" fmla="*/ 141300 h 152400"/>
                <a:gd name="connsiteX8" fmla="*/ -2158 w 102234"/>
                <a:gd name="connsiteY8" fmla="*/ 150825 h 152400"/>
                <a:gd name="connsiteX9" fmla="*/ 25782 w 102234"/>
                <a:gd name="connsiteY9" fmla="*/ 150825 h 152400"/>
                <a:gd name="connsiteX10" fmla="*/ 100077 w 102234"/>
                <a:gd name="connsiteY10" fmla="*/ 74625 h 152400"/>
                <a:gd name="connsiteX11" fmla="*/ 25782 w 102234"/>
                <a:gd name="connsiteY11"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4" h="152400">
                  <a:moveTo>
                    <a:pt x="25782" y="-1575"/>
                  </a:moveTo>
                  <a:lnTo>
                    <a:pt x="25782" y="-1575"/>
                  </a:lnTo>
                  <a:lnTo>
                    <a:pt x="-2158" y="-1575"/>
                  </a:lnTo>
                  <a:lnTo>
                    <a:pt x="-2158" y="7950"/>
                  </a:lnTo>
                  <a:lnTo>
                    <a:pt x="25782" y="7950"/>
                  </a:lnTo>
                  <a:cubicBezTo>
                    <a:pt x="61977" y="7950"/>
                    <a:pt x="91187" y="37795"/>
                    <a:pt x="91187" y="74625"/>
                  </a:cubicBezTo>
                  <a:cubicBezTo>
                    <a:pt x="91187" y="111455"/>
                    <a:pt x="61977" y="141300"/>
                    <a:pt x="25782" y="141300"/>
                  </a:cubicBezTo>
                  <a:lnTo>
                    <a:pt x="-2158" y="141300"/>
                  </a:lnTo>
                  <a:lnTo>
                    <a:pt x="-2158" y="150825"/>
                  </a:lnTo>
                  <a:lnTo>
                    <a:pt x="25782" y="150825"/>
                  </a:lnTo>
                  <a:cubicBezTo>
                    <a:pt x="67057" y="150825"/>
                    <a:pt x="100077" y="116536"/>
                    <a:pt x="100077" y="74625"/>
                  </a:cubicBezTo>
                  <a:cubicBezTo>
                    <a:pt x="100077" y="32714"/>
                    <a:pt x="67057" y="-1575"/>
                    <a:pt x="25782" y="-1575"/>
                  </a:cubicBezTo>
                  <a:close/>
                </a:path>
              </a:pathLst>
            </a:custGeom>
            <a:solidFill>
              <a:srgbClr val="FFFFFF"/>
            </a:solidFill>
            <a:ln w="6350" cap="flat">
              <a:noFill/>
              <a:prstDash val="solid"/>
              <a:miter/>
            </a:ln>
          </p:spPr>
          <p:txBody>
            <a:bodyPr rtlCol="0" anchor="ctr"/>
            <a:lstStyle/>
            <a:p>
              <a:endParaRPr lang="en-GB"/>
            </a:p>
          </p:txBody>
        </p:sp>
        <p:sp>
          <p:nvSpPr>
            <p:cNvPr id="130" name="Freeform 129">
              <a:extLst>
                <a:ext uri="{FF2B5EF4-FFF2-40B4-BE49-F238E27FC236}">
                  <a16:creationId xmlns:a16="http://schemas.microsoft.com/office/drawing/2014/main" id="{53A3400A-EAE0-826F-CDEE-900457EA1F9A}"/>
                </a:ext>
              </a:extLst>
            </p:cNvPr>
            <p:cNvSpPr/>
            <p:nvPr/>
          </p:nvSpPr>
          <p:spPr>
            <a:xfrm>
              <a:off x="-5494019"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FFFFFF"/>
            </a:solidFill>
            <a:ln w="6350" cap="flat">
              <a:noFill/>
              <a:prstDash val="solid"/>
              <a:miter/>
            </a:ln>
          </p:spPr>
          <p:txBody>
            <a:bodyPr rtlCol="0" anchor="ctr"/>
            <a:lstStyle/>
            <a:p>
              <a:endParaRPr lang="en-GB"/>
            </a:p>
          </p:txBody>
        </p:sp>
        <p:sp>
          <p:nvSpPr>
            <p:cNvPr id="131" name="Freeform 130">
              <a:extLst>
                <a:ext uri="{FF2B5EF4-FFF2-40B4-BE49-F238E27FC236}">
                  <a16:creationId xmlns:a16="http://schemas.microsoft.com/office/drawing/2014/main" id="{D6FCEFFA-DC6F-CF56-AF1B-BF16EA22D7C8}"/>
                </a:ext>
              </a:extLst>
            </p:cNvPr>
            <p:cNvSpPr/>
            <p:nvPr/>
          </p:nvSpPr>
          <p:spPr>
            <a:xfrm>
              <a:off x="-5733415" y="4640580"/>
              <a:ext cx="59055" cy="8889"/>
            </a:xfrm>
            <a:custGeom>
              <a:avLst/>
              <a:gdLst>
                <a:gd name="connsiteX0" fmla="*/ -2158 w 59055"/>
                <a:gd name="connsiteY0" fmla="*/ -1575 h 8889"/>
                <a:gd name="connsiteX1" fmla="*/ -2158 w 59055"/>
                <a:gd name="connsiteY1" fmla="*/ -1575 h 8889"/>
                <a:gd name="connsiteX2" fmla="*/ 56897 w 59055"/>
                <a:gd name="connsiteY2" fmla="*/ -1575 h 8889"/>
                <a:gd name="connsiteX3" fmla="*/ 56897 w 59055"/>
                <a:gd name="connsiteY3" fmla="*/ 7314 h 8889"/>
                <a:gd name="connsiteX4" fmla="*/ -2158 w 59055"/>
                <a:gd name="connsiteY4" fmla="*/ 7314 h 8889"/>
                <a:gd name="connsiteX5" fmla="*/ -2158 w 59055"/>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 h="8889">
                  <a:moveTo>
                    <a:pt x="-2158" y="-1575"/>
                  </a:moveTo>
                  <a:lnTo>
                    <a:pt x="-2158" y="-1575"/>
                  </a:lnTo>
                  <a:lnTo>
                    <a:pt x="56897" y="-1575"/>
                  </a:lnTo>
                  <a:lnTo>
                    <a:pt x="56897" y="7314"/>
                  </a:lnTo>
                  <a:lnTo>
                    <a:pt x="-2158" y="7314"/>
                  </a:lnTo>
                  <a:lnTo>
                    <a:pt x="-2158" y="-1575"/>
                  </a:lnTo>
                  <a:close/>
                </a:path>
              </a:pathLst>
            </a:custGeom>
            <a:solidFill>
              <a:srgbClr val="FFFFFF"/>
            </a:solidFill>
            <a:ln w="6350" cap="flat">
              <a:noFill/>
              <a:prstDash val="solid"/>
              <a:miter/>
            </a:ln>
          </p:spPr>
          <p:txBody>
            <a:bodyPr rtlCol="0" anchor="ctr"/>
            <a:lstStyle/>
            <a:p>
              <a:endParaRPr lang="en-GB"/>
            </a:p>
          </p:txBody>
        </p:sp>
        <p:sp>
          <p:nvSpPr>
            <p:cNvPr id="132" name="Freeform 131">
              <a:extLst>
                <a:ext uri="{FF2B5EF4-FFF2-40B4-BE49-F238E27FC236}">
                  <a16:creationId xmlns:a16="http://schemas.microsoft.com/office/drawing/2014/main" id="{19C069EF-BAAE-A7CE-550F-5D114E6EA716}"/>
                </a:ext>
              </a:extLst>
            </p:cNvPr>
            <p:cNvSpPr/>
            <p:nvPr/>
          </p:nvSpPr>
          <p:spPr>
            <a:xfrm>
              <a:off x="-5770244" y="4540250"/>
              <a:ext cx="135254" cy="152400"/>
            </a:xfrm>
            <a:custGeom>
              <a:avLst/>
              <a:gdLst>
                <a:gd name="connsiteX0" fmla="*/ 69597 w 135254"/>
                <a:gd name="connsiteY0" fmla="*/ -1575 h 152400"/>
                <a:gd name="connsiteX1" fmla="*/ 69597 w 135254"/>
                <a:gd name="connsiteY1" fmla="*/ -1575 h 152400"/>
                <a:gd name="connsiteX2" fmla="*/ 69597 w 135254"/>
                <a:gd name="connsiteY2" fmla="*/ -1575 h 152400"/>
                <a:gd name="connsiteX3" fmla="*/ 60706 w 135254"/>
                <a:gd name="connsiteY3" fmla="*/ -1575 h 152400"/>
                <a:gd name="connsiteX4" fmla="*/ 60706 w 135254"/>
                <a:gd name="connsiteY4" fmla="*/ -1575 h 152400"/>
                <a:gd name="connsiteX5" fmla="*/ 60706 w 135254"/>
                <a:gd name="connsiteY5" fmla="*/ -1575 h 152400"/>
                <a:gd name="connsiteX6" fmla="*/ -2158 w 135254"/>
                <a:gd name="connsiteY6" fmla="*/ 147014 h 152400"/>
                <a:gd name="connsiteX7" fmla="*/ 6097 w 135254"/>
                <a:gd name="connsiteY7" fmla="*/ 150825 h 152400"/>
                <a:gd name="connsiteX8" fmla="*/ 65152 w 135254"/>
                <a:gd name="connsiteY8" fmla="*/ 9855 h 152400"/>
                <a:gd name="connsiteX9" fmla="*/ 124842 w 135254"/>
                <a:gd name="connsiteY9" fmla="*/ 150825 h 152400"/>
                <a:gd name="connsiteX10" fmla="*/ 133097 w 135254"/>
                <a:gd name="connsiteY10" fmla="*/ 147014 h 152400"/>
                <a:gd name="connsiteX11" fmla="*/ 69597 w 135254"/>
                <a:gd name="connsiteY11" fmla="*/ -1575 h 152400"/>
                <a:gd name="connsiteX12" fmla="*/ 69597 w 135254"/>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4" h="152400">
                  <a:moveTo>
                    <a:pt x="69597" y="-1575"/>
                  </a:moveTo>
                  <a:lnTo>
                    <a:pt x="69597" y="-1575"/>
                  </a:lnTo>
                  <a:lnTo>
                    <a:pt x="69597" y="-1575"/>
                  </a:lnTo>
                  <a:lnTo>
                    <a:pt x="60706" y="-1575"/>
                  </a:lnTo>
                  <a:lnTo>
                    <a:pt x="60706" y="-1575"/>
                  </a:lnTo>
                  <a:lnTo>
                    <a:pt x="60706" y="-1575"/>
                  </a:lnTo>
                  <a:lnTo>
                    <a:pt x="-2158" y="147014"/>
                  </a:lnTo>
                  <a:lnTo>
                    <a:pt x="6097" y="150825"/>
                  </a:lnTo>
                  <a:lnTo>
                    <a:pt x="65152" y="9855"/>
                  </a:lnTo>
                  <a:lnTo>
                    <a:pt x="124842" y="150825"/>
                  </a:lnTo>
                  <a:lnTo>
                    <a:pt x="133097" y="147014"/>
                  </a:lnTo>
                  <a:lnTo>
                    <a:pt x="69597" y="-1575"/>
                  </a:lnTo>
                  <a:lnTo>
                    <a:pt x="69597" y="-1575"/>
                  </a:lnTo>
                  <a:close/>
                </a:path>
              </a:pathLst>
            </a:custGeom>
            <a:solidFill>
              <a:srgbClr val="FFFFFF"/>
            </a:solidFill>
            <a:ln w="6350" cap="flat">
              <a:noFill/>
              <a:prstDash val="solid"/>
              <a:miter/>
            </a:ln>
          </p:spPr>
          <p:txBody>
            <a:bodyPr rtlCol="0" anchor="ctr"/>
            <a:lstStyle/>
            <a:p>
              <a:endParaRPr lang="en-GB"/>
            </a:p>
          </p:txBody>
        </p:sp>
        <p:sp>
          <p:nvSpPr>
            <p:cNvPr id="133" name="Freeform 132">
              <a:extLst>
                <a:ext uri="{FF2B5EF4-FFF2-40B4-BE49-F238E27FC236}">
                  <a16:creationId xmlns:a16="http://schemas.microsoft.com/office/drawing/2014/main" id="{56FE1628-8C42-CCD0-1C42-149614DD4EAB}"/>
                </a:ext>
              </a:extLst>
            </p:cNvPr>
            <p:cNvSpPr/>
            <p:nvPr/>
          </p:nvSpPr>
          <p:spPr>
            <a:xfrm>
              <a:off x="-5920740" y="4540250"/>
              <a:ext cx="8890" cy="149860"/>
            </a:xfrm>
            <a:custGeom>
              <a:avLst/>
              <a:gdLst>
                <a:gd name="connsiteX0" fmla="*/ -2158 w 8890"/>
                <a:gd name="connsiteY0" fmla="*/ -1575 h 149860"/>
                <a:gd name="connsiteX1" fmla="*/ -2158 w 8890"/>
                <a:gd name="connsiteY1" fmla="*/ -1575 h 149860"/>
                <a:gd name="connsiteX2" fmla="*/ 6732 w 8890"/>
                <a:gd name="connsiteY2" fmla="*/ -1575 h 149860"/>
                <a:gd name="connsiteX3" fmla="*/ 6732 w 8890"/>
                <a:gd name="connsiteY3" fmla="*/ 148286 h 149860"/>
                <a:gd name="connsiteX4" fmla="*/ -2158 w 8890"/>
                <a:gd name="connsiteY4" fmla="*/ 148286 h 149860"/>
                <a:gd name="connsiteX5" fmla="*/ -2158 w 8890"/>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 h="149860">
                  <a:moveTo>
                    <a:pt x="-2158" y="-1575"/>
                  </a:moveTo>
                  <a:lnTo>
                    <a:pt x="-2158" y="-1575"/>
                  </a:lnTo>
                  <a:lnTo>
                    <a:pt x="6732" y="-1575"/>
                  </a:lnTo>
                  <a:lnTo>
                    <a:pt x="6732" y="148286"/>
                  </a:lnTo>
                  <a:lnTo>
                    <a:pt x="-2158" y="148286"/>
                  </a:lnTo>
                  <a:lnTo>
                    <a:pt x="-2158" y="-1575"/>
                  </a:lnTo>
                  <a:close/>
                </a:path>
              </a:pathLst>
            </a:custGeom>
            <a:solidFill>
              <a:srgbClr val="FFFFFF"/>
            </a:solidFill>
            <a:ln w="6350" cap="flat">
              <a:noFill/>
              <a:prstDash val="solid"/>
              <a:miter/>
            </a:ln>
          </p:spPr>
          <p:txBody>
            <a:bodyPr rtlCol="0" anchor="ctr"/>
            <a:lstStyle/>
            <a:p>
              <a:endParaRPr lang="en-GB"/>
            </a:p>
          </p:txBody>
        </p:sp>
        <p:sp>
          <p:nvSpPr>
            <p:cNvPr id="134" name="Freeform 133">
              <a:extLst>
                <a:ext uri="{FF2B5EF4-FFF2-40B4-BE49-F238E27FC236}">
                  <a16:creationId xmlns:a16="http://schemas.microsoft.com/office/drawing/2014/main" id="{985B541A-9859-477D-869E-C0FBD4E9C5DF}"/>
                </a:ext>
              </a:extLst>
            </p:cNvPr>
            <p:cNvSpPr/>
            <p:nvPr/>
          </p:nvSpPr>
          <p:spPr>
            <a:xfrm>
              <a:off x="-6107430" y="4625339"/>
              <a:ext cx="43815" cy="67310"/>
            </a:xfrm>
            <a:custGeom>
              <a:avLst/>
              <a:gdLst>
                <a:gd name="connsiteX0" fmla="*/ -2158 w 43815"/>
                <a:gd name="connsiteY0" fmla="*/ 2871 h 67310"/>
                <a:gd name="connsiteX1" fmla="*/ -2158 w 43815"/>
                <a:gd name="connsiteY1" fmla="*/ 2871 h 67310"/>
                <a:gd name="connsiteX2" fmla="*/ 34037 w 43815"/>
                <a:gd name="connsiteY2" fmla="*/ 65736 h 67310"/>
                <a:gd name="connsiteX3" fmla="*/ 41657 w 43815"/>
                <a:gd name="connsiteY3" fmla="*/ 61291 h 67310"/>
                <a:gd name="connsiteX4" fmla="*/ 5462 w 43815"/>
                <a:gd name="connsiteY4" fmla="*/ -1575 h 67310"/>
                <a:gd name="connsiteX5" fmla="*/ -2158 w 43815"/>
                <a:gd name="connsiteY5" fmla="*/ 2871 h 6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15" h="67310">
                  <a:moveTo>
                    <a:pt x="-2158" y="2871"/>
                  </a:moveTo>
                  <a:lnTo>
                    <a:pt x="-2158" y="2871"/>
                  </a:lnTo>
                  <a:lnTo>
                    <a:pt x="34037" y="65736"/>
                  </a:lnTo>
                  <a:lnTo>
                    <a:pt x="41657" y="61291"/>
                  </a:lnTo>
                  <a:lnTo>
                    <a:pt x="5462" y="-1575"/>
                  </a:lnTo>
                  <a:lnTo>
                    <a:pt x="-2158" y="2871"/>
                  </a:lnTo>
                  <a:close/>
                </a:path>
              </a:pathLst>
            </a:custGeom>
            <a:solidFill>
              <a:srgbClr val="FFFFFF"/>
            </a:solidFill>
            <a:ln w="6350" cap="flat">
              <a:noFill/>
              <a:prstDash val="solid"/>
              <a:miter/>
            </a:ln>
          </p:spPr>
          <p:txBody>
            <a:bodyPr rtlCol="0" anchor="ctr"/>
            <a:lstStyle/>
            <a:p>
              <a:endParaRPr lang="en-GB"/>
            </a:p>
          </p:txBody>
        </p:sp>
        <p:sp>
          <p:nvSpPr>
            <p:cNvPr id="135" name="Freeform 134">
              <a:extLst>
                <a:ext uri="{FF2B5EF4-FFF2-40B4-BE49-F238E27FC236}">
                  <a16:creationId xmlns:a16="http://schemas.microsoft.com/office/drawing/2014/main" id="{F010F9A9-F2C8-68DC-DD08-70DB6EAC8AE3}"/>
                </a:ext>
              </a:extLst>
            </p:cNvPr>
            <p:cNvSpPr/>
            <p:nvPr/>
          </p:nvSpPr>
          <p:spPr>
            <a:xfrm>
              <a:off x="-6156959" y="4540885"/>
              <a:ext cx="91440" cy="149859"/>
            </a:xfrm>
            <a:custGeom>
              <a:avLst/>
              <a:gdLst>
                <a:gd name="connsiteX0" fmla="*/ 41022 w 91440"/>
                <a:gd name="connsiteY0" fmla="*/ 66370 h 149859"/>
                <a:gd name="connsiteX1" fmla="*/ 41022 w 91440"/>
                <a:gd name="connsiteY1" fmla="*/ 66370 h 149859"/>
                <a:gd name="connsiteX2" fmla="*/ 6097 w 91440"/>
                <a:gd name="connsiteY2" fmla="*/ 66370 h 149859"/>
                <a:gd name="connsiteX3" fmla="*/ 6097 w 91440"/>
                <a:gd name="connsiteY3" fmla="*/ 6045 h 149859"/>
                <a:gd name="connsiteX4" fmla="*/ 39117 w 91440"/>
                <a:gd name="connsiteY4" fmla="*/ 6045 h 149859"/>
                <a:gd name="connsiteX5" fmla="*/ 54357 w 91440"/>
                <a:gd name="connsiteY5" fmla="*/ 7314 h 149859"/>
                <a:gd name="connsiteX6" fmla="*/ 67692 w 91440"/>
                <a:gd name="connsiteY6" fmla="*/ 12395 h 149859"/>
                <a:gd name="connsiteX7" fmla="*/ 76582 w 91440"/>
                <a:gd name="connsiteY7" fmla="*/ 21920 h 149859"/>
                <a:gd name="connsiteX8" fmla="*/ 79757 w 91440"/>
                <a:gd name="connsiteY8" fmla="*/ 36525 h 149859"/>
                <a:gd name="connsiteX9" fmla="*/ 70232 w 91440"/>
                <a:gd name="connsiteY9" fmla="*/ 58750 h 149859"/>
                <a:gd name="connsiteX10" fmla="*/ 41022 w 91440"/>
                <a:gd name="connsiteY10" fmla="*/ 66370 h 149859"/>
                <a:gd name="connsiteX11" fmla="*/ 74042 w 91440"/>
                <a:gd name="connsiteY11" fmla="*/ 65734 h 149859"/>
                <a:gd name="connsiteX12" fmla="*/ 74042 w 91440"/>
                <a:gd name="connsiteY12" fmla="*/ 65734 h 149859"/>
                <a:gd name="connsiteX13" fmla="*/ 84837 w 91440"/>
                <a:gd name="connsiteY13" fmla="*/ 54304 h 149859"/>
                <a:gd name="connsiteX14" fmla="*/ 89282 w 91440"/>
                <a:gd name="connsiteY14" fmla="*/ 35889 h 149859"/>
                <a:gd name="connsiteX15" fmla="*/ 84837 w 91440"/>
                <a:gd name="connsiteY15" fmla="*/ 16839 h 149859"/>
                <a:gd name="connsiteX16" fmla="*/ 73407 w 91440"/>
                <a:gd name="connsiteY16" fmla="*/ 5409 h 149859"/>
                <a:gd name="connsiteX17" fmla="*/ 58167 w 91440"/>
                <a:gd name="connsiteY17" fmla="*/ -305 h 149859"/>
                <a:gd name="connsiteX18" fmla="*/ 41657 w 91440"/>
                <a:gd name="connsiteY18" fmla="*/ -1575 h 149859"/>
                <a:gd name="connsiteX19" fmla="*/ -2158 w 91440"/>
                <a:gd name="connsiteY19" fmla="*/ -1575 h 149859"/>
                <a:gd name="connsiteX20" fmla="*/ -2158 w 91440"/>
                <a:gd name="connsiteY20" fmla="*/ 148284 h 149859"/>
                <a:gd name="connsiteX21" fmla="*/ 6732 w 91440"/>
                <a:gd name="connsiteY21" fmla="*/ 148284 h 149859"/>
                <a:gd name="connsiteX22" fmla="*/ 6732 w 91440"/>
                <a:gd name="connsiteY22" fmla="*/ 74625 h 149859"/>
                <a:gd name="connsiteX23" fmla="*/ 40387 w 91440"/>
                <a:gd name="connsiteY23" fmla="*/ 74625 h 149859"/>
                <a:gd name="connsiteX24" fmla="*/ 44832 w 91440"/>
                <a:gd name="connsiteY24" fmla="*/ 73989 h 149859"/>
                <a:gd name="connsiteX25" fmla="*/ 60072 w 91440"/>
                <a:gd name="connsiteY25" fmla="*/ 72084 h 149859"/>
                <a:gd name="connsiteX26" fmla="*/ 74042 w 91440"/>
                <a:gd name="connsiteY26" fmla="*/ 65734 h 14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1440" h="149859">
                  <a:moveTo>
                    <a:pt x="41022" y="66370"/>
                  </a:moveTo>
                  <a:lnTo>
                    <a:pt x="41022" y="66370"/>
                  </a:lnTo>
                  <a:lnTo>
                    <a:pt x="6097" y="66370"/>
                  </a:lnTo>
                  <a:lnTo>
                    <a:pt x="6097" y="6045"/>
                  </a:lnTo>
                  <a:lnTo>
                    <a:pt x="39117" y="6045"/>
                  </a:lnTo>
                  <a:cubicBezTo>
                    <a:pt x="44197" y="6045"/>
                    <a:pt x="49912" y="6679"/>
                    <a:pt x="54357" y="7314"/>
                  </a:cubicBezTo>
                  <a:cubicBezTo>
                    <a:pt x="59437" y="8584"/>
                    <a:pt x="63882" y="9854"/>
                    <a:pt x="67692" y="12395"/>
                  </a:cubicBezTo>
                  <a:cubicBezTo>
                    <a:pt x="71502" y="14300"/>
                    <a:pt x="74042" y="17475"/>
                    <a:pt x="76582" y="21920"/>
                  </a:cubicBezTo>
                  <a:cubicBezTo>
                    <a:pt x="78487" y="25729"/>
                    <a:pt x="79757" y="30809"/>
                    <a:pt x="79757" y="36525"/>
                  </a:cubicBezTo>
                  <a:cubicBezTo>
                    <a:pt x="79757" y="46684"/>
                    <a:pt x="77217" y="53670"/>
                    <a:pt x="70232" y="58750"/>
                  </a:cubicBezTo>
                  <a:cubicBezTo>
                    <a:pt x="63882" y="63195"/>
                    <a:pt x="53722" y="66370"/>
                    <a:pt x="41022" y="66370"/>
                  </a:cubicBezTo>
                  <a:close/>
                  <a:moveTo>
                    <a:pt x="74042" y="65734"/>
                  </a:moveTo>
                  <a:lnTo>
                    <a:pt x="74042" y="65734"/>
                  </a:lnTo>
                  <a:cubicBezTo>
                    <a:pt x="78487" y="63195"/>
                    <a:pt x="82297" y="58750"/>
                    <a:pt x="84837" y="54304"/>
                  </a:cubicBezTo>
                  <a:cubicBezTo>
                    <a:pt x="87377" y="49859"/>
                    <a:pt x="89282" y="43509"/>
                    <a:pt x="89282" y="35889"/>
                  </a:cubicBezTo>
                  <a:cubicBezTo>
                    <a:pt x="89282" y="28270"/>
                    <a:pt x="88012" y="21920"/>
                    <a:pt x="84837" y="16839"/>
                  </a:cubicBezTo>
                  <a:cubicBezTo>
                    <a:pt x="82297" y="11759"/>
                    <a:pt x="78487" y="7950"/>
                    <a:pt x="73407" y="5409"/>
                  </a:cubicBezTo>
                  <a:cubicBezTo>
                    <a:pt x="68962" y="2870"/>
                    <a:pt x="64517" y="329"/>
                    <a:pt x="58167" y="-305"/>
                  </a:cubicBezTo>
                  <a:cubicBezTo>
                    <a:pt x="53087" y="-1575"/>
                    <a:pt x="46737" y="-1575"/>
                    <a:pt x="41657" y="-1575"/>
                  </a:cubicBezTo>
                  <a:lnTo>
                    <a:pt x="-2158" y="-1575"/>
                  </a:lnTo>
                  <a:lnTo>
                    <a:pt x="-2158" y="148284"/>
                  </a:lnTo>
                  <a:lnTo>
                    <a:pt x="6732" y="148284"/>
                  </a:lnTo>
                  <a:lnTo>
                    <a:pt x="6732" y="74625"/>
                  </a:lnTo>
                  <a:lnTo>
                    <a:pt x="40387" y="74625"/>
                  </a:lnTo>
                  <a:lnTo>
                    <a:pt x="44832" y="73989"/>
                  </a:lnTo>
                  <a:cubicBezTo>
                    <a:pt x="49912" y="73989"/>
                    <a:pt x="54992" y="73354"/>
                    <a:pt x="60072" y="72084"/>
                  </a:cubicBezTo>
                  <a:cubicBezTo>
                    <a:pt x="64517" y="70814"/>
                    <a:pt x="69597" y="68909"/>
                    <a:pt x="74042" y="65734"/>
                  </a:cubicBezTo>
                  <a:close/>
                </a:path>
              </a:pathLst>
            </a:custGeom>
            <a:solidFill>
              <a:srgbClr val="FFFFFF"/>
            </a:solidFill>
            <a:ln w="6350" cap="flat">
              <a:noFill/>
              <a:prstDash val="solid"/>
              <a:miter/>
            </a:ln>
          </p:spPr>
          <p:txBody>
            <a:bodyPr rtlCol="0" anchor="ctr"/>
            <a:lstStyle/>
            <a:p>
              <a:endParaRPr lang="en-GB"/>
            </a:p>
          </p:txBody>
        </p:sp>
        <p:sp>
          <p:nvSpPr>
            <p:cNvPr id="136" name="Freeform 135">
              <a:extLst>
                <a:ext uri="{FF2B5EF4-FFF2-40B4-BE49-F238E27FC236}">
                  <a16:creationId xmlns:a16="http://schemas.microsoft.com/office/drawing/2014/main" id="{CE107EDA-B24C-9828-3166-4AFB432FA289}"/>
                </a:ext>
              </a:extLst>
            </p:cNvPr>
            <p:cNvSpPr/>
            <p:nvPr/>
          </p:nvSpPr>
          <p:spPr>
            <a:xfrm>
              <a:off x="-6395084" y="4640580"/>
              <a:ext cx="59054" cy="8889"/>
            </a:xfrm>
            <a:custGeom>
              <a:avLst/>
              <a:gdLst>
                <a:gd name="connsiteX0" fmla="*/ -2158 w 59054"/>
                <a:gd name="connsiteY0" fmla="*/ -1575 h 8889"/>
                <a:gd name="connsiteX1" fmla="*/ -2158 w 59054"/>
                <a:gd name="connsiteY1" fmla="*/ -1575 h 8889"/>
                <a:gd name="connsiteX2" fmla="*/ 56897 w 59054"/>
                <a:gd name="connsiteY2" fmla="*/ -1575 h 8889"/>
                <a:gd name="connsiteX3" fmla="*/ 56897 w 59054"/>
                <a:gd name="connsiteY3" fmla="*/ 7314 h 8889"/>
                <a:gd name="connsiteX4" fmla="*/ -2158 w 59054"/>
                <a:gd name="connsiteY4" fmla="*/ 7314 h 8889"/>
                <a:gd name="connsiteX5" fmla="*/ -2158 w 59054"/>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4" h="8889">
                  <a:moveTo>
                    <a:pt x="-2158" y="-1575"/>
                  </a:moveTo>
                  <a:lnTo>
                    <a:pt x="-2158" y="-1575"/>
                  </a:lnTo>
                  <a:lnTo>
                    <a:pt x="56897" y="-1575"/>
                  </a:lnTo>
                  <a:lnTo>
                    <a:pt x="56897" y="7314"/>
                  </a:lnTo>
                  <a:lnTo>
                    <a:pt x="-2158" y="7314"/>
                  </a:lnTo>
                  <a:lnTo>
                    <a:pt x="-2158" y="-1575"/>
                  </a:lnTo>
                  <a:close/>
                </a:path>
              </a:pathLst>
            </a:custGeom>
            <a:solidFill>
              <a:srgbClr val="FFFFFF"/>
            </a:solidFill>
            <a:ln w="6350" cap="flat">
              <a:noFill/>
              <a:prstDash val="solid"/>
              <a:miter/>
            </a:ln>
          </p:spPr>
          <p:txBody>
            <a:bodyPr rtlCol="0" anchor="ctr"/>
            <a:lstStyle/>
            <a:p>
              <a:endParaRPr lang="en-GB"/>
            </a:p>
          </p:txBody>
        </p:sp>
        <p:sp>
          <p:nvSpPr>
            <p:cNvPr id="137" name="Freeform 136">
              <a:extLst>
                <a:ext uri="{FF2B5EF4-FFF2-40B4-BE49-F238E27FC236}">
                  <a16:creationId xmlns:a16="http://schemas.microsoft.com/office/drawing/2014/main" id="{F638D2C7-494F-60A4-DC33-5BB52EBAB087}"/>
                </a:ext>
              </a:extLst>
            </p:cNvPr>
            <p:cNvSpPr/>
            <p:nvPr/>
          </p:nvSpPr>
          <p:spPr>
            <a:xfrm>
              <a:off x="-6433819" y="4540250"/>
              <a:ext cx="135254" cy="152400"/>
            </a:xfrm>
            <a:custGeom>
              <a:avLst/>
              <a:gdLst>
                <a:gd name="connsiteX0" fmla="*/ 69597 w 135254"/>
                <a:gd name="connsiteY0" fmla="*/ -1575 h 152400"/>
                <a:gd name="connsiteX1" fmla="*/ 69597 w 135254"/>
                <a:gd name="connsiteY1" fmla="*/ -1575 h 152400"/>
                <a:gd name="connsiteX2" fmla="*/ 69597 w 135254"/>
                <a:gd name="connsiteY2" fmla="*/ -1575 h 152400"/>
                <a:gd name="connsiteX3" fmla="*/ 60706 w 135254"/>
                <a:gd name="connsiteY3" fmla="*/ -1575 h 152400"/>
                <a:gd name="connsiteX4" fmla="*/ 60706 w 135254"/>
                <a:gd name="connsiteY4" fmla="*/ -1575 h 152400"/>
                <a:gd name="connsiteX5" fmla="*/ 60706 w 135254"/>
                <a:gd name="connsiteY5" fmla="*/ -1575 h 152400"/>
                <a:gd name="connsiteX6" fmla="*/ -2158 w 135254"/>
                <a:gd name="connsiteY6" fmla="*/ 147014 h 152400"/>
                <a:gd name="connsiteX7" fmla="*/ 6097 w 135254"/>
                <a:gd name="connsiteY7" fmla="*/ 150825 h 152400"/>
                <a:gd name="connsiteX8" fmla="*/ 65152 w 135254"/>
                <a:gd name="connsiteY8" fmla="*/ 9855 h 152400"/>
                <a:gd name="connsiteX9" fmla="*/ 124842 w 135254"/>
                <a:gd name="connsiteY9" fmla="*/ 150825 h 152400"/>
                <a:gd name="connsiteX10" fmla="*/ 133097 w 135254"/>
                <a:gd name="connsiteY10" fmla="*/ 147014 h 152400"/>
                <a:gd name="connsiteX11" fmla="*/ 69597 w 135254"/>
                <a:gd name="connsiteY11" fmla="*/ -1575 h 152400"/>
                <a:gd name="connsiteX12" fmla="*/ 69597 w 135254"/>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4" h="152400">
                  <a:moveTo>
                    <a:pt x="69597" y="-1575"/>
                  </a:moveTo>
                  <a:lnTo>
                    <a:pt x="69597" y="-1575"/>
                  </a:lnTo>
                  <a:lnTo>
                    <a:pt x="69597" y="-1575"/>
                  </a:lnTo>
                  <a:lnTo>
                    <a:pt x="60706" y="-1575"/>
                  </a:lnTo>
                  <a:lnTo>
                    <a:pt x="60706" y="-1575"/>
                  </a:lnTo>
                  <a:lnTo>
                    <a:pt x="60706" y="-1575"/>
                  </a:lnTo>
                  <a:lnTo>
                    <a:pt x="-2158" y="147014"/>
                  </a:lnTo>
                  <a:lnTo>
                    <a:pt x="6097" y="150825"/>
                  </a:lnTo>
                  <a:lnTo>
                    <a:pt x="65152" y="9855"/>
                  </a:lnTo>
                  <a:lnTo>
                    <a:pt x="124842" y="150825"/>
                  </a:lnTo>
                  <a:lnTo>
                    <a:pt x="133097" y="147014"/>
                  </a:lnTo>
                  <a:lnTo>
                    <a:pt x="69597" y="-1575"/>
                  </a:lnTo>
                  <a:lnTo>
                    <a:pt x="69597" y="-1575"/>
                  </a:lnTo>
                  <a:close/>
                </a:path>
              </a:pathLst>
            </a:custGeom>
            <a:solidFill>
              <a:srgbClr val="FFFFFF"/>
            </a:solidFill>
            <a:ln w="6350" cap="flat">
              <a:noFill/>
              <a:prstDash val="solid"/>
              <a:miter/>
            </a:ln>
          </p:spPr>
          <p:txBody>
            <a:bodyPr rtlCol="0" anchor="ctr"/>
            <a:lstStyle/>
            <a:p>
              <a:endParaRPr lang="en-GB"/>
            </a:p>
          </p:txBody>
        </p:sp>
        <p:sp>
          <p:nvSpPr>
            <p:cNvPr id="138" name="Freeform 137">
              <a:extLst>
                <a:ext uri="{FF2B5EF4-FFF2-40B4-BE49-F238E27FC236}">
                  <a16:creationId xmlns:a16="http://schemas.microsoft.com/office/drawing/2014/main" id="{0C908BE1-0BA2-1BDA-53C7-8A5E5DBEB0FC}"/>
                </a:ext>
              </a:extLst>
            </p:cNvPr>
            <p:cNvSpPr/>
            <p:nvPr/>
          </p:nvSpPr>
          <p:spPr>
            <a:xfrm>
              <a:off x="-6693534" y="4538344"/>
              <a:ext cx="135254" cy="156844"/>
            </a:xfrm>
            <a:custGeom>
              <a:avLst/>
              <a:gdLst>
                <a:gd name="connsiteX0" fmla="*/ 73407 w 135254"/>
                <a:gd name="connsiteY0" fmla="*/ 6680 h 156844"/>
                <a:gd name="connsiteX1" fmla="*/ 73407 w 135254"/>
                <a:gd name="connsiteY1" fmla="*/ 6680 h 156844"/>
                <a:gd name="connsiteX2" fmla="*/ 126747 w 135254"/>
                <a:gd name="connsiteY2" fmla="*/ 35255 h 156844"/>
                <a:gd name="connsiteX3" fmla="*/ 133097 w 135254"/>
                <a:gd name="connsiteY3" fmla="*/ 29541 h 156844"/>
                <a:gd name="connsiteX4" fmla="*/ 72772 w 135254"/>
                <a:gd name="connsiteY4" fmla="*/ -1575 h 156844"/>
                <a:gd name="connsiteX5" fmla="*/ -2158 w 135254"/>
                <a:gd name="connsiteY5" fmla="*/ 76530 h 156844"/>
                <a:gd name="connsiteX6" fmla="*/ 72772 w 135254"/>
                <a:gd name="connsiteY6" fmla="*/ 155270 h 156844"/>
                <a:gd name="connsiteX7" fmla="*/ 133097 w 135254"/>
                <a:gd name="connsiteY7" fmla="*/ 123520 h 156844"/>
                <a:gd name="connsiteX8" fmla="*/ 126747 w 135254"/>
                <a:gd name="connsiteY8" fmla="*/ 117805 h 156844"/>
                <a:gd name="connsiteX9" fmla="*/ 73407 w 135254"/>
                <a:gd name="connsiteY9" fmla="*/ 146380 h 156844"/>
                <a:gd name="connsiteX10" fmla="*/ 6732 w 135254"/>
                <a:gd name="connsiteY10" fmla="*/ 76530 h 156844"/>
                <a:gd name="connsiteX11" fmla="*/ 73407 w 135254"/>
                <a:gd name="connsiteY11" fmla="*/ 6680 h 15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254" h="156844">
                  <a:moveTo>
                    <a:pt x="73407" y="6680"/>
                  </a:moveTo>
                  <a:lnTo>
                    <a:pt x="73407" y="6680"/>
                  </a:lnTo>
                  <a:cubicBezTo>
                    <a:pt x="95632" y="6680"/>
                    <a:pt x="115317" y="18111"/>
                    <a:pt x="126747" y="35255"/>
                  </a:cubicBezTo>
                  <a:lnTo>
                    <a:pt x="133097" y="29541"/>
                  </a:lnTo>
                  <a:cubicBezTo>
                    <a:pt x="119762" y="10491"/>
                    <a:pt x="97537" y="-1575"/>
                    <a:pt x="72772" y="-1575"/>
                  </a:cubicBezTo>
                  <a:cubicBezTo>
                    <a:pt x="31497" y="-1575"/>
                    <a:pt x="-2158" y="33350"/>
                    <a:pt x="-2158" y="76530"/>
                  </a:cubicBezTo>
                  <a:cubicBezTo>
                    <a:pt x="-2158" y="119711"/>
                    <a:pt x="31497" y="155270"/>
                    <a:pt x="72772" y="155270"/>
                  </a:cubicBezTo>
                  <a:cubicBezTo>
                    <a:pt x="97537" y="155270"/>
                    <a:pt x="119762" y="143205"/>
                    <a:pt x="133097" y="123520"/>
                  </a:cubicBezTo>
                  <a:lnTo>
                    <a:pt x="126747" y="117805"/>
                  </a:lnTo>
                  <a:cubicBezTo>
                    <a:pt x="114682" y="135586"/>
                    <a:pt x="94997" y="146380"/>
                    <a:pt x="73407" y="146380"/>
                  </a:cubicBezTo>
                  <a:cubicBezTo>
                    <a:pt x="36577" y="146380"/>
                    <a:pt x="6732" y="115266"/>
                    <a:pt x="6732" y="76530"/>
                  </a:cubicBezTo>
                  <a:cubicBezTo>
                    <a:pt x="6732" y="37795"/>
                    <a:pt x="36577" y="6680"/>
                    <a:pt x="73407" y="6680"/>
                  </a:cubicBezTo>
                  <a:close/>
                </a:path>
              </a:pathLst>
            </a:custGeom>
            <a:solidFill>
              <a:srgbClr val="FFFFFF"/>
            </a:solidFill>
            <a:ln w="6350" cap="flat">
              <a:noFill/>
              <a:prstDash val="solid"/>
              <a:miter/>
            </a:ln>
          </p:spPr>
          <p:txBody>
            <a:bodyPr rtlCol="0" anchor="ctr"/>
            <a:lstStyle/>
            <a:p>
              <a:endParaRPr lang="en-GB"/>
            </a:p>
          </p:txBody>
        </p:sp>
      </p:grpSp>
      <p:grpSp>
        <p:nvGrpSpPr>
          <p:cNvPr id="139" name="Graphic 79">
            <a:extLst>
              <a:ext uri="{FF2B5EF4-FFF2-40B4-BE49-F238E27FC236}">
                <a16:creationId xmlns:a16="http://schemas.microsoft.com/office/drawing/2014/main" id="{AEAE33BE-E1EE-768A-DE04-737B82F568D6}"/>
              </a:ext>
            </a:extLst>
          </p:cNvPr>
          <p:cNvGrpSpPr/>
          <p:nvPr userDrawn="1"/>
        </p:nvGrpSpPr>
        <p:grpSpPr>
          <a:xfrm>
            <a:off x="8832850" y="1952625"/>
            <a:ext cx="876582" cy="575151"/>
            <a:chOff x="-4883150" y="1952625"/>
            <a:chExt cx="876582" cy="575151"/>
          </a:xfrm>
          <a:solidFill>
            <a:srgbClr val="FFFFFF"/>
          </a:solidFill>
        </p:grpSpPr>
        <p:sp>
          <p:nvSpPr>
            <p:cNvPr id="140" name="Freeform 139">
              <a:extLst>
                <a:ext uri="{FF2B5EF4-FFF2-40B4-BE49-F238E27FC236}">
                  <a16:creationId xmlns:a16="http://schemas.microsoft.com/office/drawing/2014/main" id="{D4289161-BE97-AF11-4292-6536369E9D8E}"/>
                </a:ext>
              </a:extLst>
            </p:cNvPr>
            <p:cNvSpPr/>
            <p:nvPr/>
          </p:nvSpPr>
          <p:spPr>
            <a:xfrm>
              <a:off x="-4701540" y="1952625"/>
              <a:ext cx="510540" cy="395605"/>
            </a:xfrm>
            <a:custGeom>
              <a:avLst/>
              <a:gdLst>
                <a:gd name="connsiteX0" fmla="*/ -2035 w 510540"/>
                <a:gd name="connsiteY0" fmla="*/ -681 h 395605"/>
                <a:gd name="connsiteX1" fmla="*/ -2035 w 510540"/>
                <a:gd name="connsiteY1" fmla="*/ -681 h 395605"/>
                <a:gd name="connsiteX2" fmla="*/ 248790 w 510540"/>
                <a:gd name="connsiteY2" fmla="*/ 87584 h 395605"/>
                <a:gd name="connsiteX3" fmla="*/ 257680 w 510540"/>
                <a:gd name="connsiteY3" fmla="*/ 87584 h 395605"/>
                <a:gd name="connsiteX4" fmla="*/ 508505 w 510540"/>
                <a:gd name="connsiteY4" fmla="*/ -681 h 395605"/>
                <a:gd name="connsiteX5" fmla="*/ 418335 w 510540"/>
                <a:gd name="connsiteY5" fmla="*/ 141559 h 395605"/>
                <a:gd name="connsiteX6" fmla="*/ 375790 w 510540"/>
                <a:gd name="connsiteY6" fmla="*/ 124414 h 395605"/>
                <a:gd name="connsiteX7" fmla="*/ 401190 w 510540"/>
                <a:gd name="connsiteY7" fmla="*/ 81234 h 395605"/>
                <a:gd name="connsiteX8" fmla="*/ 319910 w 510540"/>
                <a:gd name="connsiteY8" fmla="*/ 121874 h 395605"/>
                <a:gd name="connsiteX9" fmla="*/ 375790 w 510540"/>
                <a:gd name="connsiteY9" fmla="*/ 143464 h 395605"/>
                <a:gd name="connsiteX10" fmla="*/ 398015 w 510540"/>
                <a:gd name="connsiteY10" fmla="*/ 168229 h 395605"/>
                <a:gd name="connsiteX11" fmla="*/ 384045 w 510540"/>
                <a:gd name="connsiteY11" fmla="*/ 203789 h 395605"/>
                <a:gd name="connsiteX12" fmla="*/ 262760 w 510540"/>
                <a:gd name="connsiteY12" fmla="*/ 394924 h 395605"/>
                <a:gd name="connsiteX13" fmla="*/ 263395 w 510540"/>
                <a:gd name="connsiteY13" fmla="*/ 344759 h 395605"/>
                <a:gd name="connsiteX14" fmla="*/ 309750 w 510540"/>
                <a:gd name="connsiteY14" fmla="*/ 191089 h 395605"/>
                <a:gd name="connsiteX15" fmla="*/ 298320 w 510540"/>
                <a:gd name="connsiteY15" fmla="*/ 176484 h 395605"/>
                <a:gd name="connsiteX16" fmla="*/ 252600 w 510540"/>
                <a:gd name="connsiteY16" fmla="*/ 154894 h 395605"/>
                <a:gd name="connsiteX17" fmla="*/ 205610 w 510540"/>
                <a:gd name="connsiteY17" fmla="*/ 177754 h 395605"/>
                <a:gd name="connsiteX18" fmla="*/ 196720 w 510540"/>
                <a:gd name="connsiteY18" fmla="*/ 190454 h 395605"/>
                <a:gd name="connsiteX19" fmla="*/ 243075 w 510540"/>
                <a:gd name="connsiteY19" fmla="*/ 344124 h 395605"/>
                <a:gd name="connsiteX20" fmla="*/ 243075 w 510540"/>
                <a:gd name="connsiteY20" fmla="*/ 394924 h 395605"/>
                <a:gd name="connsiteX21" fmla="*/ 123060 w 510540"/>
                <a:gd name="connsiteY21" fmla="*/ 205694 h 395605"/>
                <a:gd name="connsiteX22" fmla="*/ 107820 w 510540"/>
                <a:gd name="connsiteY22" fmla="*/ 167594 h 395605"/>
                <a:gd name="connsiteX23" fmla="*/ 130045 w 510540"/>
                <a:gd name="connsiteY23" fmla="*/ 142829 h 395605"/>
                <a:gd name="connsiteX24" fmla="*/ 185925 w 510540"/>
                <a:gd name="connsiteY24" fmla="*/ 121239 h 395605"/>
                <a:gd name="connsiteX25" fmla="*/ 104645 w 510540"/>
                <a:gd name="connsiteY25" fmla="*/ 80599 h 395605"/>
                <a:gd name="connsiteX26" fmla="*/ 130045 w 510540"/>
                <a:gd name="connsiteY26" fmla="*/ 123779 h 395605"/>
                <a:gd name="connsiteX27" fmla="*/ 86865 w 510540"/>
                <a:gd name="connsiteY27" fmla="*/ 140924 h 395605"/>
                <a:gd name="connsiteX28" fmla="*/ -2035 w 510540"/>
                <a:gd name="connsiteY28" fmla="*/ -681 h 39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0540" h="395605">
                  <a:moveTo>
                    <a:pt x="-2035" y="-681"/>
                  </a:moveTo>
                  <a:lnTo>
                    <a:pt x="-2035" y="-681"/>
                  </a:lnTo>
                  <a:cubicBezTo>
                    <a:pt x="81785" y="28529"/>
                    <a:pt x="164970" y="59009"/>
                    <a:pt x="248790" y="87584"/>
                  </a:cubicBezTo>
                  <a:cubicBezTo>
                    <a:pt x="251965" y="88854"/>
                    <a:pt x="254505" y="88854"/>
                    <a:pt x="257680" y="87584"/>
                  </a:cubicBezTo>
                  <a:cubicBezTo>
                    <a:pt x="341500" y="59009"/>
                    <a:pt x="424685" y="28529"/>
                    <a:pt x="508505" y="-681"/>
                  </a:cubicBezTo>
                  <a:cubicBezTo>
                    <a:pt x="478660" y="46944"/>
                    <a:pt x="448815" y="93934"/>
                    <a:pt x="418335" y="141559"/>
                  </a:cubicBezTo>
                  <a:cubicBezTo>
                    <a:pt x="404365" y="135209"/>
                    <a:pt x="389760" y="130129"/>
                    <a:pt x="375790" y="124414"/>
                  </a:cubicBezTo>
                  <a:cubicBezTo>
                    <a:pt x="384045" y="109809"/>
                    <a:pt x="392935" y="95839"/>
                    <a:pt x="401190" y="81234"/>
                  </a:cubicBezTo>
                  <a:cubicBezTo>
                    <a:pt x="374520" y="95204"/>
                    <a:pt x="346580" y="107904"/>
                    <a:pt x="319910" y="121874"/>
                  </a:cubicBezTo>
                  <a:cubicBezTo>
                    <a:pt x="338960" y="128859"/>
                    <a:pt x="357375" y="135844"/>
                    <a:pt x="375790" y="143464"/>
                  </a:cubicBezTo>
                  <a:cubicBezTo>
                    <a:pt x="386585" y="147909"/>
                    <a:pt x="397380" y="156164"/>
                    <a:pt x="398015" y="168229"/>
                  </a:cubicBezTo>
                  <a:cubicBezTo>
                    <a:pt x="399920" y="181564"/>
                    <a:pt x="390395" y="192994"/>
                    <a:pt x="384045" y="203789"/>
                  </a:cubicBezTo>
                  <a:cubicBezTo>
                    <a:pt x="343405" y="267289"/>
                    <a:pt x="303400" y="331424"/>
                    <a:pt x="262760" y="394924"/>
                  </a:cubicBezTo>
                  <a:cubicBezTo>
                    <a:pt x="262760" y="377779"/>
                    <a:pt x="260855" y="361269"/>
                    <a:pt x="263395" y="344759"/>
                  </a:cubicBezTo>
                  <a:cubicBezTo>
                    <a:pt x="279270" y="293324"/>
                    <a:pt x="295145" y="242524"/>
                    <a:pt x="309750" y="191089"/>
                  </a:cubicBezTo>
                  <a:cubicBezTo>
                    <a:pt x="312925" y="183469"/>
                    <a:pt x="304035" y="179024"/>
                    <a:pt x="298320" y="176484"/>
                  </a:cubicBezTo>
                  <a:cubicBezTo>
                    <a:pt x="283080" y="169499"/>
                    <a:pt x="268475" y="160609"/>
                    <a:pt x="252600" y="154894"/>
                  </a:cubicBezTo>
                  <a:cubicBezTo>
                    <a:pt x="236725" y="161879"/>
                    <a:pt x="221485" y="170134"/>
                    <a:pt x="205610" y="177754"/>
                  </a:cubicBezTo>
                  <a:cubicBezTo>
                    <a:pt x="200530" y="179659"/>
                    <a:pt x="194180" y="184104"/>
                    <a:pt x="196720" y="190454"/>
                  </a:cubicBezTo>
                  <a:cubicBezTo>
                    <a:pt x="211325" y="241889"/>
                    <a:pt x="227200" y="293324"/>
                    <a:pt x="243075" y="344124"/>
                  </a:cubicBezTo>
                  <a:cubicBezTo>
                    <a:pt x="244980" y="360634"/>
                    <a:pt x="243075" y="377779"/>
                    <a:pt x="243075" y="394924"/>
                  </a:cubicBezTo>
                  <a:cubicBezTo>
                    <a:pt x="203070" y="332059"/>
                    <a:pt x="163065" y="268559"/>
                    <a:pt x="123060" y="205694"/>
                  </a:cubicBezTo>
                  <a:cubicBezTo>
                    <a:pt x="116075" y="194264"/>
                    <a:pt x="105915" y="182199"/>
                    <a:pt x="107820" y="167594"/>
                  </a:cubicBezTo>
                  <a:cubicBezTo>
                    <a:pt x="108455" y="155529"/>
                    <a:pt x="119885" y="147274"/>
                    <a:pt x="130045" y="142829"/>
                  </a:cubicBezTo>
                  <a:cubicBezTo>
                    <a:pt x="148460" y="135209"/>
                    <a:pt x="167510" y="128224"/>
                    <a:pt x="185925" y="121239"/>
                  </a:cubicBezTo>
                  <a:cubicBezTo>
                    <a:pt x="159255" y="107269"/>
                    <a:pt x="131950" y="94569"/>
                    <a:pt x="104645" y="80599"/>
                  </a:cubicBezTo>
                  <a:cubicBezTo>
                    <a:pt x="112900" y="95204"/>
                    <a:pt x="121790" y="109174"/>
                    <a:pt x="130045" y="123779"/>
                  </a:cubicBezTo>
                  <a:cubicBezTo>
                    <a:pt x="115440" y="129494"/>
                    <a:pt x="101470" y="134574"/>
                    <a:pt x="86865" y="140924"/>
                  </a:cubicBezTo>
                  <a:cubicBezTo>
                    <a:pt x="57655" y="93934"/>
                    <a:pt x="27810" y="46309"/>
                    <a:pt x="-2035" y="-681"/>
                  </a:cubicBezTo>
                  <a:close/>
                </a:path>
              </a:pathLst>
            </a:custGeom>
            <a:solidFill>
              <a:srgbClr val="FFFFFF"/>
            </a:solidFill>
            <a:ln w="6350" cap="flat">
              <a:noFill/>
              <a:prstDash val="solid"/>
              <a:miter/>
            </a:ln>
          </p:spPr>
          <p:txBody>
            <a:bodyPr rtlCol="0" anchor="ctr"/>
            <a:lstStyle/>
            <a:p>
              <a:endParaRPr lang="en-GB"/>
            </a:p>
          </p:txBody>
        </p:sp>
        <p:sp>
          <p:nvSpPr>
            <p:cNvPr id="141" name="Freeform 140">
              <a:extLst>
                <a:ext uri="{FF2B5EF4-FFF2-40B4-BE49-F238E27FC236}">
                  <a16:creationId xmlns:a16="http://schemas.microsoft.com/office/drawing/2014/main" id="{42E699FE-4DC8-11FA-8999-F9AFED4CDD83}"/>
                </a:ext>
              </a:extLst>
            </p:cNvPr>
            <p:cNvSpPr/>
            <p:nvPr/>
          </p:nvSpPr>
          <p:spPr>
            <a:xfrm>
              <a:off x="-4525009" y="2444750"/>
              <a:ext cx="159483" cy="82550"/>
            </a:xfrm>
            <a:custGeom>
              <a:avLst/>
              <a:gdLst>
                <a:gd name="connsiteX0" fmla="*/ 23365 w 159483"/>
                <a:gd name="connsiteY0" fmla="*/ 17734 h 82550"/>
                <a:gd name="connsiteX1" fmla="*/ 23365 w 159483"/>
                <a:gd name="connsiteY1" fmla="*/ 17734 h 82550"/>
                <a:gd name="connsiteX2" fmla="*/ 24000 w 159483"/>
                <a:gd name="connsiteY2" fmla="*/ 36784 h 82550"/>
                <a:gd name="connsiteX3" fmla="*/ 130680 w 159483"/>
                <a:gd name="connsiteY3" fmla="*/ 36149 h 82550"/>
                <a:gd name="connsiteX4" fmla="*/ 133855 w 159483"/>
                <a:gd name="connsiteY4" fmla="*/ 17734 h 82550"/>
                <a:gd name="connsiteX5" fmla="*/ 23365 w 159483"/>
                <a:gd name="connsiteY5" fmla="*/ 17734 h 82550"/>
                <a:gd name="connsiteX6" fmla="*/ -2035 w 159483"/>
                <a:gd name="connsiteY6" fmla="*/ 81869 h 82550"/>
                <a:gd name="connsiteX7" fmla="*/ -2035 w 159483"/>
                <a:gd name="connsiteY7" fmla="*/ 81869 h 82550"/>
                <a:gd name="connsiteX8" fmla="*/ -2035 w 159483"/>
                <a:gd name="connsiteY8" fmla="*/ -681 h 82550"/>
                <a:gd name="connsiteX9" fmla="*/ 135760 w 159483"/>
                <a:gd name="connsiteY9" fmla="*/ -681 h 82550"/>
                <a:gd name="connsiteX10" fmla="*/ 156715 w 159483"/>
                <a:gd name="connsiteY10" fmla="*/ 13289 h 82550"/>
                <a:gd name="connsiteX11" fmla="*/ 156715 w 159483"/>
                <a:gd name="connsiteY11" fmla="*/ 41229 h 82550"/>
                <a:gd name="connsiteX12" fmla="*/ 135760 w 159483"/>
                <a:gd name="connsiteY12" fmla="*/ 57104 h 82550"/>
                <a:gd name="connsiteX13" fmla="*/ 23365 w 159483"/>
                <a:gd name="connsiteY13" fmla="*/ 57104 h 82550"/>
                <a:gd name="connsiteX14" fmla="*/ 23365 w 159483"/>
                <a:gd name="connsiteY14" fmla="*/ 81869 h 82550"/>
                <a:gd name="connsiteX15" fmla="*/ -2035 w 159483"/>
                <a:gd name="connsiteY15" fmla="*/ 81869 h 8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483" h="82550">
                  <a:moveTo>
                    <a:pt x="23365" y="17734"/>
                  </a:moveTo>
                  <a:lnTo>
                    <a:pt x="23365" y="17734"/>
                  </a:lnTo>
                  <a:cubicBezTo>
                    <a:pt x="23365" y="24084"/>
                    <a:pt x="23365" y="30434"/>
                    <a:pt x="24000" y="36784"/>
                  </a:cubicBezTo>
                  <a:cubicBezTo>
                    <a:pt x="59560" y="36149"/>
                    <a:pt x="95120" y="36784"/>
                    <a:pt x="130680" y="36149"/>
                  </a:cubicBezTo>
                  <a:cubicBezTo>
                    <a:pt x="137030" y="32339"/>
                    <a:pt x="132585" y="24084"/>
                    <a:pt x="133855" y="17734"/>
                  </a:cubicBezTo>
                  <a:cubicBezTo>
                    <a:pt x="97025" y="17099"/>
                    <a:pt x="60195" y="18369"/>
                    <a:pt x="23365" y="17734"/>
                  </a:cubicBezTo>
                  <a:close/>
                  <a:moveTo>
                    <a:pt x="-2035" y="81869"/>
                  </a:moveTo>
                  <a:lnTo>
                    <a:pt x="-2035" y="81869"/>
                  </a:lnTo>
                  <a:cubicBezTo>
                    <a:pt x="-2035" y="54564"/>
                    <a:pt x="-2035" y="26624"/>
                    <a:pt x="-2035" y="-681"/>
                  </a:cubicBezTo>
                  <a:cubicBezTo>
                    <a:pt x="44320" y="-681"/>
                    <a:pt x="90040" y="-681"/>
                    <a:pt x="135760" y="-681"/>
                  </a:cubicBezTo>
                  <a:cubicBezTo>
                    <a:pt x="144650" y="-681"/>
                    <a:pt x="155445" y="3764"/>
                    <a:pt x="156715" y="13289"/>
                  </a:cubicBezTo>
                  <a:cubicBezTo>
                    <a:pt x="157985" y="22179"/>
                    <a:pt x="157350" y="32339"/>
                    <a:pt x="156715" y="41229"/>
                  </a:cubicBezTo>
                  <a:cubicBezTo>
                    <a:pt x="156080" y="51389"/>
                    <a:pt x="145285" y="57739"/>
                    <a:pt x="135760" y="57104"/>
                  </a:cubicBezTo>
                  <a:cubicBezTo>
                    <a:pt x="98295" y="57104"/>
                    <a:pt x="60830" y="57104"/>
                    <a:pt x="23365" y="57104"/>
                  </a:cubicBezTo>
                  <a:cubicBezTo>
                    <a:pt x="23365" y="65359"/>
                    <a:pt x="23365" y="73614"/>
                    <a:pt x="23365" y="81869"/>
                  </a:cubicBezTo>
                  <a:cubicBezTo>
                    <a:pt x="15110" y="81869"/>
                    <a:pt x="6855" y="81869"/>
                    <a:pt x="-2035" y="81869"/>
                  </a:cubicBezTo>
                  <a:close/>
                </a:path>
              </a:pathLst>
            </a:custGeom>
            <a:solidFill>
              <a:srgbClr val="FFFFFF"/>
            </a:solidFill>
            <a:ln w="6350" cap="flat">
              <a:noFill/>
              <a:prstDash val="solid"/>
              <a:miter/>
            </a:ln>
          </p:spPr>
          <p:txBody>
            <a:bodyPr rtlCol="0" anchor="ctr"/>
            <a:lstStyle/>
            <a:p>
              <a:endParaRPr lang="en-GB"/>
            </a:p>
          </p:txBody>
        </p:sp>
        <p:sp>
          <p:nvSpPr>
            <p:cNvPr id="142" name="Freeform 141">
              <a:extLst>
                <a:ext uri="{FF2B5EF4-FFF2-40B4-BE49-F238E27FC236}">
                  <a16:creationId xmlns:a16="http://schemas.microsoft.com/office/drawing/2014/main" id="{11528CDE-EA32-9C3D-8EFE-678CDA5F438C}"/>
                </a:ext>
              </a:extLst>
            </p:cNvPr>
            <p:cNvSpPr/>
            <p:nvPr/>
          </p:nvSpPr>
          <p:spPr>
            <a:xfrm>
              <a:off x="-4883150" y="2444750"/>
              <a:ext cx="156844" cy="82005"/>
            </a:xfrm>
            <a:custGeom>
              <a:avLst/>
              <a:gdLst>
                <a:gd name="connsiteX0" fmla="*/ -130 w 156844"/>
                <a:gd name="connsiteY0" fmla="*/ 12019 h 82005"/>
                <a:gd name="connsiteX1" fmla="*/ -130 w 156844"/>
                <a:gd name="connsiteY1" fmla="*/ 12019 h 82005"/>
                <a:gd name="connsiteX2" fmla="*/ 21460 w 156844"/>
                <a:gd name="connsiteY2" fmla="*/ -681 h 82005"/>
                <a:gd name="connsiteX3" fmla="*/ 154810 w 156844"/>
                <a:gd name="connsiteY3" fmla="*/ -681 h 82005"/>
                <a:gd name="connsiteX4" fmla="*/ 154810 w 156844"/>
                <a:gd name="connsiteY4" fmla="*/ 22179 h 82005"/>
                <a:gd name="connsiteX5" fmla="*/ 24000 w 156844"/>
                <a:gd name="connsiteY5" fmla="*/ 22179 h 82005"/>
                <a:gd name="connsiteX6" fmla="*/ 20825 w 156844"/>
                <a:gd name="connsiteY6" fmla="*/ 24719 h 82005"/>
                <a:gd name="connsiteX7" fmla="*/ 20825 w 156844"/>
                <a:gd name="connsiteY7" fmla="*/ 57104 h 82005"/>
                <a:gd name="connsiteX8" fmla="*/ 32890 w 156844"/>
                <a:gd name="connsiteY8" fmla="*/ 59009 h 82005"/>
                <a:gd name="connsiteX9" fmla="*/ 154810 w 156844"/>
                <a:gd name="connsiteY9" fmla="*/ 59009 h 82005"/>
                <a:gd name="connsiteX10" fmla="*/ 154810 w 156844"/>
                <a:gd name="connsiteY10" fmla="*/ 80599 h 82005"/>
                <a:gd name="connsiteX11" fmla="*/ 26540 w 156844"/>
                <a:gd name="connsiteY11" fmla="*/ 81234 h 82005"/>
                <a:gd name="connsiteX12" fmla="*/ -765 w 156844"/>
                <a:gd name="connsiteY12" fmla="*/ 68534 h 82005"/>
                <a:gd name="connsiteX13" fmla="*/ -2035 w 156844"/>
                <a:gd name="connsiteY13" fmla="*/ 38689 h 82005"/>
                <a:gd name="connsiteX14" fmla="*/ -130 w 156844"/>
                <a:gd name="connsiteY14" fmla="*/ 12019 h 82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844" h="82005">
                  <a:moveTo>
                    <a:pt x="-130" y="12019"/>
                  </a:moveTo>
                  <a:lnTo>
                    <a:pt x="-130" y="12019"/>
                  </a:lnTo>
                  <a:cubicBezTo>
                    <a:pt x="3680" y="3764"/>
                    <a:pt x="13205" y="-681"/>
                    <a:pt x="21460" y="-681"/>
                  </a:cubicBezTo>
                  <a:cubicBezTo>
                    <a:pt x="65910" y="-681"/>
                    <a:pt x="110360" y="-681"/>
                    <a:pt x="154810" y="-681"/>
                  </a:cubicBezTo>
                  <a:cubicBezTo>
                    <a:pt x="154810" y="6939"/>
                    <a:pt x="154810" y="14559"/>
                    <a:pt x="154810" y="22179"/>
                  </a:cubicBezTo>
                  <a:cubicBezTo>
                    <a:pt x="110995" y="22179"/>
                    <a:pt x="67815" y="21544"/>
                    <a:pt x="24000" y="22179"/>
                  </a:cubicBezTo>
                  <a:cubicBezTo>
                    <a:pt x="23365" y="22814"/>
                    <a:pt x="21460" y="24084"/>
                    <a:pt x="20825" y="24719"/>
                  </a:cubicBezTo>
                  <a:cubicBezTo>
                    <a:pt x="20190" y="35514"/>
                    <a:pt x="20825" y="46309"/>
                    <a:pt x="20825" y="57104"/>
                  </a:cubicBezTo>
                  <a:cubicBezTo>
                    <a:pt x="24635" y="57739"/>
                    <a:pt x="28445" y="59009"/>
                    <a:pt x="32890" y="59009"/>
                  </a:cubicBezTo>
                  <a:cubicBezTo>
                    <a:pt x="73530" y="59009"/>
                    <a:pt x="114170" y="59009"/>
                    <a:pt x="154810" y="59009"/>
                  </a:cubicBezTo>
                  <a:cubicBezTo>
                    <a:pt x="154810" y="65994"/>
                    <a:pt x="154810" y="73614"/>
                    <a:pt x="154810" y="80599"/>
                  </a:cubicBezTo>
                  <a:cubicBezTo>
                    <a:pt x="112265" y="81869"/>
                    <a:pt x="69720" y="80599"/>
                    <a:pt x="26540" y="81234"/>
                  </a:cubicBezTo>
                  <a:cubicBezTo>
                    <a:pt x="16380" y="81869"/>
                    <a:pt x="3045" y="79329"/>
                    <a:pt x="-765" y="68534"/>
                  </a:cubicBezTo>
                  <a:cubicBezTo>
                    <a:pt x="-2670" y="59009"/>
                    <a:pt x="-1400" y="48849"/>
                    <a:pt x="-2035" y="38689"/>
                  </a:cubicBezTo>
                  <a:cubicBezTo>
                    <a:pt x="-1400" y="30434"/>
                    <a:pt x="-2670" y="20909"/>
                    <a:pt x="-130" y="12019"/>
                  </a:cubicBezTo>
                  <a:close/>
                </a:path>
              </a:pathLst>
            </a:custGeom>
            <a:solidFill>
              <a:srgbClr val="FFFFFF"/>
            </a:solidFill>
            <a:ln w="6350" cap="flat">
              <a:noFill/>
              <a:prstDash val="solid"/>
              <a:miter/>
            </a:ln>
          </p:spPr>
          <p:txBody>
            <a:bodyPr rtlCol="0" anchor="ctr"/>
            <a:lstStyle/>
            <a:p>
              <a:endParaRPr lang="en-GB"/>
            </a:p>
          </p:txBody>
        </p:sp>
        <p:sp>
          <p:nvSpPr>
            <p:cNvPr id="143" name="Freeform 142">
              <a:extLst>
                <a:ext uri="{FF2B5EF4-FFF2-40B4-BE49-F238E27FC236}">
                  <a16:creationId xmlns:a16="http://schemas.microsoft.com/office/drawing/2014/main" id="{671CD925-1417-33B2-1B0C-6C54864688A9}"/>
                </a:ext>
              </a:extLst>
            </p:cNvPr>
            <p:cNvSpPr/>
            <p:nvPr/>
          </p:nvSpPr>
          <p:spPr>
            <a:xfrm>
              <a:off x="-4704124" y="2444115"/>
              <a:ext cx="160064" cy="82733"/>
            </a:xfrm>
            <a:custGeom>
              <a:avLst/>
              <a:gdLst>
                <a:gd name="connsiteX0" fmla="*/ -1991 w 160064"/>
                <a:gd name="connsiteY0" fmla="*/ 61549 h 82733"/>
                <a:gd name="connsiteX1" fmla="*/ -1991 w 160064"/>
                <a:gd name="connsiteY1" fmla="*/ 61549 h 82733"/>
                <a:gd name="connsiteX2" fmla="*/ -1991 w 160064"/>
                <a:gd name="connsiteY2" fmla="*/ -681 h 82733"/>
                <a:gd name="connsiteX3" fmla="*/ 25949 w 160064"/>
                <a:gd name="connsiteY3" fmla="*/ -681 h 82733"/>
                <a:gd name="connsiteX4" fmla="*/ 26584 w 160064"/>
                <a:gd name="connsiteY4" fmla="*/ 59009 h 82733"/>
                <a:gd name="connsiteX5" fmla="*/ 129454 w 160064"/>
                <a:gd name="connsiteY5" fmla="*/ 59009 h 82733"/>
                <a:gd name="connsiteX6" fmla="*/ 130089 w 160064"/>
                <a:gd name="connsiteY6" fmla="*/ -681 h 82733"/>
                <a:gd name="connsiteX7" fmla="*/ 158029 w 160064"/>
                <a:gd name="connsiteY7" fmla="*/ -681 h 82733"/>
                <a:gd name="connsiteX8" fmla="*/ 158029 w 160064"/>
                <a:gd name="connsiteY8" fmla="*/ 61549 h 82733"/>
                <a:gd name="connsiteX9" fmla="*/ 136439 w 160064"/>
                <a:gd name="connsiteY9" fmla="*/ 81869 h 82733"/>
                <a:gd name="connsiteX10" fmla="*/ 39919 w 160064"/>
                <a:gd name="connsiteY10" fmla="*/ 81869 h 82733"/>
                <a:gd name="connsiteX11" fmla="*/ 11979 w 160064"/>
                <a:gd name="connsiteY11" fmla="*/ 79964 h 82733"/>
                <a:gd name="connsiteX12" fmla="*/ -1991 w 160064"/>
                <a:gd name="connsiteY12" fmla="*/ 61549 h 8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064" h="82733">
                  <a:moveTo>
                    <a:pt x="-1991" y="61549"/>
                  </a:moveTo>
                  <a:lnTo>
                    <a:pt x="-1991" y="61549"/>
                  </a:lnTo>
                  <a:cubicBezTo>
                    <a:pt x="-1991" y="41229"/>
                    <a:pt x="-1991" y="20274"/>
                    <a:pt x="-1991" y="-681"/>
                  </a:cubicBezTo>
                  <a:cubicBezTo>
                    <a:pt x="7534" y="-681"/>
                    <a:pt x="16424" y="-681"/>
                    <a:pt x="25949" y="-681"/>
                  </a:cubicBezTo>
                  <a:cubicBezTo>
                    <a:pt x="26584" y="19004"/>
                    <a:pt x="25314" y="39324"/>
                    <a:pt x="26584" y="59009"/>
                  </a:cubicBezTo>
                  <a:cubicBezTo>
                    <a:pt x="60874" y="59644"/>
                    <a:pt x="95164" y="59009"/>
                    <a:pt x="129454" y="59009"/>
                  </a:cubicBezTo>
                  <a:cubicBezTo>
                    <a:pt x="130724" y="39324"/>
                    <a:pt x="130089" y="19004"/>
                    <a:pt x="130089" y="-681"/>
                  </a:cubicBezTo>
                  <a:cubicBezTo>
                    <a:pt x="139614" y="-681"/>
                    <a:pt x="148504" y="-681"/>
                    <a:pt x="158029" y="-681"/>
                  </a:cubicBezTo>
                  <a:cubicBezTo>
                    <a:pt x="158029" y="19639"/>
                    <a:pt x="158029" y="40594"/>
                    <a:pt x="158029" y="61549"/>
                  </a:cubicBezTo>
                  <a:cubicBezTo>
                    <a:pt x="158029" y="72344"/>
                    <a:pt x="147234" y="81869"/>
                    <a:pt x="136439" y="81869"/>
                  </a:cubicBezTo>
                  <a:cubicBezTo>
                    <a:pt x="104054" y="82504"/>
                    <a:pt x="72304" y="81234"/>
                    <a:pt x="39919" y="81869"/>
                  </a:cubicBezTo>
                  <a:cubicBezTo>
                    <a:pt x="30394" y="81869"/>
                    <a:pt x="20869" y="82504"/>
                    <a:pt x="11979" y="79964"/>
                  </a:cubicBezTo>
                  <a:cubicBezTo>
                    <a:pt x="3724" y="77424"/>
                    <a:pt x="-2626" y="70439"/>
                    <a:pt x="-1991" y="61549"/>
                  </a:cubicBezTo>
                  <a:close/>
                </a:path>
              </a:pathLst>
            </a:custGeom>
            <a:solidFill>
              <a:srgbClr val="FFFFFF"/>
            </a:solidFill>
            <a:ln w="6350" cap="flat">
              <a:noFill/>
              <a:prstDash val="solid"/>
              <a:miter/>
            </a:ln>
          </p:spPr>
          <p:txBody>
            <a:bodyPr rtlCol="0" anchor="ctr"/>
            <a:lstStyle/>
            <a:p>
              <a:endParaRPr lang="en-GB"/>
            </a:p>
          </p:txBody>
        </p:sp>
        <p:sp>
          <p:nvSpPr>
            <p:cNvPr id="144" name="Freeform 143">
              <a:extLst>
                <a:ext uri="{FF2B5EF4-FFF2-40B4-BE49-F238E27FC236}">
                  <a16:creationId xmlns:a16="http://schemas.microsoft.com/office/drawing/2014/main" id="{BD03DCB3-E430-18A6-A1CF-A7794925CD81}"/>
                </a:ext>
              </a:extLst>
            </p:cNvPr>
            <p:cNvSpPr/>
            <p:nvPr/>
          </p:nvSpPr>
          <p:spPr>
            <a:xfrm>
              <a:off x="-4344669" y="2444750"/>
              <a:ext cx="158114" cy="83026"/>
            </a:xfrm>
            <a:custGeom>
              <a:avLst/>
              <a:gdLst>
                <a:gd name="connsiteX0" fmla="*/ 25904 w 158114"/>
                <a:gd name="connsiteY0" fmla="*/ 17099 h 83026"/>
                <a:gd name="connsiteX1" fmla="*/ 25904 w 158114"/>
                <a:gd name="connsiteY1" fmla="*/ 17099 h 83026"/>
                <a:gd name="connsiteX2" fmla="*/ 25904 w 158114"/>
                <a:gd name="connsiteY2" fmla="*/ 37419 h 83026"/>
                <a:gd name="connsiteX3" fmla="*/ 128775 w 158114"/>
                <a:gd name="connsiteY3" fmla="*/ 37419 h 83026"/>
                <a:gd name="connsiteX4" fmla="*/ 132585 w 158114"/>
                <a:gd name="connsiteY4" fmla="*/ 34879 h 83026"/>
                <a:gd name="connsiteX5" fmla="*/ 128775 w 158114"/>
                <a:gd name="connsiteY5" fmla="*/ 17734 h 83026"/>
                <a:gd name="connsiteX6" fmla="*/ 25904 w 158114"/>
                <a:gd name="connsiteY6" fmla="*/ 17099 h 83026"/>
                <a:gd name="connsiteX7" fmla="*/ -765 w 158114"/>
                <a:gd name="connsiteY7" fmla="*/ -681 h 83026"/>
                <a:gd name="connsiteX8" fmla="*/ -765 w 158114"/>
                <a:gd name="connsiteY8" fmla="*/ -681 h 83026"/>
                <a:gd name="connsiteX9" fmla="*/ 131315 w 158114"/>
                <a:gd name="connsiteY9" fmla="*/ -681 h 83026"/>
                <a:gd name="connsiteX10" fmla="*/ 154175 w 158114"/>
                <a:gd name="connsiteY10" fmla="*/ 13924 h 83026"/>
                <a:gd name="connsiteX11" fmla="*/ 154175 w 158114"/>
                <a:gd name="connsiteY11" fmla="*/ 41864 h 83026"/>
                <a:gd name="connsiteX12" fmla="*/ 139570 w 158114"/>
                <a:gd name="connsiteY12" fmla="*/ 57104 h 83026"/>
                <a:gd name="connsiteX13" fmla="*/ 156079 w 158114"/>
                <a:gd name="connsiteY13" fmla="*/ 81234 h 83026"/>
                <a:gd name="connsiteX14" fmla="*/ 122425 w 158114"/>
                <a:gd name="connsiteY14" fmla="*/ 74884 h 83026"/>
                <a:gd name="connsiteX15" fmla="*/ 111629 w 158114"/>
                <a:gd name="connsiteY15" fmla="*/ 57104 h 83026"/>
                <a:gd name="connsiteX16" fmla="*/ 24000 w 158114"/>
                <a:gd name="connsiteY16" fmla="*/ 57104 h 83026"/>
                <a:gd name="connsiteX17" fmla="*/ 24000 w 158114"/>
                <a:gd name="connsiteY17" fmla="*/ 81234 h 83026"/>
                <a:gd name="connsiteX18" fmla="*/ -2035 w 158114"/>
                <a:gd name="connsiteY18" fmla="*/ 81234 h 83026"/>
                <a:gd name="connsiteX19" fmla="*/ -765 w 158114"/>
                <a:gd name="connsiteY19" fmla="*/ -681 h 8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8114" h="83026">
                  <a:moveTo>
                    <a:pt x="25904" y="17099"/>
                  </a:moveTo>
                  <a:lnTo>
                    <a:pt x="25904" y="17099"/>
                  </a:lnTo>
                  <a:cubicBezTo>
                    <a:pt x="25904" y="24084"/>
                    <a:pt x="25904" y="30434"/>
                    <a:pt x="25904" y="37419"/>
                  </a:cubicBezTo>
                  <a:cubicBezTo>
                    <a:pt x="60195" y="37419"/>
                    <a:pt x="95120" y="38054"/>
                    <a:pt x="128775" y="37419"/>
                  </a:cubicBezTo>
                  <a:cubicBezTo>
                    <a:pt x="130045" y="36784"/>
                    <a:pt x="131315" y="35514"/>
                    <a:pt x="132585" y="34879"/>
                  </a:cubicBezTo>
                  <a:cubicBezTo>
                    <a:pt x="131950" y="29164"/>
                    <a:pt x="135760" y="20909"/>
                    <a:pt x="128775" y="17734"/>
                  </a:cubicBezTo>
                  <a:cubicBezTo>
                    <a:pt x="93850" y="16464"/>
                    <a:pt x="60195" y="17734"/>
                    <a:pt x="25904" y="17099"/>
                  </a:cubicBezTo>
                  <a:close/>
                  <a:moveTo>
                    <a:pt x="-765" y="-681"/>
                  </a:moveTo>
                  <a:lnTo>
                    <a:pt x="-765" y="-681"/>
                  </a:lnTo>
                  <a:cubicBezTo>
                    <a:pt x="43050" y="-681"/>
                    <a:pt x="87500" y="-681"/>
                    <a:pt x="131315" y="-681"/>
                  </a:cubicBezTo>
                  <a:cubicBezTo>
                    <a:pt x="140840" y="-681"/>
                    <a:pt x="152270" y="4399"/>
                    <a:pt x="154175" y="13924"/>
                  </a:cubicBezTo>
                  <a:cubicBezTo>
                    <a:pt x="154810" y="23449"/>
                    <a:pt x="154810" y="32339"/>
                    <a:pt x="154175" y="41864"/>
                  </a:cubicBezTo>
                  <a:cubicBezTo>
                    <a:pt x="152904" y="49484"/>
                    <a:pt x="145920" y="53929"/>
                    <a:pt x="139570" y="57104"/>
                  </a:cubicBezTo>
                  <a:cubicBezTo>
                    <a:pt x="145285" y="64724"/>
                    <a:pt x="151000" y="72979"/>
                    <a:pt x="156079" y="81234"/>
                  </a:cubicBezTo>
                  <a:cubicBezTo>
                    <a:pt x="145285" y="80599"/>
                    <a:pt x="128775" y="86949"/>
                    <a:pt x="122425" y="74884"/>
                  </a:cubicBezTo>
                  <a:cubicBezTo>
                    <a:pt x="118615" y="69169"/>
                    <a:pt x="115440" y="62819"/>
                    <a:pt x="111629" y="57104"/>
                  </a:cubicBezTo>
                  <a:cubicBezTo>
                    <a:pt x="82420" y="57104"/>
                    <a:pt x="53210" y="57104"/>
                    <a:pt x="24000" y="57104"/>
                  </a:cubicBezTo>
                  <a:cubicBezTo>
                    <a:pt x="24000" y="65359"/>
                    <a:pt x="24000" y="72979"/>
                    <a:pt x="24000" y="81234"/>
                  </a:cubicBezTo>
                  <a:cubicBezTo>
                    <a:pt x="15110" y="81869"/>
                    <a:pt x="6854" y="81869"/>
                    <a:pt x="-2035" y="81234"/>
                  </a:cubicBezTo>
                  <a:cubicBezTo>
                    <a:pt x="-765" y="54564"/>
                    <a:pt x="-765" y="26624"/>
                    <a:pt x="-765" y="-681"/>
                  </a:cubicBezTo>
                  <a:close/>
                </a:path>
              </a:pathLst>
            </a:custGeom>
            <a:solidFill>
              <a:srgbClr val="FFFFFF"/>
            </a:solidFill>
            <a:ln w="6350" cap="flat">
              <a:noFill/>
              <a:prstDash val="solid"/>
              <a:miter/>
            </a:ln>
          </p:spPr>
          <p:txBody>
            <a:bodyPr rtlCol="0" anchor="ctr"/>
            <a:lstStyle/>
            <a:p>
              <a:endParaRPr lang="en-GB"/>
            </a:p>
          </p:txBody>
        </p:sp>
        <p:sp>
          <p:nvSpPr>
            <p:cNvPr id="145" name="Freeform 144">
              <a:extLst>
                <a:ext uri="{FF2B5EF4-FFF2-40B4-BE49-F238E27FC236}">
                  <a16:creationId xmlns:a16="http://schemas.microsoft.com/office/drawing/2014/main" id="{72DD654D-3B5E-174D-2D72-5683D09F048F}"/>
                </a:ext>
              </a:extLst>
            </p:cNvPr>
            <p:cNvSpPr/>
            <p:nvPr/>
          </p:nvSpPr>
          <p:spPr>
            <a:xfrm>
              <a:off x="-4163872" y="2442812"/>
              <a:ext cx="157304" cy="84487"/>
            </a:xfrm>
            <a:custGeom>
              <a:avLst/>
              <a:gdLst>
                <a:gd name="connsiteX0" fmla="*/ 24178 w 157304"/>
                <a:gd name="connsiteY0" fmla="*/ 18401 h 84487"/>
                <a:gd name="connsiteX1" fmla="*/ 24178 w 157304"/>
                <a:gd name="connsiteY1" fmla="*/ 18401 h 84487"/>
                <a:gd name="connsiteX2" fmla="*/ 24178 w 157304"/>
                <a:gd name="connsiteY2" fmla="*/ 37451 h 84487"/>
                <a:gd name="connsiteX3" fmla="*/ 130223 w 157304"/>
                <a:gd name="connsiteY3" fmla="*/ 37451 h 84487"/>
                <a:gd name="connsiteX4" fmla="*/ 130223 w 157304"/>
                <a:gd name="connsiteY4" fmla="*/ 18401 h 84487"/>
                <a:gd name="connsiteX5" fmla="*/ 24178 w 157304"/>
                <a:gd name="connsiteY5" fmla="*/ 18401 h 84487"/>
                <a:gd name="connsiteX6" fmla="*/ -1857 w 157304"/>
                <a:gd name="connsiteY6" fmla="*/ 20306 h 84487"/>
                <a:gd name="connsiteX7" fmla="*/ -1857 w 157304"/>
                <a:gd name="connsiteY7" fmla="*/ 20306 h 84487"/>
                <a:gd name="connsiteX8" fmla="*/ 22907 w 157304"/>
                <a:gd name="connsiteY8" fmla="*/ -649 h 84487"/>
                <a:gd name="connsiteX9" fmla="*/ 154988 w 157304"/>
                <a:gd name="connsiteY9" fmla="*/ -649 h 84487"/>
                <a:gd name="connsiteX10" fmla="*/ 154988 w 157304"/>
                <a:gd name="connsiteY10" fmla="*/ 83171 h 84487"/>
                <a:gd name="connsiteX11" fmla="*/ 132128 w 157304"/>
                <a:gd name="connsiteY11" fmla="*/ 83171 h 84487"/>
                <a:gd name="connsiteX12" fmla="*/ 130857 w 157304"/>
                <a:gd name="connsiteY12" fmla="*/ 58406 h 84487"/>
                <a:gd name="connsiteX13" fmla="*/ 24178 w 157304"/>
                <a:gd name="connsiteY13" fmla="*/ 58406 h 84487"/>
                <a:gd name="connsiteX14" fmla="*/ 24178 w 157304"/>
                <a:gd name="connsiteY14" fmla="*/ 83806 h 84487"/>
                <a:gd name="connsiteX15" fmla="*/ -1222 w 157304"/>
                <a:gd name="connsiteY15" fmla="*/ 83806 h 84487"/>
                <a:gd name="connsiteX16" fmla="*/ -1857 w 157304"/>
                <a:gd name="connsiteY16" fmla="*/ 20306 h 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04" h="84487">
                  <a:moveTo>
                    <a:pt x="24178" y="18401"/>
                  </a:moveTo>
                  <a:lnTo>
                    <a:pt x="24178" y="18401"/>
                  </a:lnTo>
                  <a:cubicBezTo>
                    <a:pt x="24178" y="24751"/>
                    <a:pt x="24178" y="31101"/>
                    <a:pt x="24178" y="37451"/>
                  </a:cubicBezTo>
                  <a:cubicBezTo>
                    <a:pt x="59738" y="37451"/>
                    <a:pt x="94663" y="37451"/>
                    <a:pt x="130223" y="37451"/>
                  </a:cubicBezTo>
                  <a:cubicBezTo>
                    <a:pt x="130223" y="31101"/>
                    <a:pt x="130223" y="24751"/>
                    <a:pt x="130223" y="18401"/>
                  </a:cubicBezTo>
                  <a:cubicBezTo>
                    <a:pt x="94663" y="18401"/>
                    <a:pt x="59103" y="17766"/>
                    <a:pt x="24178" y="18401"/>
                  </a:cubicBezTo>
                  <a:close/>
                  <a:moveTo>
                    <a:pt x="-1857" y="20306"/>
                  </a:moveTo>
                  <a:lnTo>
                    <a:pt x="-1857" y="20306"/>
                  </a:lnTo>
                  <a:cubicBezTo>
                    <a:pt x="-2493" y="7606"/>
                    <a:pt x="10843" y="-1284"/>
                    <a:pt x="22907" y="-649"/>
                  </a:cubicBezTo>
                  <a:cubicBezTo>
                    <a:pt x="66723" y="-649"/>
                    <a:pt x="111173" y="-649"/>
                    <a:pt x="154988" y="-649"/>
                  </a:cubicBezTo>
                  <a:cubicBezTo>
                    <a:pt x="154988" y="27291"/>
                    <a:pt x="155623" y="55231"/>
                    <a:pt x="154988" y="83171"/>
                  </a:cubicBezTo>
                  <a:cubicBezTo>
                    <a:pt x="147368" y="83171"/>
                    <a:pt x="139748" y="84441"/>
                    <a:pt x="132128" y="83171"/>
                  </a:cubicBezTo>
                  <a:cubicBezTo>
                    <a:pt x="128318" y="76187"/>
                    <a:pt x="131493" y="66662"/>
                    <a:pt x="130857" y="58406"/>
                  </a:cubicBezTo>
                  <a:cubicBezTo>
                    <a:pt x="95298" y="58406"/>
                    <a:pt x="59738" y="58406"/>
                    <a:pt x="24178" y="58406"/>
                  </a:cubicBezTo>
                  <a:cubicBezTo>
                    <a:pt x="24178" y="66662"/>
                    <a:pt x="24178" y="74916"/>
                    <a:pt x="24178" y="83806"/>
                  </a:cubicBezTo>
                  <a:cubicBezTo>
                    <a:pt x="15288" y="83806"/>
                    <a:pt x="7032" y="83806"/>
                    <a:pt x="-1222" y="83806"/>
                  </a:cubicBezTo>
                  <a:cubicBezTo>
                    <a:pt x="-1222" y="62216"/>
                    <a:pt x="-2493" y="41262"/>
                    <a:pt x="-1857" y="20306"/>
                  </a:cubicBezTo>
                  <a:close/>
                </a:path>
              </a:pathLst>
            </a:custGeom>
            <a:solidFill>
              <a:srgbClr val="FFFFFF"/>
            </a:solidFill>
            <a:ln w="6350" cap="flat">
              <a:noFill/>
              <a:prstDash val="solid"/>
              <a:miter/>
            </a:ln>
          </p:spPr>
          <p:txBody>
            <a:bodyPr rtlCol="0" anchor="ctr"/>
            <a:lstStyle/>
            <a:p>
              <a:endParaRPr lang="en-GB"/>
            </a:p>
          </p:txBody>
        </p:sp>
      </p:grpSp>
      <p:grpSp>
        <p:nvGrpSpPr>
          <p:cNvPr id="146" name="Graphic 79">
            <a:extLst>
              <a:ext uri="{FF2B5EF4-FFF2-40B4-BE49-F238E27FC236}">
                <a16:creationId xmlns:a16="http://schemas.microsoft.com/office/drawing/2014/main" id="{23385145-CFE8-CD21-3F7F-C1DB61FC90E0}"/>
              </a:ext>
            </a:extLst>
          </p:cNvPr>
          <p:cNvGrpSpPr/>
          <p:nvPr userDrawn="1"/>
        </p:nvGrpSpPr>
        <p:grpSpPr>
          <a:xfrm>
            <a:off x="7356357" y="3079750"/>
            <a:ext cx="655275" cy="692528"/>
            <a:chOff x="-6359643" y="3079750"/>
            <a:chExt cx="655275" cy="692528"/>
          </a:xfrm>
          <a:solidFill>
            <a:srgbClr val="FFFFFF"/>
          </a:solidFill>
        </p:grpSpPr>
        <p:sp>
          <p:nvSpPr>
            <p:cNvPr id="147" name="Freeform 146">
              <a:extLst>
                <a:ext uri="{FF2B5EF4-FFF2-40B4-BE49-F238E27FC236}">
                  <a16:creationId xmlns:a16="http://schemas.microsoft.com/office/drawing/2014/main" id="{80065592-28A8-D2BE-09B7-1DD8D1BB409A}"/>
                </a:ext>
              </a:extLst>
            </p:cNvPr>
            <p:cNvSpPr/>
            <p:nvPr/>
          </p:nvSpPr>
          <p:spPr>
            <a:xfrm>
              <a:off x="-6359643" y="3079750"/>
              <a:ext cx="655275" cy="692528"/>
            </a:xfrm>
            <a:custGeom>
              <a:avLst/>
              <a:gdLst>
                <a:gd name="connsiteX0" fmla="*/ 323853 w 655275"/>
                <a:gd name="connsiteY0" fmla="*/ -1072 h 692528"/>
                <a:gd name="connsiteX1" fmla="*/ 323853 w 655275"/>
                <a:gd name="connsiteY1" fmla="*/ -1072 h 692528"/>
                <a:gd name="connsiteX2" fmla="*/ 579123 w 655275"/>
                <a:gd name="connsiteY2" fmla="*/ 50363 h 692528"/>
                <a:gd name="connsiteX3" fmla="*/ 615953 w 655275"/>
                <a:gd name="connsiteY3" fmla="*/ 70683 h 692528"/>
                <a:gd name="connsiteX4" fmla="*/ 650878 w 655275"/>
                <a:gd name="connsiteY4" fmla="*/ 138628 h 692528"/>
                <a:gd name="connsiteX5" fmla="*/ 648338 w 655275"/>
                <a:gd name="connsiteY5" fmla="*/ 205303 h 692528"/>
                <a:gd name="connsiteX6" fmla="*/ 610238 w 655275"/>
                <a:gd name="connsiteY6" fmla="*/ 357068 h 692528"/>
                <a:gd name="connsiteX7" fmla="*/ 393703 w 655275"/>
                <a:gd name="connsiteY7" fmla="*/ 661868 h 692528"/>
                <a:gd name="connsiteX8" fmla="*/ 356873 w 655275"/>
                <a:gd name="connsiteY8" fmla="*/ 685998 h 692528"/>
                <a:gd name="connsiteX9" fmla="*/ 273688 w 655275"/>
                <a:gd name="connsiteY9" fmla="*/ 675203 h 692528"/>
                <a:gd name="connsiteX10" fmla="*/ 211458 w 655275"/>
                <a:gd name="connsiteY10" fmla="*/ 620593 h 692528"/>
                <a:gd name="connsiteX11" fmla="*/ 17148 w 655275"/>
                <a:gd name="connsiteY11" fmla="*/ 285313 h 692528"/>
                <a:gd name="connsiteX12" fmla="*/ -1902 w 655275"/>
                <a:gd name="connsiteY12" fmla="*/ 178633 h 692528"/>
                <a:gd name="connsiteX13" fmla="*/ 6988 w 655275"/>
                <a:gd name="connsiteY13" fmla="*/ 105608 h 692528"/>
                <a:gd name="connsiteX14" fmla="*/ 53978 w 655275"/>
                <a:gd name="connsiteY14" fmla="*/ 57348 h 692528"/>
                <a:gd name="connsiteX15" fmla="*/ 195583 w 655275"/>
                <a:gd name="connsiteY15" fmla="*/ 10358 h 692528"/>
                <a:gd name="connsiteX16" fmla="*/ 323853 w 655275"/>
                <a:gd name="connsiteY16" fmla="*/ -1072 h 692528"/>
                <a:gd name="connsiteX17" fmla="*/ 608968 w 655275"/>
                <a:gd name="connsiteY17" fmla="*/ 283408 h 692528"/>
                <a:gd name="connsiteX18" fmla="*/ 608968 w 655275"/>
                <a:gd name="connsiteY18" fmla="*/ 283408 h 692528"/>
                <a:gd name="connsiteX19" fmla="*/ 605158 w 655275"/>
                <a:gd name="connsiteY19" fmla="*/ 283408 h 692528"/>
                <a:gd name="connsiteX20" fmla="*/ 532768 w 655275"/>
                <a:gd name="connsiteY20" fmla="*/ 287853 h 692528"/>
                <a:gd name="connsiteX21" fmla="*/ 420373 w 655275"/>
                <a:gd name="connsiteY21" fmla="*/ 303093 h 692528"/>
                <a:gd name="connsiteX22" fmla="*/ 283848 w 655275"/>
                <a:gd name="connsiteY22" fmla="*/ 336113 h 692528"/>
                <a:gd name="connsiteX23" fmla="*/ 178438 w 655275"/>
                <a:gd name="connsiteY23" fmla="*/ 385008 h 692528"/>
                <a:gd name="connsiteX24" fmla="*/ 134623 w 655275"/>
                <a:gd name="connsiteY24" fmla="*/ 425013 h 692528"/>
                <a:gd name="connsiteX25" fmla="*/ 132083 w 655275"/>
                <a:gd name="connsiteY25" fmla="*/ 491053 h 692528"/>
                <a:gd name="connsiteX26" fmla="*/ 213363 w 655275"/>
                <a:gd name="connsiteY26" fmla="*/ 592653 h 692528"/>
                <a:gd name="connsiteX27" fmla="*/ 285753 w 655275"/>
                <a:gd name="connsiteY27" fmla="*/ 656788 h 692528"/>
                <a:gd name="connsiteX28" fmla="*/ 340363 w 655275"/>
                <a:gd name="connsiteY28" fmla="*/ 666313 h 692528"/>
                <a:gd name="connsiteX29" fmla="*/ 373383 w 655275"/>
                <a:gd name="connsiteY29" fmla="*/ 647898 h 692528"/>
                <a:gd name="connsiteX30" fmla="*/ 598173 w 655275"/>
                <a:gd name="connsiteY30" fmla="*/ 318968 h 692528"/>
                <a:gd name="connsiteX31" fmla="*/ 608968 w 655275"/>
                <a:gd name="connsiteY31" fmla="*/ 283408 h 692528"/>
                <a:gd name="connsiteX32" fmla="*/ 615318 w 655275"/>
                <a:gd name="connsiteY32" fmla="*/ 254833 h 692528"/>
                <a:gd name="connsiteX33" fmla="*/ 615318 w 655275"/>
                <a:gd name="connsiteY33" fmla="*/ 254833 h 692528"/>
                <a:gd name="connsiteX34" fmla="*/ 615953 w 655275"/>
                <a:gd name="connsiteY34" fmla="*/ 250388 h 692528"/>
                <a:gd name="connsiteX35" fmla="*/ 625478 w 655275"/>
                <a:gd name="connsiteY35" fmla="*/ 193238 h 692528"/>
                <a:gd name="connsiteX36" fmla="*/ 626113 w 655275"/>
                <a:gd name="connsiteY36" fmla="*/ 139898 h 692528"/>
                <a:gd name="connsiteX37" fmla="*/ 580393 w 655275"/>
                <a:gd name="connsiteY37" fmla="*/ 76398 h 692528"/>
                <a:gd name="connsiteX38" fmla="*/ 358778 w 655275"/>
                <a:gd name="connsiteY38" fmla="*/ 21788 h 692528"/>
                <a:gd name="connsiteX39" fmla="*/ 219713 w 655275"/>
                <a:gd name="connsiteY39" fmla="*/ 28773 h 692528"/>
                <a:gd name="connsiteX40" fmla="*/ 62868 w 655275"/>
                <a:gd name="connsiteY40" fmla="*/ 77033 h 692528"/>
                <a:gd name="connsiteX41" fmla="*/ 20958 w 655275"/>
                <a:gd name="connsiteY41" fmla="*/ 131643 h 692528"/>
                <a:gd name="connsiteX42" fmla="*/ 20323 w 655275"/>
                <a:gd name="connsiteY42" fmla="*/ 189428 h 692528"/>
                <a:gd name="connsiteX43" fmla="*/ 44453 w 655275"/>
                <a:gd name="connsiteY43" fmla="*/ 304998 h 692528"/>
                <a:gd name="connsiteX44" fmla="*/ 49533 w 655275"/>
                <a:gd name="connsiteY44" fmla="*/ 322778 h 692528"/>
                <a:gd name="connsiteX45" fmla="*/ 95253 w 655275"/>
                <a:gd name="connsiteY45" fmla="*/ 296108 h 692528"/>
                <a:gd name="connsiteX46" fmla="*/ 123193 w 655275"/>
                <a:gd name="connsiteY46" fmla="*/ 287218 h 692528"/>
                <a:gd name="connsiteX47" fmla="*/ 281943 w 655275"/>
                <a:gd name="connsiteY47" fmla="*/ 264358 h 692528"/>
                <a:gd name="connsiteX48" fmla="*/ 384813 w 655275"/>
                <a:gd name="connsiteY48" fmla="*/ 258008 h 692528"/>
                <a:gd name="connsiteX49" fmla="*/ 601348 w 655275"/>
                <a:gd name="connsiteY49" fmla="*/ 254198 h 692528"/>
                <a:gd name="connsiteX50" fmla="*/ 615318 w 655275"/>
                <a:gd name="connsiteY50" fmla="*/ 254833 h 692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55275" h="692528">
                  <a:moveTo>
                    <a:pt x="323853" y="-1072"/>
                  </a:moveTo>
                  <a:lnTo>
                    <a:pt x="323853" y="-1072"/>
                  </a:lnTo>
                  <a:cubicBezTo>
                    <a:pt x="412118" y="-1072"/>
                    <a:pt x="497843" y="14168"/>
                    <a:pt x="579123" y="50363"/>
                  </a:cubicBezTo>
                  <a:cubicBezTo>
                    <a:pt x="591823" y="55443"/>
                    <a:pt x="603888" y="61793"/>
                    <a:pt x="615953" y="70683"/>
                  </a:cubicBezTo>
                  <a:cubicBezTo>
                    <a:pt x="636273" y="88463"/>
                    <a:pt x="647068" y="111958"/>
                    <a:pt x="650878" y="138628"/>
                  </a:cubicBezTo>
                  <a:cubicBezTo>
                    <a:pt x="654688" y="160853"/>
                    <a:pt x="651513" y="183078"/>
                    <a:pt x="648338" y="205303"/>
                  </a:cubicBezTo>
                  <a:cubicBezTo>
                    <a:pt x="641353" y="256738"/>
                    <a:pt x="628653" y="307538"/>
                    <a:pt x="610238" y="357068"/>
                  </a:cubicBezTo>
                  <a:cubicBezTo>
                    <a:pt x="563883" y="476448"/>
                    <a:pt x="493398" y="579953"/>
                    <a:pt x="393703" y="661868"/>
                  </a:cubicBezTo>
                  <a:cubicBezTo>
                    <a:pt x="382273" y="671393"/>
                    <a:pt x="371478" y="680283"/>
                    <a:pt x="356873" y="685998"/>
                  </a:cubicBezTo>
                  <a:cubicBezTo>
                    <a:pt x="327663" y="695523"/>
                    <a:pt x="299723" y="692983"/>
                    <a:pt x="273688" y="675203"/>
                  </a:cubicBezTo>
                  <a:cubicBezTo>
                    <a:pt x="251463" y="659328"/>
                    <a:pt x="231143" y="640278"/>
                    <a:pt x="211458" y="620593"/>
                  </a:cubicBezTo>
                  <a:cubicBezTo>
                    <a:pt x="116208" y="527248"/>
                    <a:pt x="51438" y="414853"/>
                    <a:pt x="17148" y="285313"/>
                  </a:cubicBezTo>
                  <a:cubicBezTo>
                    <a:pt x="8258" y="250388"/>
                    <a:pt x="1908" y="214828"/>
                    <a:pt x="-1902" y="178633"/>
                  </a:cubicBezTo>
                  <a:cubicBezTo>
                    <a:pt x="-3807" y="153868"/>
                    <a:pt x="-2537" y="129738"/>
                    <a:pt x="6988" y="105608"/>
                  </a:cubicBezTo>
                  <a:cubicBezTo>
                    <a:pt x="16513" y="84018"/>
                    <a:pt x="33023" y="68143"/>
                    <a:pt x="53978" y="57348"/>
                  </a:cubicBezTo>
                  <a:cubicBezTo>
                    <a:pt x="99698" y="35123"/>
                    <a:pt x="146688" y="19883"/>
                    <a:pt x="195583" y="10358"/>
                  </a:cubicBezTo>
                  <a:cubicBezTo>
                    <a:pt x="238128" y="1468"/>
                    <a:pt x="280673" y="-1072"/>
                    <a:pt x="323853" y="-1072"/>
                  </a:cubicBezTo>
                  <a:close/>
                  <a:moveTo>
                    <a:pt x="608968" y="283408"/>
                  </a:moveTo>
                  <a:lnTo>
                    <a:pt x="608968" y="283408"/>
                  </a:lnTo>
                  <a:cubicBezTo>
                    <a:pt x="607063" y="283408"/>
                    <a:pt x="606428" y="282773"/>
                    <a:pt x="605158" y="283408"/>
                  </a:cubicBezTo>
                  <a:cubicBezTo>
                    <a:pt x="581028" y="284043"/>
                    <a:pt x="556898" y="285313"/>
                    <a:pt x="532768" y="287853"/>
                  </a:cubicBezTo>
                  <a:cubicBezTo>
                    <a:pt x="495303" y="292298"/>
                    <a:pt x="457838" y="296743"/>
                    <a:pt x="420373" y="303093"/>
                  </a:cubicBezTo>
                  <a:cubicBezTo>
                    <a:pt x="374018" y="310078"/>
                    <a:pt x="328298" y="320873"/>
                    <a:pt x="283848" y="336113"/>
                  </a:cubicBezTo>
                  <a:cubicBezTo>
                    <a:pt x="246383" y="348813"/>
                    <a:pt x="211458" y="362783"/>
                    <a:pt x="178438" y="385008"/>
                  </a:cubicBezTo>
                  <a:cubicBezTo>
                    <a:pt x="162563" y="396438"/>
                    <a:pt x="146053" y="409138"/>
                    <a:pt x="134623" y="425013"/>
                  </a:cubicBezTo>
                  <a:cubicBezTo>
                    <a:pt x="117478" y="446603"/>
                    <a:pt x="116843" y="467558"/>
                    <a:pt x="132083" y="491053"/>
                  </a:cubicBezTo>
                  <a:cubicBezTo>
                    <a:pt x="155578" y="527883"/>
                    <a:pt x="182883" y="561538"/>
                    <a:pt x="213363" y="592653"/>
                  </a:cubicBezTo>
                  <a:cubicBezTo>
                    <a:pt x="235588" y="615513"/>
                    <a:pt x="259083" y="638373"/>
                    <a:pt x="285753" y="656788"/>
                  </a:cubicBezTo>
                  <a:cubicBezTo>
                    <a:pt x="301628" y="669488"/>
                    <a:pt x="320678" y="672028"/>
                    <a:pt x="340363" y="666313"/>
                  </a:cubicBezTo>
                  <a:cubicBezTo>
                    <a:pt x="353698" y="663773"/>
                    <a:pt x="363858" y="655518"/>
                    <a:pt x="373383" y="647898"/>
                  </a:cubicBezTo>
                  <a:cubicBezTo>
                    <a:pt x="481333" y="560268"/>
                    <a:pt x="553723" y="449143"/>
                    <a:pt x="598173" y="318968"/>
                  </a:cubicBezTo>
                  <a:cubicBezTo>
                    <a:pt x="601983" y="307538"/>
                    <a:pt x="605793" y="294838"/>
                    <a:pt x="608968" y="283408"/>
                  </a:cubicBezTo>
                  <a:close/>
                  <a:moveTo>
                    <a:pt x="615318" y="254833"/>
                  </a:moveTo>
                  <a:lnTo>
                    <a:pt x="615318" y="254833"/>
                  </a:lnTo>
                  <a:cubicBezTo>
                    <a:pt x="615953" y="252928"/>
                    <a:pt x="615953" y="252293"/>
                    <a:pt x="615953" y="250388"/>
                  </a:cubicBezTo>
                  <a:cubicBezTo>
                    <a:pt x="619763" y="231338"/>
                    <a:pt x="622938" y="212288"/>
                    <a:pt x="625478" y="193238"/>
                  </a:cubicBezTo>
                  <a:cubicBezTo>
                    <a:pt x="628018" y="175458"/>
                    <a:pt x="629923" y="157678"/>
                    <a:pt x="626113" y="139898"/>
                  </a:cubicBezTo>
                  <a:cubicBezTo>
                    <a:pt x="621668" y="110688"/>
                    <a:pt x="607063" y="89733"/>
                    <a:pt x="580393" y="76398"/>
                  </a:cubicBezTo>
                  <a:cubicBezTo>
                    <a:pt x="509908" y="43378"/>
                    <a:pt x="435613" y="25598"/>
                    <a:pt x="358778" y="21788"/>
                  </a:cubicBezTo>
                  <a:cubicBezTo>
                    <a:pt x="312423" y="19248"/>
                    <a:pt x="266068" y="21153"/>
                    <a:pt x="219713" y="28773"/>
                  </a:cubicBezTo>
                  <a:cubicBezTo>
                    <a:pt x="165103" y="37028"/>
                    <a:pt x="112398" y="52903"/>
                    <a:pt x="62868" y="77033"/>
                  </a:cubicBezTo>
                  <a:cubicBezTo>
                    <a:pt x="40643" y="88463"/>
                    <a:pt x="26038" y="106243"/>
                    <a:pt x="20958" y="131643"/>
                  </a:cubicBezTo>
                  <a:cubicBezTo>
                    <a:pt x="16513" y="151328"/>
                    <a:pt x="17148" y="169743"/>
                    <a:pt x="20323" y="189428"/>
                  </a:cubicBezTo>
                  <a:cubicBezTo>
                    <a:pt x="24768" y="228798"/>
                    <a:pt x="33023" y="266898"/>
                    <a:pt x="44453" y="304998"/>
                  </a:cubicBezTo>
                  <a:cubicBezTo>
                    <a:pt x="46358" y="310078"/>
                    <a:pt x="48263" y="316428"/>
                    <a:pt x="49533" y="322778"/>
                  </a:cubicBezTo>
                  <a:cubicBezTo>
                    <a:pt x="62233" y="309443"/>
                    <a:pt x="78108" y="302458"/>
                    <a:pt x="95253" y="296108"/>
                  </a:cubicBezTo>
                  <a:cubicBezTo>
                    <a:pt x="104143" y="292298"/>
                    <a:pt x="113033" y="289758"/>
                    <a:pt x="123193" y="287218"/>
                  </a:cubicBezTo>
                  <a:cubicBezTo>
                    <a:pt x="175263" y="273883"/>
                    <a:pt x="228603" y="267533"/>
                    <a:pt x="281943" y="264358"/>
                  </a:cubicBezTo>
                  <a:cubicBezTo>
                    <a:pt x="316868" y="261818"/>
                    <a:pt x="350523" y="259913"/>
                    <a:pt x="384813" y="258008"/>
                  </a:cubicBezTo>
                  <a:cubicBezTo>
                    <a:pt x="457203" y="255468"/>
                    <a:pt x="529593" y="253563"/>
                    <a:pt x="601348" y="254198"/>
                  </a:cubicBezTo>
                  <a:cubicBezTo>
                    <a:pt x="606428" y="254833"/>
                    <a:pt x="610873" y="254833"/>
                    <a:pt x="615318" y="254833"/>
                  </a:cubicBezTo>
                  <a:close/>
                </a:path>
              </a:pathLst>
            </a:custGeom>
            <a:solidFill>
              <a:srgbClr val="FFFFFF"/>
            </a:solidFill>
            <a:ln w="6350" cap="flat">
              <a:noFill/>
              <a:prstDash val="solid"/>
              <a:miter/>
            </a:ln>
          </p:spPr>
          <p:txBody>
            <a:bodyPr rtlCol="0" anchor="ctr"/>
            <a:lstStyle/>
            <a:p>
              <a:endParaRPr lang="en-GB"/>
            </a:p>
          </p:txBody>
        </p:sp>
        <p:sp>
          <p:nvSpPr>
            <p:cNvPr id="148" name="Freeform 147">
              <a:extLst>
                <a:ext uri="{FF2B5EF4-FFF2-40B4-BE49-F238E27FC236}">
                  <a16:creationId xmlns:a16="http://schemas.microsoft.com/office/drawing/2014/main" id="{84D722D0-81AC-0D99-40DA-8103C17BC524}"/>
                </a:ext>
              </a:extLst>
            </p:cNvPr>
            <p:cNvSpPr/>
            <p:nvPr/>
          </p:nvSpPr>
          <p:spPr>
            <a:xfrm>
              <a:off x="-6287134" y="3201669"/>
              <a:ext cx="100990" cy="87630"/>
            </a:xfrm>
            <a:custGeom>
              <a:avLst/>
              <a:gdLst>
                <a:gd name="connsiteX0" fmla="*/ -2656 w 100990"/>
                <a:gd name="connsiteY0" fmla="*/ 86558 h 87630"/>
                <a:gd name="connsiteX1" fmla="*/ -2656 w 100990"/>
                <a:gd name="connsiteY1" fmla="*/ 86558 h 87630"/>
                <a:gd name="connsiteX2" fmla="*/ 4329 w 100990"/>
                <a:gd name="connsiteY2" fmla="*/ 50364 h 87630"/>
                <a:gd name="connsiteX3" fmla="*/ 15124 w 100990"/>
                <a:gd name="connsiteY3" fmla="*/ 1468 h 87630"/>
                <a:gd name="connsiteX4" fmla="*/ 18934 w 100990"/>
                <a:gd name="connsiteY4" fmla="*/ -1072 h 87630"/>
                <a:gd name="connsiteX5" fmla="*/ 67194 w 100990"/>
                <a:gd name="connsiteY5" fmla="*/ -436 h 87630"/>
                <a:gd name="connsiteX6" fmla="*/ 75449 w 100990"/>
                <a:gd name="connsiteY6" fmla="*/ 198 h 87630"/>
                <a:gd name="connsiteX7" fmla="*/ 98309 w 100990"/>
                <a:gd name="connsiteY7" fmla="*/ 24964 h 87630"/>
                <a:gd name="connsiteX8" fmla="*/ 58304 w 100990"/>
                <a:gd name="connsiteY8" fmla="*/ 84653 h 87630"/>
                <a:gd name="connsiteX9" fmla="*/ 48144 w 100990"/>
                <a:gd name="connsiteY9" fmla="*/ 86558 h 87630"/>
                <a:gd name="connsiteX10" fmla="*/ -2656 w 100990"/>
                <a:gd name="connsiteY10" fmla="*/ 86558 h 87630"/>
                <a:gd name="connsiteX11" fmla="*/ 46239 w 100990"/>
                <a:gd name="connsiteY11" fmla="*/ 18614 h 87630"/>
                <a:gd name="connsiteX12" fmla="*/ 46239 w 100990"/>
                <a:gd name="connsiteY12" fmla="*/ 18614 h 87630"/>
                <a:gd name="connsiteX13" fmla="*/ 36079 w 100990"/>
                <a:gd name="connsiteY13" fmla="*/ 65603 h 87630"/>
                <a:gd name="connsiteX14" fmla="*/ 55129 w 100990"/>
                <a:gd name="connsiteY14" fmla="*/ 54808 h 87630"/>
                <a:gd name="connsiteX15" fmla="*/ 60844 w 100990"/>
                <a:gd name="connsiteY15" fmla="*/ 32583 h 87630"/>
                <a:gd name="connsiteX16" fmla="*/ 46239 w 100990"/>
                <a:gd name="connsiteY16" fmla="*/ 18614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990" h="87630">
                  <a:moveTo>
                    <a:pt x="-2656" y="86558"/>
                  </a:moveTo>
                  <a:lnTo>
                    <a:pt x="-2656" y="86558"/>
                  </a:lnTo>
                  <a:cubicBezTo>
                    <a:pt x="-116" y="73858"/>
                    <a:pt x="1789" y="62428"/>
                    <a:pt x="4329" y="50364"/>
                  </a:cubicBezTo>
                  <a:cubicBezTo>
                    <a:pt x="8139" y="34489"/>
                    <a:pt x="11314" y="17978"/>
                    <a:pt x="15124" y="1468"/>
                  </a:cubicBezTo>
                  <a:cubicBezTo>
                    <a:pt x="15124" y="-436"/>
                    <a:pt x="15759" y="-1072"/>
                    <a:pt x="18934" y="-1072"/>
                  </a:cubicBezTo>
                  <a:cubicBezTo>
                    <a:pt x="35444" y="-1072"/>
                    <a:pt x="50684" y="-1072"/>
                    <a:pt x="67194" y="-436"/>
                  </a:cubicBezTo>
                  <a:cubicBezTo>
                    <a:pt x="69734" y="-436"/>
                    <a:pt x="72909" y="-436"/>
                    <a:pt x="75449" y="198"/>
                  </a:cubicBezTo>
                  <a:cubicBezTo>
                    <a:pt x="90054" y="4008"/>
                    <a:pt x="97039" y="11628"/>
                    <a:pt x="98309" y="24964"/>
                  </a:cubicBezTo>
                  <a:cubicBezTo>
                    <a:pt x="98944" y="49093"/>
                    <a:pt x="87514" y="76398"/>
                    <a:pt x="58304" y="84653"/>
                  </a:cubicBezTo>
                  <a:cubicBezTo>
                    <a:pt x="54494" y="85289"/>
                    <a:pt x="51319" y="86558"/>
                    <a:pt x="48144" y="86558"/>
                  </a:cubicBezTo>
                  <a:cubicBezTo>
                    <a:pt x="30999" y="86558"/>
                    <a:pt x="14489" y="86558"/>
                    <a:pt x="-2656" y="86558"/>
                  </a:cubicBezTo>
                  <a:close/>
                  <a:moveTo>
                    <a:pt x="46239" y="18614"/>
                  </a:moveTo>
                  <a:lnTo>
                    <a:pt x="46239" y="18614"/>
                  </a:lnTo>
                  <a:cubicBezTo>
                    <a:pt x="43699" y="34489"/>
                    <a:pt x="39889" y="49728"/>
                    <a:pt x="36079" y="65603"/>
                  </a:cubicBezTo>
                  <a:cubicBezTo>
                    <a:pt x="46239" y="66239"/>
                    <a:pt x="52589" y="63698"/>
                    <a:pt x="55129" y="54808"/>
                  </a:cubicBezTo>
                  <a:cubicBezTo>
                    <a:pt x="57669" y="47823"/>
                    <a:pt x="59574" y="39568"/>
                    <a:pt x="60844" y="32583"/>
                  </a:cubicBezTo>
                  <a:cubicBezTo>
                    <a:pt x="62749" y="22423"/>
                    <a:pt x="58304" y="17978"/>
                    <a:pt x="46239" y="18614"/>
                  </a:cubicBezTo>
                  <a:close/>
                </a:path>
              </a:pathLst>
            </a:custGeom>
            <a:solidFill>
              <a:srgbClr val="FFFFFF"/>
            </a:solidFill>
            <a:ln w="6350" cap="flat">
              <a:noFill/>
              <a:prstDash val="solid"/>
              <a:miter/>
            </a:ln>
          </p:spPr>
          <p:txBody>
            <a:bodyPr rtlCol="0" anchor="ctr"/>
            <a:lstStyle/>
            <a:p>
              <a:endParaRPr lang="en-GB"/>
            </a:p>
          </p:txBody>
        </p:sp>
        <p:sp>
          <p:nvSpPr>
            <p:cNvPr id="149" name="Freeform 148">
              <a:extLst>
                <a:ext uri="{FF2B5EF4-FFF2-40B4-BE49-F238E27FC236}">
                  <a16:creationId xmlns:a16="http://schemas.microsoft.com/office/drawing/2014/main" id="{B2E92369-D6BF-4AE4-F9EE-1BBD231690F0}"/>
                </a:ext>
              </a:extLst>
            </p:cNvPr>
            <p:cNvSpPr/>
            <p:nvPr/>
          </p:nvSpPr>
          <p:spPr>
            <a:xfrm>
              <a:off x="-6184178" y="3201034"/>
              <a:ext cx="97068" cy="90523"/>
            </a:xfrm>
            <a:custGeom>
              <a:avLst/>
              <a:gdLst>
                <a:gd name="connsiteX0" fmla="*/ 11862 w 97068"/>
                <a:gd name="connsiteY0" fmla="*/ -1072 h 90523"/>
                <a:gd name="connsiteX1" fmla="*/ 11862 w 97068"/>
                <a:gd name="connsiteY1" fmla="*/ -1072 h 90523"/>
                <a:gd name="connsiteX2" fmla="*/ 46152 w 97068"/>
                <a:gd name="connsiteY2" fmla="*/ -1072 h 90523"/>
                <a:gd name="connsiteX3" fmla="*/ 42342 w 97068"/>
                <a:gd name="connsiteY3" fmla="*/ 14803 h 90523"/>
                <a:gd name="connsiteX4" fmla="*/ 33452 w 97068"/>
                <a:gd name="connsiteY4" fmla="*/ 56078 h 90523"/>
                <a:gd name="connsiteX5" fmla="*/ 37262 w 97068"/>
                <a:gd name="connsiteY5" fmla="*/ 65603 h 90523"/>
                <a:gd name="connsiteX6" fmla="*/ 46787 w 97068"/>
                <a:gd name="connsiteY6" fmla="*/ 59253 h 90523"/>
                <a:gd name="connsiteX7" fmla="*/ 51867 w 97068"/>
                <a:gd name="connsiteY7" fmla="*/ 36393 h 90523"/>
                <a:gd name="connsiteX8" fmla="*/ 58852 w 97068"/>
                <a:gd name="connsiteY8" fmla="*/ 1468 h 90523"/>
                <a:gd name="connsiteX9" fmla="*/ 61392 w 97068"/>
                <a:gd name="connsiteY9" fmla="*/ -1072 h 90523"/>
                <a:gd name="connsiteX10" fmla="*/ 94412 w 97068"/>
                <a:gd name="connsiteY10" fmla="*/ -1072 h 90523"/>
                <a:gd name="connsiteX11" fmla="*/ 89967 w 97068"/>
                <a:gd name="connsiteY11" fmla="*/ 21153 h 90523"/>
                <a:gd name="connsiteX12" fmla="*/ 81712 w 97068"/>
                <a:gd name="connsiteY12" fmla="*/ 56713 h 90523"/>
                <a:gd name="connsiteX13" fmla="*/ 45517 w 97068"/>
                <a:gd name="connsiteY13" fmla="*/ 89098 h 90523"/>
                <a:gd name="connsiteX14" fmla="*/ 15672 w 97068"/>
                <a:gd name="connsiteY14" fmla="*/ 87193 h 90523"/>
                <a:gd name="connsiteX15" fmla="*/ -2108 w 97068"/>
                <a:gd name="connsiteY15" fmla="*/ 59253 h 90523"/>
                <a:gd name="connsiteX16" fmla="*/ 10592 w 97068"/>
                <a:gd name="connsiteY16" fmla="*/ 198 h 90523"/>
                <a:gd name="connsiteX17" fmla="*/ 11862 w 97068"/>
                <a:gd name="connsiteY17" fmla="*/ -1072 h 9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068" h="90523">
                  <a:moveTo>
                    <a:pt x="11862" y="-1072"/>
                  </a:moveTo>
                  <a:lnTo>
                    <a:pt x="11862" y="-1072"/>
                  </a:lnTo>
                  <a:lnTo>
                    <a:pt x="46152" y="-1072"/>
                  </a:lnTo>
                  <a:cubicBezTo>
                    <a:pt x="45517" y="4008"/>
                    <a:pt x="43612" y="9723"/>
                    <a:pt x="42342" y="14803"/>
                  </a:cubicBezTo>
                  <a:cubicBezTo>
                    <a:pt x="39802" y="28138"/>
                    <a:pt x="35992" y="42743"/>
                    <a:pt x="33452" y="56078"/>
                  </a:cubicBezTo>
                  <a:cubicBezTo>
                    <a:pt x="32817" y="61158"/>
                    <a:pt x="33452" y="64968"/>
                    <a:pt x="37262" y="65603"/>
                  </a:cubicBezTo>
                  <a:cubicBezTo>
                    <a:pt x="41072" y="66238"/>
                    <a:pt x="45517" y="63698"/>
                    <a:pt x="46787" y="59253"/>
                  </a:cubicBezTo>
                  <a:cubicBezTo>
                    <a:pt x="48692" y="52268"/>
                    <a:pt x="50597" y="44013"/>
                    <a:pt x="51867" y="36393"/>
                  </a:cubicBezTo>
                  <a:cubicBezTo>
                    <a:pt x="53772" y="24963"/>
                    <a:pt x="56312" y="13533"/>
                    <a:pt x="58852" y="1468"/>
                  </a:cubicBezTo>
                  <a:lnTo>
                    <a:pt x="61392" y="-1072"/>
                  </a:lnTo>
                  <a:cubicBezTo>
                    <a:pt x="72187" y="-1072"/>
                    <a:pt x="82347" y="-1072"/>
                    <a:pt x="94412" y="-1072"/>
                  </a:cubicBezTo>
                  <a:cubicBezTo>
                    <a:pt x="92507" y="5913"/>
                    <a:pt x="90602" y="14168"/>
                    <a:pt x="89967" y="21153"/>
                  </a:cubicBezTo>
                  <a:cubicBezTo>
                    <a:pt x="87427" y="32583"/>
                    <a:pt x="84887" y="45283"/>
                    <a:pt x="81712" y="56713"/>
                  </a:cubicBezTo>
                  <a:cubicBezTo>
                    <a:pt x="77267" y="75128"/>
                    <a:pt x="65837" y="85923"/>
                    <a:pt x="45517" y="89098"/>
                  </a:cubicBezTo>
                  <a:cubicBezTo>
                    <a:pt x="35992" y="89733"/>
                    <a:pt x="25197" y="89733"/>
                    <a:pt x="15672" y="87193"/>
                  </a:cubicBezTo>
                  <a:cubicBezTo>
                    <a:pt x="1702" y="83383"/>
                    <a:pt x="-4648" y="73858"/>
                    <a:pt x="-2108" y="59253"/>
                  </a:cubicBezTo>
                  <a:cubicBezTo>
                    <a:pt x="1702" y="39568"/>
                    <a:pt x="6147" y="19883"/>
                    <a:pt x="10592" y="198"/>
                  </a:cubicBezTo>
                  <a:lnTo>
                    <a:pt x="11862" y="-1072"/>
                  </a:lnTo>
                  <a:close/>
                </a:path>
              </a:pathLst>
            </a:custGeom>
            <a:solidFill>
              <a:srgbClr val="FFFFFF"/>
            </a:solidFill>
            <a:ln w="6350" cap="flat">
              <a:noFill/>
              <a:prstDash val="solid"/>
              <a:miter/>
            </a:ln>
          </p:spPr>
          <p:txBody>
            <a:bodyPr rtlCol="0" anchor="ctr"/>
            <a:lstStyle/>
            <a:p>
              <a:endParaRPr lang="en-GB"/>
            </a:p>
          </p:txBody>
        </p:sp>
        <p:sp>
          <p:nvSpPr>
            <p:cNvPr id="150" name="Freeform 149">
              <a:extLst>
                <a:ext uri="{FF2B5EF4-FFF2-40B4-BE49-F238E27FC236}">
                  <a16:creationId xmlns:a16="http://schemas.microsoft.com/office/drawing/2014/main" id="{C6A3C5B4-1EDA-2746-1ABA-5DAE4B439785}"/>
                </a:ext>
              </a:extLst>
            </p:cNvPr>
            <p:cNvSpPr/>
            <p:nvPr/>
          </p:nvSpPr>
          <p:spPr>
            <a:xfrm>
              <a:off x="-6008369" y="3201034"/>
              <a:ext cx="101600" cy="90518"/>
            </a:xfrm>
            <a:custGeom>
              <a:avLst/>
              <a:gdLst>
                <a:gd name="connsiteX0" fmla="*/ 98308 w 101600"/>
                <a:gd name="connsiteY0" fmla="*/ 89098 h 90518"/>
                <a:gd name="connsiteX1" fmla="*/ 98308 w 101600"/>
                <a:gd name="connsiteY1" fmla="*/ 89098 h 90518"/>
                <a:gd name="connsiteX2" fmla="*/ 62749 w 101600"/>
                <a:gd name="connsiteY2" fmla="*/ 89098 h 90518"/>
                <a:gd name="connsiteX3" fmla="*/ 62114 w 101600"/>
                <a:gd name="connsiteY3" fmla="*/ 74493 h 90518"/>
                <a:gd name="connsiteX4" fmla="*/ 37983 w 101600"/>
                <a:gd name="connsiteY4" fmla="*/ 74493 h 90518"/>
                <a:gd name="connsiteX5" fmla="*/ 35444 w 101600"/>
                <a:gd name="connsiteY5" fmla="*/ 76398 h 90518"/>
                <a:gd name="connsiteX6" fmla="*/ 35444 w 101600"/>
                <a:gd name="connsiteY6" fmla="*/ 78303 h 90518"/>
                <a:gd name="connsiteX7" fmla="*/ 17664 w 101600"/>
                <a:gd name="connsiteY7" fmla="*/ 89098 h 90518"/>
                <a:gd name="connsiteX8" fmla="*/ -2656 w 101600"/>
                <a:gd name="connsiteY8" fmla="*/ 89098 h 90518"/>
                <a:gd name="connsiteX9" fmla="*/ -2021 w 101600"/>
                <a:gd name="connsiteY9" fmla="*/ 85288 h 90518"/>
                <a:gd name="connsiteX10" fmla="*/ 41794 w 101600"/>
                <a:gd name="connsiteY10" fmla="*/ 1468 h 90518"/>
                <a:gd name="connsiteX11" fmla="*/ 46874 w 101600"/>
                <a:gd name="connsiteY11" fmla="*/ -1072 h 90518"/>
                <a:gd name="connsiteX12" fmla="*/ 85608 w 101600"/>
                <a:gd name="connsiteY12" fmla="*/ -1072 h 90518"/>
                <a:gd name="connsiteX13" fmla="*/ 90054 w 101600"/>
                <a:gd name="connsiteY13" fmla="*/ 1468 h 90518"/>
                <a:gd name="connsiteX14" fmla="*/ 98944 w 101600"/>
                <a:gd name="connsiteY14" fmla="*/ 85923 h 90518"/>
                <a:gd name="connsiteX15" fmla="*/ 98944 w 101600"/>
                <a:gd name="connsiteY15" fmla="*/ 89098 h 90518"/>
                <a:gd name="connsiteX16" fmla="*/ 60844 w 101600"/>
                <a:gd name="connsiteY16" fmla="*/ 52268 h 90518"/>
                <a:gd name="connsiteX17" fmla="*/ 60844 w 101600"/>
                <a:gd name="connsiteY17" fmla="*/ 52268 h 90518"/>
                <a:gd name="connsiteX18" fmla="*/ 60844 w 101600"/>
                <a:gd name="connsiteY18" fmla="*/ 19248 h 90518"/>
                <a:gd name="connsiteX19" fmla="*/ 60208 w 101600"/>
                <a:gd name="connsiteY19" fmla="*/ 19248 h 90518"/>
                <a:gd name="connsiteX20" fmla="*/ 45604 w 101600"/>
                <a:gd name="connsiteY20" fmla="*/ 52268 h 90518"/>
                <a:gd name="connsiteX21" fmla="*/ 60844 w 101600"/>
                <a:gd name="connsiteY21" fmla="*/ 52268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1600" h="90518">
                  <a:moveTo>
                    <a:pt x="98308" y="89098"/>
                  </a:moveTo>
                  <a:lnTo>
                    <a:pt x="98308" y="89098"/>
                  </a:lnTo>
                  <a:lnTo>
                    <a:pt x="62749" y="89098"/>
                  </a:lnTo>
                  <a:cubicBezTo>
                    <a:pt x="62114" y="84653"/>
                    <a:pt x="62114" y="80208"/>
                    <a:pt x="62114" y="74493"/>
                  </a:cubicBezTo>
                  <a:cubicBezTo>
                    <a:pt x="53858" y="74493"/>
                    <a:pt x="46239" y="74493"/>
                    <a:pt x="37983" y="74493"/>
                  </a:cubicBezTo>
                  <a:lnTo>
                    <a:pt x="35444" y="76398"/>
                  </a:lnTo>
                  <a:lnTo>
                    <a:pt x="35444" y="78303"/>
                  </a:lnTo>
                  <a:cubicBezTo>
                    <a:pt x="32904" y="88463"/>
                    <a:pt x="27189" y="90368"/>
                    <a:pt x="17664" y="89098"/>
                  </a:cubicBezTo>
                  <a:cubicBezTo>
                    <a:pt x="11314" y="88463"/>
                    <a:pt x="4329" y="89098"/>
                    <a:pt x="-2656" y="89098"/>
                  </a:cubicBezTo>
                  <a:cubicBezTo>
                    <a:pt x="-2656" y="87193"/>
                    <a:pt x="-2021" y="86558"/>
                    <a:pt x="-2021" y="85288"/>
                  </a:cubicBezTo>
                  <a:cubicBezTo>
                    <a:pt x="13219" y="57348"/>
                    <a:pt x="27824" y="30043"/>
                    <a:pt x="41794" y="1468"/>
                  </a:cubicBezTo>
                  <a:cubicBezTo>
                    <a:pt x="43699" y="-437"/>
                    <a:pt x="44333" y="-1072"/>
                    <a:pt x="46874" y="-1072"/>
                  </a:cubicBezTo>
                  <a:cubicBezTo>
                    <a:pt x="59574" y="-1072"/>
                    <a:pt x="72908" y="-1072"/>
                    <a:pt x="85608" y="-1072"/>
                  </a:cubicBezTo>
                  <a:cubicBezTo>
                    <a:pt x="88149" y="-1072"/>
                    <a:pt x="89419" y="-1072"/>
                    <a:pt x="90054" y="1468"/>
                  </a:cubicBezTo>
                  <a:cubicBezTo>
                    <a:pt x="92594" y="29408"/>
                    <a:pt x="95133" y="57983"/>
                    <a:pt x="98944" y="85923"/>
                  </a:cubicBezTo>
                  <a:lnTo>
                    <a:pt x="98944" y="89098"/>
                  </a:lnTo>
                  <a:close/>
                  <a:moveTo>
                    <a:pt x="60844" y="52268"/>
                  </a:moveTo>
                  <a:lnTo>
                    <a:pt x="60844" y="52268"/>
                  </a:lnTo>
                  <a:lnTo>
                    <a:pt x="60844" y="19248"/>
                  </a:lnTo>
                  <a:lnTo>
                    <a:pt x="60208" y="19248"/>
                  </a:lnTo>
                  <a:cubicBezTo>
                    <a:pt x="55764" y="30043"/>
                    <a:pt x="51319" y="40203"/>
                    <a:pt x="45604" y="52268"/>
                  </a:cubicBezTo>
                  <a:lnTo>
                    <a:pt x="60844" y="52268"/>
                  </a:lnTo>
                  <a:close/>
                </a:path>
              </a:pathLst>
            </a:custGeom>
            <a:solidFill>
              <a:srgbClr val="FFFFFF"/>
            </a:solidFill>
            <a:ln w="6350" cap="flat">
              <a:noFill/>
              <a:prstDash val="solid"/>
              <a:miter/>
            </a:ln>
          </p:spPr>
          <p:txBody>
            <a:bodyPr rtlCol="0" anchor="ctr"/>
            <a:lstStyle/>
            <a:p>
              <a:endParaRPr lang="en-GB"/>
            </a:p>
          </p:txBody>
        </p:sp>
        <p:sp>
          <p:nvSpPr>
            <p:cNvPr id="151" name="Freeform 150">
              <a:extLst>
                <a:ext uri="{FF2B5EF4-FFF2-40B4-BE49-F238E27FC236}">
                  <a16:creationId xmlns:a16="http://schemas.microsoft.com/office/drawing/2014/main" id="{AD621FB0-4033-C608-2FF6-B7D3BCD23E77}"/>
                </a:ext>
              </a:extLst>
            </p:cNvPr>
            <p:cNvSpPr/>
            <p:nvPr/>
          </p:nvSpPr>
          <p:spPr>
            <a:xfrm>
              <a:off x="-6088476" y="3199102"/>
              <a:ext cx="92085" cy="91730"/>
            </a:xfrm>
            <a:custGeom>
              <a:avLst/>
              <a:gdLst>
                <a:gd name="connsiteX0" fmla="*/ 84435 w 92085"/>
                <a:gd name="connsiteY0" fmla="*/ 57376 h 91730"/>
                <a:gd name="connsiteX1" fmla="*/ 84435 w 92085"/>
                <a:gd name="connsiteY1" fmla="*/ 57376 h 91730"/>
                <a:gd name="connsiteX2" fmla="*/ 76180 w 92085"/>
                <a:gd name="connsiteY2" fmla="*/ 73886 h 91730"/>
                <a:gd name="connsiteX3" fmla="*/ 38080 w 92085"/>
                <a:gd name="connsiteY3" fmla="*/ 90395 h 91730"/>
                <a:gd name="connsiteX4" fmla="*/ 20935 w 92085"/>
                <a:gd name="connsiteY4" fmla="*/ 89761 h 91730"/>
                <a:gd name="connsiteX5" fmla="*/ -2560 w 92085"/>
                <a:gd name="connsiteY5" fmla="*/ 62456 h 91730"/>
                <a:gd name="connsiteX6" fmla="*/ 4425 w 92085"/>
                <a:gd name="connsiteY6" fmla="*/ 28166 h 91730"/>
                <a:gd name="connsiteX7" fmla="*/ 57765 w 92085"/>
                <a:gd name="connsiteY7" fmla="*/ -1044 h 91730"/>
                <a:gd name="connsiteX8" fmla="*/ 66655 w 92085"/>
                <a:gd name="connsiteY8" fmla="*/ 861 h 91730"/>
                <a:gd name="connsiteX9" fmla="*/ 88245 w 92085"/>
                <a:gd name="connsiteY9" fmla="*/ 33881 h 91730"/>
                <a:gd name="connsiteX10" fmla="*/ 73005 w 92085"/>
                <a:gd name="connsiteY10" fmla="*/ 33881 h 91730"/>
                <a:gd name="connsiteX11" fmla="*/ 56495 w 92085"/>
                <a:gd name="connsiteY11" fmla="*/ 33881 h 91730"/>
                <a:gd name="connsiteX12" fmla="*/ 56495 w 92085"/>
                <a:gd name="connsiteY12" fmla="*/ 30070 h 91730"/>
                <a:gd name="connsiteX13" fmla="*/ 45700 w 92085"/>
                <a:gd name="connsiteY13" fmla="*/ 23086 h 91730"/>
                <a:gd name="connsiteX14" fmla="*/ 39350 w 92085"/>
                <a:gd name="connsiteY14" fmla="*/ 29436 h 91730"/>
                <a:gd name="connsiteX15" fmla="*/ 33000 w 92085"/>
                <a:gd name="connsiteY15" fmla="*/ 60551 h 91730"/>
                <a:gd name="connsiteX16" fmla="*/ 37445 w 92085"/>
                <a:gd name="connsiteY16" fmla="*/ 69441 h 91730"/>
                <a:gd name="connsiteX17" fmla="*/ 47605 w 92085"/>
                <a:gd name="connsiteY17" fmla="*/ 64995 h 91730"/>
                <a:gd name="connsiteX18" fmla="*/ 47605 w 92085"/>
                <a:gd name="connsiteY18" fmla="*/ 64361 h 91730"/>
                <a:gd name="connsiteX19" fmla="*/ 59035 w 92085"/>
                <a:gd name="connsiteY19" fmla="*/ 57376 h 91730"/>
                <a:gd name="connsiteX20" fmla="*/ 81260 w 92085"/>
                <a:gd name="connsiteY20" fmla="*/ 57376 h 91730"/>
                <a:gd name="connsiteX21" fmla="*/ 84435 w 92085"/>
                <a:gd name="connsiteY21" fmla="*/ 57376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2085" h="91730">
                  <a:moveTo>
                    <a:pt x="84435" y="57376"/>
                  </a:moveTo>
                  <a:lnTo>
                    <a:pt x="84435" y="57376"/>
                  </a:lnTo>
                  <a:cubicBezTo>
                    <a:pt x="82530" y="63726"/>
                    <a:pt x="79990" y="68806"/>
                    <a:pt x="76180" y="73886"/>
                  </a:cubicBezTo>
                  <a:cubicBezTo>
                    <a:pt x="66020" y="85316"/>
                    <a:pt x="52685" y="90395"/>
                    <a:pt x="38080" y="90395"/>
                  </a:cubicBezTo>
                  <a:cubicBezTo>
                    <a:pt x="32365" y="91031"/>
                    <a:pt x="26650" y="90395"/>
                    <a:pt x="20935" y="89761"/>
                  </a:cubicBezTo>
                  <a:cubicBezTo>
                    <a:pt x="6330" y="85951"/>
                    <a:pt x="-1290" y="76426"/>
                    <a:pt x="-2560" y="62456"/>
                  </a:cubicBezTo>
                  <a:cubicBezTo>
                    <a:pt x="-3195" y="49756"/>
                    <a:pt x="-655" y="38326"/>
                    <a:pt x="4425" y="28166"/>
                  </a:cubicBezTo>
                  <a:cubicBezTo>
                    <a:pt x="13315" y="8481"/>
                    <a:pt x="34270" y="-1680"/>
                    <a:pt x="57765" y="-1044"/>
                  </a:cubicBezTo>
                  <a:cubicBezTo>
                    <a:pt x="61575" y="-409"/>
                    <a:pt x="64115" y="-409"/>
                    <a:pt x="66655" y="861"/>
                  </a:cubicBezTo>
                  <a:cubicBezTo>
                    <a:pt x="84435" y="4670"/>
                    <a:pt x="92690" y="16101"/>
                    <a:pt x="88245" y="33881"/>
                  </a:cubicBezTo>
                  <a:lnTo>
                    <a:pt x="73005" y="33881"/>
                  </a:lnTo>
                  <a:lnTo>
                    <a:pt x="56495" y="33881"/>
                  </a:lnTo>
                  <a:lnTo>
                    <a:pt x="56495" y="30070"/>
                  </a:lnTo>
                  <a:cubicBezTo>
                    <a:pt x="56495" y="23086"/>
                    <a:pt x="50780" y="19276"/>
                    <a:pt x="45700" y="23086"/>
                  </a:cubicBezTo>
                  <a:cubicBezTo>
                    <a:pt x="43160" y="24991"/>
                    <a:pt x="39985" y="27531"/>
                    <a:pt x="39350" y="29436"/>
                  </a:cubicBezTo>
                  <a:cubicBezTo>
                    <a:pt x="36810" y="40231"/>
                    <a:pt x="34905" y="50391"/>
                    <a:pt x="33000" y="60551"/>
                  </a:cubicBezTo>
                  <a:cubicBezTo>
                    <a:pt x="32365" y="64361"/>
                    <a:pt x="33000" y="67536"/>
                    <a:pt x="37445" y="69441"/>
                  </a:cubicBezTo>
                  <a:cubicBezTo>
                    <a:pt x="41255" y="70076"/>
                    <a:pt x="44430" y="68806"/>
                    <a:pt x="47605" y="64995"/>
                  </a:cubicBezTo>
                  <a:lnTo>
                    <a:pt x="47605" y="64361"/>
                  </a:lnTo>
                  <a:cubicBezTo>
                    <a:pt x="49510" y="57376"/>
                    <a:pt x="53955" y="57376"/>
                    <a:pt x="59035" y="57376"/>
                  </a:cubicBezTo>
                  <a:cubicBezTo>
                    <a:pt x="67290" y="58011"/>
                    <a:pt x="74275" y="57376"/>
                    <a:pt x="81260" y="57376"/>
                  </a:cubicBezTo>
                  <a:lnTo>
                    <a:pt x="84435" y="57376"/>
                  </a:lnTo>
                  <a:close/>
                </a:path>
              </a:pathLst>
            </a:custGeom>
            <a:solidFill>
              <a:srgbClr val="FFFFFF"/>
            </a:solidFill>
            <a:ln w="6350" cap="flat">
              <a:noFill/>
              <a:prstDash val="solid"/>
              <a:miter/>
            </a:ln>
          </p:spPr>
          <p:txBody>
            <a:bodyPr rtlCol="0" anchor="ctr"/>
            <a:lstStyle/>
            <a:p>
              <a:endParaRPr lang="en-GB"/>
            </a:p>
          </p:txBody>
        </p:sp>
        <p:sp>
          <p:nvSpPr>
            <p:cNvPr id="152" name="Freeform 151">
              <a:extLst>
                <a:ext uri="{FF2B5EF4-FFF2-40B4-BE49-F238E27FC236}">
                  <a16:creationId xmlns:a16="http://schemas.microsoft.com/office/drawing/2014/main" id="{6D7B3415-523D-7A26-7A29-3B1071CD5A47}"/>
                </a:ext>
              </a:extLst>
            </p:cNvPr>
            <p:cNvSpPr/>
            <p:nvPr/>
          </p:nvSpPr>
          <p:spPr>
            <a:xfrm>
              <a:off x="-5904865" y="3201034"/>
              <a:ext cx="82550" cy="88265"/>
            </a:xfrm>
            <a:custGeom>
              <a:avLst/>
              <a:gdLst>
                <a:gd name="connsiteX0" fmla="*/ 39889 w 82550"/>
                <a:gd name="connsiteY0" fmla="*/ 87193 h 88265"/>
                <a:gd name="connsiteX1" fmla="*/ 39889 w 82550"/>
                <a:gd name="connsiteY1" fmla="*/ 87193 h 88265"/>
                <a:gd name="connsiteX2" fmla="*/ 5599 w 82550"/>
                <a:gd name="connsiteY2" fmla="*/ 87193 h 88265"/>
                <a:gd name="connsiteX3" fmla="*/ 19569 w 82550"/>
                <a:gd name="connsiteY3" fmla="*/ 23058 h 88265"/>
                <a:gd name="connsiteX4" fmla="*/ -2656 w 82550"/>
                <a:gd name="connsiteY4" fmla="*/ 23058 h 88265"/>
                <a:gd name="connsiteX5" fmla="*/ 1789 w 82550"/>
                <a:gd name="connsiteY5" fmla="*/ 833 h 88265"/>
                <a:gd name="connsiteX6" fmla="*/ 6234 w 82550"/>
                <a:gd name="connsiteY6" fmla="*/ -1072 h 88265"/>
                <a:gd name="connsiteX7" fmla="*/ 54494 w 82550"/>
                <a:gd name="connsiteY7" fmla="*/ -1072 h 88265"/>
                <a:gd name="connsiteX8" fmla="*/ 79894 w 82550"/>
                <a:gd name="connsiteY8" fmla="*/ -1072 h 88265"/>
                <a:gd name="connsiteX9" fmla="*/ 75449 w 82550"/>
                <a:gd name="connsiteY9" fmla="*/ 21153 h 88265"/>
                <a:gd name="connsiteX10" fmla="*/ 71639 w 82550"/>
                <a:gd name="connsiteY10" fmla="*/ 21788 h 88265"/>
                <a:gd name="connsiteX11" fmla="*/ 56399 w 82550"/>
                <a:gd name="connsiteY11" fmla="*/ 21788 h 88265"/>
                <a:gd name="connsiteX12" fmla="*/ 51954 w 82550"/>
                <a:gd name="connsiteY12" fmla="*/ 25598 h 88265"/>
                <a:gd name="connsiteX13" fmla="*/ 39889 w 82550"/>
                <a:gd name="connsiteY13" fmla="*/ 83383 h 88265"/>
                <a:gd name="connsiteX14" fmla="*/ 39889 w 82550"/>
                <a:gd name="connsiteY14" fmla="*/ 87193 h 88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550" h="88265">
                  <a:moveTo>
                    <a:pt x="39889" y="87193"/>
                  </a:moveTo>
                  <a:lnTo>
                    <a:pt x="39889" y="87193"/>
                  </a:lnTo>
                  <a:lnTo>
                    <a:pt x="5599" y="87193"/>
                  </a:lnTo>
                  <a:cubicBezTo>
                    <a:pt x="10044" y="65603"/>
                    <a:pt x="14489" y="44648"/>
                    <a:pt x="19569" y="23058"/>
                  </a:cubicBezTo>
                  <a:lnTo>
                    <a:pt x="-2656" y="23058"/>
                  </a:lnTo>
                  <a:cubicBezTo>
                    <a:pt x="-751" y="14803"/>
                    <a:pt x="-116" y="7818"/>
                    <a:pt x="1789" y="833"/>
                  </a:cubicBezTo>
                  <a:cubicBezTo>
                    <a:pt x="2424" y="198"/>
                    <a:pt x="4329" y="-1072"/>
                    <a:pt x="6234" y="-1072"/>
                  </a:cubicBezTo>
                  <a:cubicBezTo>
                    <a:pt x="22109" y="-1072"/>
                    <a:pt x="37984" y="-1072"/>
                    <a:pt x="54494" y="-1072"/>
                  </a:cubicBezTo>
                  <a:lnTo>
                    <a:pt x="79894" y="-1072"/>
                  </a:lnTo>
                  <a:cubicBezTo>
                    <a:pt x="77989" y="7183"/>
                    <a:pt x="76084" y="14168"/>
                    <a:pt x="75449" y="21153"/>
                  </a:cubicBezTo>
                  <a:lnTo>
                    <a:pt x="71639" y="21788"/>
                  </a:lnTo>
                  <a:cubicBezTo>
                    <a:pt x="66559" y="21788"/>
                    <a:pt x="62114" y="22423"/>
                    <a:pt x="56399" y="21788"/>
                  </a:cubicBezTo>
                  <a:cubicBezTo>
                    <a:pt x="53859" y="21788"/>
                    <a:pt x="52589" y="22423"/>
                    <a:pt x="51954" y="25598"/>
                  </a:cubicBezTo>
                  <a:cubicBezTo>
                    <a:pt x="48144" y="45283"/>
                    <a:pt x="44334" y="63698"/>
                    <a:pt x="39889" y="83383"/>
                  </a:cubicBezTo>
                  <a:cubicBezTo>
                    <a:pt x="41159" y="84653"/>
                    <a:pt x="41159" y="85288"/>
                    <a:pt x="39889" y="87193"/>
                  </a:cubicBezTo>
                  <a:close/>
                </a:path>
              </a:pathLst>
            </a:custGeom>
            <a:solidFill>
              <a:srgbClr val="FFFFFF"/>
            </a:solidFill>
            <a:ln w="6350" cap="flat">
              <a:noFill/>
              <a:prstDash val="solid"/>
              <a:miter/>
            </a:ln>
          </p:spPr>
          <p:txBody>
            <a:bodyPr rtlCol="0" anchor="ctr"/>
            <a:lstStyle/>
            <a:p>
              <a:endParaRPr lang="en-GB"/>
            </a:p>
          </p:txBody>
        </p:sp>
        <p:sp>
          <p:nvSpPr>
            <p:cNvPr id="153" name="Freeform 152">
              <a:extLst>
                <a:ext uri="{FF2B5EF4-FFF2-40B4-BE49-F238E27FC236}">
                  <a16:creationId xmlns:a16="http://schemas.microsoft.com/office/drawing/2014/main" id="{68F6BF75-09B9-B833-CF9E-B16FFB181276}"/>
                </a:ext>
              </a:extLst>
            </p:cNvPr>
            <p:cNvSpPr/>
            <p:nvPr/>
          </p:nvSpPr>
          <p:spPr>
            <a:xfrm>
              <a:off x="-5833109" y="3200400"/>
              <a:ext cx="52704" cy="88900"/>
            </a:xfrm>
            <a:custGeom>
              <a:avLst/>
              <a:gdLst>
                <a:gd name="connsiteX0" fmla="*/ 50049 w 52704"/>
                <a:gd name="connsiteY0" fmla="*/ -437 h 88900"/>
                <a:gd name="connsiteX1" fmla="*/ 50049 w 52704"/>
                <a:gd name="connsiteY1" fmla="*/ -437 h 88900"/>
                <a:gd name="connsiteX2" fmla="*/ 31634 w 52704"/>
                <a:gd name="connsiteY2" fmla="*/ 87828 h 88900"/>
                <a:gd name="connsiteX3" fmla="*/ -2656 w 52704"/>
                <a:gd name="connsiteY3" fmla="*/ 87828 h 88900"/>
                <a:gd name="connsiteX4" fmla="*/ 3694 w 52704"/>
                <a:gd name="connsiteY4" fmla="*/ 55443 h 88900"/>
                <a:gd name="connsiteX5" fmla="*/ 15124 w 52704"/>
                <a:gd name="connsiteY5" fmla="*/ 2738 h 88900"/>
                <a:gd name="connsiteX6" fmla="*/ 17664 w 52704"/>
                <a:gd name="connsiteY6" fmla="*/ -1072 h 88900"/>
                <a:gd name="connsiteX7" fmla="*/ 50049 w 52704"/>
                <a:gd name="connsiteY7" fmla="*/ -437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04" h="88900">
                  <a:moveTo>
                    <a:pt x="50049" y="-437"/>
                  </a:moveTo>
                  <a:lnTo>
                    <a:pt x="50049" y="-437"/>
                  </a:lnTo>
                  <a:cubicBezTo>
                    <a:pt x="43699" y="28773"/>
                    <a:pt x="37984" y="58618"/>
                    <a:pt x="31634" y="87828"/>
                  </a:cubicBezTo>
                  <a:lnTo>
                    <a:pt x="-2656" y="87828"/>
                  </a:lnTo>
                  <a:cubicBezTo>
                    <a:pt x="-751" y="77033"/>
                    <a:pt x="1789" y="66238"/>
                    <a:pt x="3694" y="55443"/>
                  </a:cubicBezTo>
                  <a:cubicBezTo>
                    <a:pt x="6869" y="37663"/>
                    <a:pt x="10679" y="19883"/>
                    <a:pt x="15124" y="2738"/>
                  </a:cubicBezTo>
                  <a:cubicBezTo>
                    <a:pt x="15124" y="833"/>
                    <a:pt x="17029" y="-1072"/>
                    <a:pt x="17664" y="-1072"/>
                  </a:cubicBezTo>
                  <a:cubicBezTo>
                    <a:pt x="28459" y="-437"/>
                    <a:pt x="38619" y="-437"/>
                    <a:pt x="50049" y="-437"/>
                  </a:cubicBezTo>
                  <a:close/>
                </a:path>
              </a:pathLst>
            </a:custGeom>
            <a:solidFill>
              <a:srgbClr val="FFFFFF"/>
            </a:solidFill>
            <a:ln w="6350" cap="flat">
              <a:noFill/>
              <a:prstDash val="solid"/>
              <a:miter/>
            </a:ln>
          </p:spPr>
          <p:txBody>
            <a:bodyPr rtlCol="0" anchor="ctr"/>
            <a:lstStyle/>
            <a:p>
              <a:endParaRPr lang="en-GB"/>
            </a:p>
          </p:txBody>
        </p:sp>
      </p:grpSp>
      <p:grpSp>
        <p:nvGrpSpPr>
          <p:cNvPr id="154" name="Graphic 79">
            <a:extLst>
              <a:ext uri="{FF2B5EF4-FFF2-40B4-BE49-F238E27FC236}">
                <a16:creationId xmlns:a16="http://schemas.microsoft.com/office/drawing/2014/main" id="{44225015-C011-E7D9-C85B-688A06F09800}"/>
              </a:ext>
            </a:extLst>
          </p:cNvPr>
          <p:cNvGrpSpPr/>
          <p:nvPr userDrawn="1"/>
        </p:nvGrpSpPr>
        <p:grpSpPr>
          <a:xfrm>
            <a:off x="5765166" y="3042000"/>
            <a:ext cx="661669" cy="753109"/>
            <a:chOff x="-7950834" y="3050540"/>
            <a:chExt cx="661669" cy="753109"/>
          </a:xfrm>
        </p:grpSpPr>
        <p:sp>
          <p:nvSpPr>
            <p:cNvPr id="155" name="Freeform 154">
              <a:extLst>
                <a:ext uri="{FF2B5EF4-FFF2-40B4-BE49-F238E27FC236}">
                  <a16:creationId xmlns:a16="http://schemas.microsoft.com/office/drawing/2014/main" id="{E948BD00-1FD7-8FDB-06AF-EA71960AB8CE}"/>
                </a:ext>
              </a:extLst>
            </p:cNvPr>
            <p:cNvSpPr/>
            <p:nvPr/>
          </p:nvSpPr>
          <p:spPr>
            <a:xfrm>
              <a:off x="-7947659" y="3053715"/>
              <a:ext cx="655319" cy="746125"/>
            </a:xfrm>
            <a:custGeom>
              <a:avLst/>
              <a:gdLst>
                <a:gd name="connsiteX0" fmla="*/ -444 w 655319"/>
                <a:gd name="connsiteY0" fmla="*/ 106370 h 746125"/>
                <a:gd name="connsiteX1" fmla="*/ 33211 w 655319"/>
                <a:gd name="connsiteY1" fmla="*/ 51760 h 746125"/>
                <a:gd name="connsiteX2" fmla="*/ 327216 w 655319"/>
                <a:gd name="connsiteY2" fmla="*/ -310 h 746125"/>
                <a:gd name="connsiteX3" fmla="*/ 621221 w 655319"/>
                <a:gd name="connsiteY3" fmla="*/ 51760 h 746125"/>
                <a:gd name="connsiteX4" fmla="*/ 654876 w 655319"/>
                <a:gd name="connsiteY4" fmla="*/ 106370 h 746125"/>
                <a:gd name="connsiteX5" fmla="*/ 354521 w 655319"/>
                <a:gd name="connsiteY5" fmla="*/ 734385 h 746125"/>
                <a:gd name="connsiteX6" fmla="*/ 327851 w 655319"/>
                <a:gd name="connsiteY6" fmla="*/ 745815 h 746125"/>
                <a:gd name="connsiteX7" fmla="*/ 301181 w 655319"/>
                <a:gd name="connsiteY7" fmla="*/ 734385 h 746125"/>
                <a:gd name="connsiteX8" fmla="*/ -444 w 655319"/>
                <a:gd name="connsiteY8" fmla="*/ 106370 h 7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319" h="746125">
                  <a:moveTo>
                    <a:pt x="-444" y="106370"/>
                  </a:moveTo>
                  <a:cubicBezTo>
                    <a:pt x="-444" y="79065"/>
                    <a:pt x="12256" y="60650"/>
                    <a:pt x="33211" y="51760"/>
                  </a:cubicBezTo>
                  <a:cubicBezTo>
                    <a:pt x="131636" y="7945"/>
                    <a:pt x="246571" y="-310"/>
                    <a:pt x="327216" y="-310"/>
                  </a:cubicBezTo>
                  <a:cubicBezTo>
                    <a:pt x="407861" y="-310"/>
                    <a:pt x="522161" y="7945"/>
                    <a:pt x="621221" y="51760"/>
                  </a:cubicBezTo>
                  <a:cubicBezTo>
                    <a:pt x="642176" y="61285"/>
                    <a:pt x="654876" y="79700"/>
                    <a:pt x="654876" y="106370"/>
                  </a:cubicBezTo>
                  <a:cubicBezTo>
                    <a:pt x="654876" y="410535"/>
                    <a:pt x="538671" y="601670"/>
                    <a:pt x="354521" y="734385"/>
                  </a:cubicBezTo>
                  <a:cubicBezTo>
                    <a:pt x="345631" y="740735"/>
                    <a:pt x="336741" y="745815"/>
                    <a:pt x="327851" y="745815"/>
                  </a:cubicBezTo>
                  <a:cubicBezTo>
                    <a:pt x="318961" y="745815"/>
                    <a:pt x="309436" y="740735"/>
                    <a:pt x="301181" y="734385"/>
                  </a:cubicBezTo>
                  <a:cubicBezTo>
                    <a:pt x="116396" y="601670"/>
                    <a:pt x="-444" y="411170"/>
                    <a:pt x="-444" y="106370"/>
                  </a:cubicBezTo>
                  <a:close/>
                </a:path>
              </a:pathLst>
            </a:custGeom>
            <a:solidFill>
              <a:srgbClr val="FFFFFF"/>
            </a:solidFill>
            <a:ln w="6350" cap="flat">
              <a:noFill/>
              <a:prstDash val="solid"/>
              <a:miter/>
            </a:ln>
          </p:spPr>
          <p:txBody>
            <a:bodyPr rtlCol="0" anchor="ctr"/>
            <a:lstStyle/>
            <a:p>
              <a:endParaRPr lang="en-GB"/>
            </a:p>
          </p:txBody>
        </p:sp>
        <p:sp>
          <p:nvSpPr>
            <p:cNvPr id="156" name="Freeform 155">
              <a:extLst>
                <a:ext uri="{FF2B5EF4-FFF2-40B4-BE49-F238E27FC236}">
                  <a16:creationId xmlns:a16="http://schemas.microsoft.com/office/drawing/2014/main" id="{FF4860A6-E6DE-35CB-2FA0-076F375EBA08}"/>
                </a:ext>
              </a:extLst>
            </p:cNvPr>
            <p:cNvSpPr/>
            <p:nvPr/>
          </p:nvSpPr>
          <p:spPr>
            <a:xfrm>
              <a:off x="-7950834" y="3050540"/>
              <a:ext cx="661669" cy="753109"/>
            </a:xfrm>
            <a:custGeom>
              <a:avLst/>
              <a:gdLst>
                <a:gd name="connsiteX0" fmla="*/ 330391 w 661669"/>
                <a:gd name="connsiteY0" fmla="*/ 745815 h 753109"/>
                <a:gd name="connsiteX1" fmla="*/ 355156 w 661669"/>
                <a:gd name="connsiteY1" fmla="*/ 735020 h 753109"/>
                <a:gd name="connsiteX2" fmla="*/ 654241 w 661669"/>
                <a:gd name="connsiteY2" fmla="*/ 109545 h 753109"/>
                <a:gd name="connsiteX3" fmla="*/ 622491 w 661669"/>
                <a:gd name="connsiteY3" fmla="*/ 57475 h 753109"/>
                <a:gd name="connsiteX4" fmla="*/ 329756 w 661669"/>
                <a:gd name="connsiteY4" fmla="*/ 5405 h 753109"/>
                <a:gd name="connsiteX5" fmla="*/ 37021 w 661669"/>
                <a:gd name="connsiteY5" fmla="*/ 57475 h 753109"/>
                <a:gd name="connsiteX6" fmla="*/ 5271 w 661669"/>
                <a:gd name="connsiteY6" fmla="*/ 109545 h 753109"/>
                <a:gd name="connsiteX7" fmla="*/ 304356 w 661669"/>
                <a:gd name="connsiteY7" fmla="*/ 735020 h 753109"/>
                <a:gd name="connsiteX8" fmla="*/ 330391 w 661669"/>
                <a:gd name="connsiteY8" fmla="*/ 745815 h 753109"/>
                <a:gd name="connsiteX9" fmla="*/ 301816 w 661669"/>
                <a:gd name="connsiteY9" fmla="*/ 740735 h 753109"/>
                <a:gd name="connsiteX10" fmla="*/ -444 w 661669"/>
                <a:gd name="connsiteY10" fmla="*/ 109545 h 753109"/>
                <a:gd name="connsiteX11" fmla="*/ 35116 w 661669"/>
                <a:gd name="connsiteY11" fmla="*/ 51760 h 753109"/>
                <a:gd name="connsiteX12" fmla="*/ 330391 w 661669"/>
                <a:gd name="connsiteY12" fmla="*/ -310 h 753109"/>
                <a:gd name="connsiteX13" fmla="*/ 625666 w 661669"/>
                <a:gd name="connsiteY13" fmla="*/ 51760 h 753109"/>
                <a:gd name="connsiteX14" fmla="*/ 661226 w 661669"/>
                <a:gd name="connsiteY14" fmla="*/ 109545 h 753109"/>
                <a:gd name="connsiteX15" fmla="*/ 358966 w 661669"/>
                <a:gd name="connsiteY15" fmla="*/ 740735 h 753109"/>
                <a:gd name="connsiteX16" fmla="*/ 330391 w 661669"/>
                <a:gd name="connsiteY16" fmla="*/ 752800 h 753109"/>
                <a:gd name="connsiteX17" fmla="*/ 301816 w 661669"/>
                <a:gd name="connsiteY17" fmla="*/ 740735 h 753109"/>
                <a:gd name="connsiteX18" fmla="*/ 301816 w 661669"/>
                <a:gd name="connsiteY18" fmla="*/ 740735 h 753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1669" h="753109">
                  <a:moveTo>
                    <a:pt x="330391" y="745815"/>
                  </a:moveTo>
                  <a:cubicBezTo>
                    <a:pt x="338011" y="745815"/>
                    <a:pt x="346901" y="741370"/>
                    <a:pt x="355156" y="735020"/>
                  </a:cubicBezTo>
                  <a:cubicBezTo>
                    <a:pt x="538671" y="602305"/>
                    <a:pt x="654241" y="413075"/>
                    <a:pt x="654241" y="109545"/>
                  </a:cubicBezTo>
                  <a:cubicBezTo>
                    <a:pt x="654241" y="83510"/>
                    <a:pt x="642176" y="66365"/>
                    <a:pt x="622491" y="57475"/>
                  </a:cubicBezTo>
                  <a:cubicBezTo>
                    <a:pt x="524701" y="14295"/>
                    <a:pt x="410401" y="5405"/>
                    <a:pt x="329756" y="5405"/>
                  </a:cubicBezTo>
                  <a:cubicBezTo>
                    <a:pt x="249111" y="5405"/>
                    <a:pt x="134811" y="13660"/>
                    <a:pt x="37021" y="57475"/>
                  </a:cubicBezTo>
                  <a:cubicBezTo>
                    <a:pt x="17336" y="66365"/>
                    <a:pt x="5271" y="83510"/>
                    <a:pt x="5271" y="109545"/>
                  </a:cubicBezTo>
                  <a:cubicBezTo>
                    <a:pt x="5271" y="413075"/>
                    <a:pt x="121476" y="602305"/>
                    <a:pt x="304356" y="735020"/>
                  </a:cubicBezTo>
                  <a:cubicBezTo>
                    <a:pt x="313881" y="741370"/>
                    <a:pt x="322771" y="745815"/>
                    <a:pt x="330391" y="745815"/>
                  </a:cubicBezTo>
                  <a:close/>
                  <a:moveTo>
                    <a:pt x="301816" y="740735"/>
                  </a:moveTo>
                  <a:cubicBezTo>
                    <a:pt x="117031" y="606750"/>
                    <a:pt x="-444" y="415615"/>
                    <a:pt x="-444" y="109545"/>
                  </a:cubicBezTo>
                  <a:cubicBezTo>
                    <a:pt x="-444" y="80970"/>
                    <a:pt x="12891" y="61285"/>
                    <a:pt x="35116" y="51760"/>
                  </a:cubicBezTo>
                  <a:cubicBezTo>
                    <a:pt x="134176" y="7945"/>
                    <a:pt x="249746" y="-310"/>
                    <a:pt x="330391" y="-310"/>
                  </a:cubicBezTo>
                  <a:cubicBezTo>
                    <a:pt x="411036" y="-310"/>
                    <a:pt x="526606" y="7945"/>
                    <a:pt x="625666" y="51760"/>
                  </a:cubicBezTo>
                  <a:cubicBezTo>
                    <a:pt x="647891" y="61285"/>
                    <a:pt x="661226" y="80970"/>
                    <a:pt x="661226" y="109545"/>
                  </a:cubicBezTo>
                  <a:cubicBezTo>
                    <a:pt x="661226" y="414980"/>
                    <a:pt x="544386" y="606750"/>
                    <a:pt x="358966" y="740735"/>
                  </a:cubicBezTo>
                  <a:cubicBezTo>
                    <a:pt x="350076" y="747085"/>
                    <a:pt x="339916" y="752800"/>
                    <a:pt x="330391" y="752800"/>
                  </a:cubicBezTo>
                  <a:cubicBezTo>
                    <a:pt x="320866" y="752800"/>
                    <a:pt x="310071" y="747085"/>
                    <a:pt x="301816" y="740735"/>
                  </a:cubicBezTo>
                  <a:lnTo>
                    <a:pt x="301816" y="740735"/>
                  </a:lnTo>
                  <a:close/>
                </a:path>
              </a:pathLst>
            </a:custGeom>
            <a:solidFill>
              <a:srgbClr val="002733"/>
            </a:solidFill>
            <a:ln w="6350" cap="flat">
              <a:noFill/>
              <a:prstDash val="solid"/>
              <a:miter/>
            </a:ln>
          </p:spPr>
          <p:txBody>
            <a:bodyPr rtlCol="0" anchor="ctr"/>
            <a:lstStyle/>
            <a:p>
              <a:endParaRPr lang="en-GB"/>
            </a:p>
          </p:txBody>
        </p:sp>
        <p:sp>
          <p:nvSpPr>
            <p:cNvPr id="157" name="Freeform 156">
              <a:extLst>
                <a:ext uri="{FF2B5EF4-FFF2-40B4-BE49-F238E27FC236}">
                  <a16:creationId xmlns:a16="http://schemas.microsoft.com/office/drawing/2014/main" id="{5B13498A-4799-F6BD-666B-D002F3DECBAF}"/>
                </a:ext>
              </a:extLst>
            </p:cNvPr>
            <p:cNvSpPr/>
            <p:nvPr/>
          </p:nvSpPr>
          <p:spPr>
            <a:xfrm>
              <a:off x="-7925434" y="3075940"/>
              <a:ext cx="610869" cy="702944"/>
            </a:xfrm>
            <a:custGeom>
              <a:avLst/>
              <a:gdLst>
                <a:gd name="connsiteX0" fmla="*/ 291021 w 610869"/>
                <a:gd name="connsiteY0" fmla="*/ 695015 h 702944"/>
                <a:gd name="connsiteX1" fmla="*/ -444 w 610869"/>
                <a:gd name="connsiteY1" fmla="*/ 84780 h 702944"/>
                <a:gd name="connsiteX2" fmla="*/ 19876 w 610869"/>
                <a:gd name="connsiteY2" fmla="*/ 49855 h 702944"/>
                <a:gd name="connsiteX3" fmla="*/ 304991 w 610869"/>
                <a:gd name="connsiteY3" fmla="*/ -310 h 702944"/>
                <a:gd name="connsiteX4" fmla="*/ 590106 w 610869"/>
                <a:gd name="connsiteY4" fmla="*/ 49855 h 702944"/>
                <a:gd name="connsiteX5" fmla="*/ 610426 w 610869"/>
                <a:gd name="connsiteY5" fmla="*/ 84780 h 702944"/>
                <a:gd name="connsiteX6" fmla="*/ 318961 w 610869"/>
                <a:gd name="connsiteY6" fmla="*/ 695015 h 702944"/>
                <a:gd name="connsiteX7" fmla="*/ 304991 w 610869"/>
                <a:gd name="connsiteY7" fmla="*/ 702635 h 702944"/>
                <a:gd name="connsiteX8" fmla="*/ 291021 w 610869"/>
                <a:gd name="connsiteY8" fmla="*/ 695015 h 702944"/>
                <a:gd name="connsiteX9" fmla="*/ 291021 w 610869"/>
                <a:gd name="connsiteY9" fmla="*/ 695015 h 70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869" h="702944">
                  <a:moveTo>
                    <a:pt x="291021" y="695015"/>
                  </a:moveTo>
                  <a:cubicBezTo>
                    <a:pt x="112586" y="566110"/>
                    <a:pt x="-444" y="381960"/>
                    <a:pt x="-444" y="84780"/>
                  </a:cubicBezTo>
                  <a:cubicBezTo>
                    <a:pt x="-444" y="65730"/>
                    <a:pt x="7176" y="55570"/>
                    <a:pt x="19876" y="49855"/>
                  </a:cubicBezTo>
                  <a:cubicBezTo>
                    <a:pt x="114491" y="7945"/>
                    <a:pt x="225616" y="-310"/>
                    <a:pt x="304991" y="-310"/>
                  </a:cubicBezTo>
                  <a:cubicBezTo>
                    <a:pt x="385001" y="-310"/>
                    <a:pt x="495491" y="7945"/>
                    <a:pt x="590106" y="49855"/>
                  </a:cubicBezTo>
                  <a:cubicBezTo>
                    <a:pt x="602806" y="55570"/>
                    <a:pt x="610426" y="65730"/>
                    <a:pt x="610426" y="84780"/>
                  </a:cubicBezTo>
                  <a:cubicBezTo>
                    <a:pt x="610426" y="381960"/>
                    <a:pt x="497396" y="566110"/>
                    <a:pt x="318961" y="695015"/>
                  </a:cubicBezTo>
                  <a:cubicBezTo>
                    <a:pt x="310706" y="700730"/>
                    <a:pt x="306261" y="702635"/>
                    <a:pt x="304991" y="702635"/>
                  </a:cubicBezTo>
                  <a:cubicBezTo>
                    <a:pt x="303721" y="702000"/>
                    <a:pt x="299276" y="700730"/>
                    <a:pt x="291021" y="695015"/>
                  </a:cubicBezTo>
                  <a:lnTo>
                    <a:pt x="291021" y="695015"/>
                  </a:lnTo>
                  <a:close/>
                </a:path>
              </a:pathLst>
            </a:custGeom>
            <a:solidFill>
              <a:srgbClr val="002733"/>
            </a:solidFill>
            <a:ln w="6350" cap="flat">
              <a:noFill/>
              <a:prstDash val="solid"/>
              <a:miter/>
            </a:ln>
          </p:spPr>
          <p:txBody>
            <a:bodyPr rtlCol="0" anchor="ctr"/>
            <a:lstStyle/>
            <a:p>
              <a:endParaRPr lang="en-GB"/>
            </a:p>
          </p:txBody>
        </p:sp>
        <p:sp>
          <p:nvSpPr>
            <p:cNvPr id="158" name="Freeform 157">
              <a:extLst>
                <a:ext uri="{FF2B5EF4-FFF2-40B4-BE49-F238E27FC236}">
                  <a16:creationId xmlns:a16="http://schemas.microsoft.com/office/drawing/2014/main" id="{BE7F049B-A45B-6B8E-CC04-534425279669}"/>
                </a:ext>
              </a:extLst>
            </p:cNvPr>
            <p:cNvSpPr/>
            <p:nvPr/>
          </p:nvSpPr>
          <p:spPr>
            <a:xfrm>
              <a:off x="-7784277" y="3196368"/>
              <a:ext cx="358841" cy="419048"/>
            </a:xfrm>
            <a:custGeom>
              <a:avLst/>
              <a:gdLst>
                <a:gd name="connsiteX0" fmla="*/ 128908 w 358841"/>
                <a:gd name="connsiteY0" fmla="*/ 323127 h 419048"/>
                <a:gd name="connsiteX1" fmla="*/ 124463 w 358841"/>
                <a:gd name="connsiteY1" fmla="*/ 321856 h 419048"/>
                <a:gd name="connsiteX2" fmla="*/ 120018 w 358841"/>
                <a:gd name="connsiteY2" fmla="*/ 328842 h 419048"/>
                <a:gd name="connsiteX3" fmla="*/ 117478 w 358841"/>
                <a:gd name="connsiteY3" fmla="*/ 335192 h 419048"/>
                <a:gd name="connsiteX4" fmla="*/ 128908 w 358841"/>
                <a:gd name="connsiteY4" fmla="*/ 323127 h 419048"/>
                <a:gd name="connsiteX5" fmla="*/ 128908 w 358841"/>
                <a:gd name="connsiteY5" fmla="*/ 323127 h 419048"/>
                <a:gd name="connsiteX6" fmla="*/ 59058 w 358841"/>
                <a:gd name="connsiteY6" fmla="*/ 332652 h 419048"/>
                <a:gd name="connsiteX7" fmla="*/ 56518 w 358841"/>
                <a:gd name="connsiteY7" fmla="*/ 327572 h 419048"/>
                <a:gd name="connsiteX8" fmla="*/ 50803 w 358841"/>
                <a:gd name="connsiteY8" fmla="*/ 339002 h 419048"/>
                <a:gd name="connsiteX9" fmla="*/ 46993 w 358841"/>
                <a:gd name="connsiteY9" fmla="*/ 350431 h 419048"/>
                <a:gd name="connsiteX10" fmla="*/ 47628 w 358841"/>
                <a:gd name="connsiteY10" fmla="*/ 350431 h 419048"/>
                <a:gd name="connsiteX11" fmla="*/ 59058 w 358841"/>
                <a:gd name="connsiteY11" fmla="*/ 332652 h 419048"/>
                <a:gd name="connsiteX12" fmla="*/ 59058 w 358841"/>
                <a:gd name="connsiteY12" fmla="*/ 332652 h 419048"/>
                <a:gd name="connsiteX13" fmla="*/ 125098 w 358841"/>
                <a:gd name="connsiteY13" fmla="*/ 168822 h 419048"/>
                <a:gd name="connsiteX14" fmla="*/ 122558 w 358841"/>
                <a:gd name="connsiteY14" fmla="*/ 162472 h 419048"/>
                <a:gd name="connsiteX15" fmla="*/ 118748 w 358841"/>
                <a:gd name="connsiteY15" fmla="*/ 173267 h 419048"/>
                <a:gd name="connsiteX16" fmla="*/ 111128 w 358841"/>
                <a:gd name="connsiteY16" fmla="*/ 188506 h 419048"/>
                <a:gd name="connsiteX17" fmla="*/ 119383 w 358841"/>
                <a:gd name="connsiteY17" fmla="*/ 196762 h 419048"/>
                <a:gd name="connsiteX18" fmla="*/ 142243 w 358841"/>
                <a:gd name="connsiteY18" fmla="*/ 194856 h 419048"/>
                <a:gd name="connsiteX19" fmla="*/ 142243 w 358841"/>
                <a:gd name="connsiteY19" fmla="*/ 194222 h 419048"/>
                <a:gd name="connsiteX20" fmla="*/ 125098 w 358841"/>
                <a:gd name="connsiteY20" fmla="*/ 168822 h 419048"/>
                <a:gd name="connsiteX21" fmla="*/ 125098 w 358841"/>
                <a:gd name="connsiteY21" fmla="*/ 168822 h 419048"/>
                <a:gd name="connsiteX22" fmla="*/ 199393 w 358841"/>
                <a:gd name="connsiteY22" fmla="*/ 141517 h 419048"/>
                <a:gd name="connsiteX23" fmla="*/ 201298 w 358841"/>
                <a:gd name="connsiteY23" fmla="*/ 144056 h 419048"/>
                <a:gd name="connsiteX24" fmla="*/ 213998 w 358841"/>
                <a:gd name="connsiteY24" fmla="*/ 154217 h 419048"/>
                <a:gd name="connsiteX25" fmla="*/ 224158 w 358841"/>
                <a:gd name="connsiteY25" fmla="*/ 152312 h 419048"/>
                <a:gd name="connsiteX26" fmla="*/ 195583 w 358841"/>
                <a:gd name="connsiteY26" fmla="*/ 126276 h 419048"/>
                <a:gd name="connsiteX27" fmla="*/ 188598 w 358841"/>
                <a:gd name="connsiteY27" fmla="*/ 126276 h 419048"/>
                <a:gd name="connsiteX28" fmla="*/ 182248 w 358841"/>
                <a:gd name="connsiteY28" fmla="*/ 138977 h 419048"/>
                <a:gd name="connsiteX29" fmla="*/ 199393 w 358841"/>
                <a:gd name="connsiteY29" fmla="*/ 141517 h 419048"/>
                <a:gd name="connsiteX30" fmla="*/ 199393 w 358841"/>
                <a:gd name="connsiteY30" fmla="*/ 141517 h 419048"/>
                <a:gd name="connsiteX31" fmla="*/ 201933 w 358841"/>
                <a:gd name="connsiteY31" fmla="*/ 88812 h 419048"/>
                <a:gd name="connsiteX32" fmla="*/ 206378 w 358841"/>
                <a:gd name="connsiteY32" fmla="*/ 87542 h 419048"/>
                <a:gd name="connsiteX33" fmla="*/ 198758 w 358841"/>
                <a:gd name="connsiteY33" fmla="*/ 78651 h 419048"/>
                <a:gd name="connsiteX34" fmla="*/ 194948 w 358841"/>
                <a:gd name="connsiteY34" fmla="*/ 79922 h 419048"/>
                <a:gd name="connsiteX35" fmla="*/ 201933 w 358841"/>
                <a:gd name="connsiteY35" fmla="*/ 88812 h 419048"/>
                <a:gd name="connsiteX36" fmla="*/ 193678 w 358841"/>
                <a:gd name="connsiteY36" fmla="*/ 20231 h 419048"/>
                <a:gd name="connsiteX37" fmla="*/ 181613 w 358841"/>
                <a:gd name="connsiteY37" fmla="*/ 15151 h 419048"/>
                <a:gd name="connsiteX38" fmla="*/ 179708 w 358841"/>
                <a:gd name="connsiteY38" fmla="*/ 18962 h 419048"/>
                <a:gd name="connsiteX39" fmla="*/ 193678 w 358841"/>
                <a:gd name="connsiteY39" fmla="*/ 20231 h 419048"/>
                <a:gd name="connsiteX40" fmla="*/ 193678 w 358841"/>
                <a:gd name="connsiteY40" fmla="*/ 20231 h 419048"/>
                <a:gd name="connsiteX41" fmla="*/ 222253 w 358841"/>
                <a:gd name="connsiteY41" fmla="*/ 277406 h 419048"/>
                <a:gd name="connsiteX42" fmla="*/ 218443 w 358841"/>
                <a:gd name="connsiteY42" fmla="*/ 280581 h 419048"/>
                <a:gd name="connsiteX43" fmla="*/ 211458 w 358841"/>
                <a:gd name="connsiteY43" fmla="*/ 275502 h 419048"/>
                <a:gd name="connsiteX44" fmla="*/ 211458 w 358841"/>
                <a:gd name="connsiteY44" fmla="*/ 265342 h 419048"/>
                <a:gd name="connsiteX45" fmla="*/ 212728 w 358841"/>
                <a:gd name="connsiteY45" fmla="*/ 264706 h 419048"/>
                <a:gd name="connsiteX46" fmla="*/ 222253 w 358841"/>
                <a:gd name="connsiteY46" fmla="*/ 277406 h 419048"/>
                <a:gd name="connsiteX47" fmla="*/ 222253 w 358841"/>
                <a:gd name="connsiteY47" fmla="*/ 277406 h 419048"/>
                <a:gd name="connsiteX48" fmla="*/ 289563 w 358841"/>
                <a:gd name="connsiteY48" fmla="*/ 241847 h 419048"/>
                <a:gd name="connsiteX49" fmla="*/ 303533 w 358841"/>
                <a:gd name="connsiteY49" fmla="*/ 252006 h 419048"/>
                <a:gd name="connsiteX50" fmla="*/ 309883 w 358841"/>
                <a:gd name="connsiteY50" fmla="*/ 286297 h 419048"/>
                <a:gd name="connsiteX51" fmla="*/ 305438 w 358841"/>
                <a:gd name="connsiteY51" fmla="*/ 318681 h 419048"/>
                <a:gd name="connsiteX52" fmla="*/ 307978 w 358841"/>
                <a:gd name="connsiteY52" fmla="*/ 342177 h 419048"/>
                <a:gd name="connsiteX53" fmla="*/ 310518 w 358841"/>
                <a:gd name="connsiteY53" fmla="*/ 363131 h 419048"/>
                <a:gd name="connsiteX54" fmla="*/ 302263 w 358841"/>
                <a:gd name="connsiteY54" fmla="*/ 369481 h 419048"/>
                <a:gd name="connsiteX55" fmla="*/ 299088 w 358841"/>
                <a:gd name="connsiteY55" fmla="*/ 361862 h 419048"/>
                <a:gd name="connsiteX56" fmla="*/ 296548 w 358841"/>
                <a:gd name="connsiteY56" fmla="*/ 369481 h 419048"/>
                <a:gd name="connsiteX57" fmla="*/ 283848 w 358841"/>
                <a:gd name="connsiteY57" fmla="*/ 359322 h 419048"/>
                <a:gd name="connsiteX58" fmla="*/ 288293 w 358841"/>
                <a:gd name="connsiteY58" fmla="*/ 337731 h 419048"/>
                <a:gd name="connsiteX59" fmla="*/ 289563 w 358841"/>
                <a:gd name="connsiteY59" fmla="*/ 311062 h 419048"/>
                <a:gd name="connsiteX60" fmla="*/ 272418 w 358841"/>
                <a:gd name="connsiteY60" fmla="*/ 281852 h 419048"/>
                <a:gd name="connsiteX61" fmla="*/ 264798 w 358841"/>
                <a:gd name="connsiteY61" fmla="*/ 286931 h 419048"/>
                <a:gd name="connsiteX62" fmla="*/ 258448 w 358841"/>
                <a:gd name="connsiteY62" fmla="*/ 292012 h 419048"/>
                <a:gd name="connsiteX63" fmla="*/ 250828 w 358841"/>
                <a:gd name="connsiteY63" fmla="*/ 300902 h 419048"/>
                <a:gd name="connsiteX64" fmla="*/ 243843 w 358841"/>
                <a:gd name="connsiteY64" fmla="*/ 319952 h 419048"/>
                <a:gd name="connsiteX65" fmla="*/ 244478 w 358841"/>
                <a:gd name="connsiteY65" fmla="*/ 330112 h 419048"/>
                <a:gd name="connsiteX66" fmla="*/ 242573 w 358841"/>
                <a:gd name="connsiteY66" fmla="*/ 335827 h 419048"/>
                <a:gd name="connsiteX67" fmla="*/ 237493 w 358841"/>
                <a:gd name="connsiteY67" fmla="*/ 340906 h 419048"/>
                <a:gd name="connsiteX68" fmla="*/ 232413 w 358841"/>
                <a:gd name="connsiteY68" fmla="*/ 347892 h 419048"/>
                <a:gd name="connsiteX69" fmla="*/ 202568 w 358841"/>
                <a:gd name="connsiteY69" fmla="*/ 349162 h 419048"/>
                <a:gd name="connsiteX70" fmla="*/ 190503 w 358841"/>
                <a:gd name="connsiteY70" fmla="*/ 345987 h 419048"/>
                <a:gd name="connsiteX71" fmla="*/ 183518 w 358841"/>
                <a:gd name="connsiteY71" fmla="*/ 330112 h 419048"/>
                <a:gd name="connsiteX72" fmla="*/ 180978 w 358841"/>
                <a:gd name="connsiteY72" fmla="*/ 321856 h 419048"/>
                <a:gd name="connsiteX73" fmla="*/ 177803 w 358841"/>
                <a:gd name="connsiteY73" fmla="*/ 316777 h 419048"/>
                <a:gd name="connsiteX74" fmla="*/ 173993 w 358841"/>
                <a:gd name="connsiteY74" fmla="*/ 315506 h 419048"/>
                <a:gd name="connsiteX75" fmla="*/ 170183 w 358841"/>
                <a:gd name="connsiteY75" fmla="*/ 322492 h 419048"/>
                <a:gd name="connsiteX76" fmla="*/ 170183 w 358841"/>
                <a:gd name="connsiteY76" fmla="*/ 328206 h 419048"/>
                <a:gd name="connsiteX77" fmla="*/ 167643 w 358841"/>
                <a:gd name="connsiteY77" fmla="*/ 341542 h 419048"/>
                <a:gd name="connsiteX78" fmla="*/ 163833 w 358841"/>
                <a:gd name="connsiteY78" fmla="*/ 344081 h 419048"/>
                <a:gd name="connsiteX79" fmla="*/ 160658 w 358841"/>
                <a:gd name="connsiteY79" fmla="*/ 359322 h 419048"/>
                <a:gd name="connsiteX80" fmla="*/ 139703 w 358841"/>
                <a:gd name="connsiteY80" fmla="*/ 367577 h 419048"/>
                <a:gd name="connsiteX81" fmla="*/ 135893 w 358841"/>
                <a:gd name="connsiteY81" fmla="*/ 367577 h 419048"/>
                <a:gd name="connsiteX82" fmla="*/ 133988 w 358841"/>
                <a:gd name="connsiteY82" fmla="*/ 359956 h 419048"/>
                <a:gd name="connsiteX83" fmla="*/ 125098 w 358841"/>
                <a:gd name="connsiteY83" fmla="*/ 362497 h 419048"/>
                <a:gd name="connsiteX84" fmla="*/ 127003 w 358841"/>
                <a:gd name="connsiteY84" fmla="*/ 356781 h 419048"/>
                <a:gd name="connsiteX85" fmla="*/ 139703 w 358841"/>
                <a:gd name="connsiteY85" fmla="*/ 339002 h 419048"/>
                <a:gd name="connsiteX86" fmla="*/ 145418 w 358841"/>
                <a:gd name="connsiteY86" fmla="*/ 330112 h 419048"/>
                <a:gd name="connsiteX87" fmla="*/ 149863 w 358841"/>
                <a:gd name="connsiteY87" fmla="*/ 323127 h 419048"/>
                <a:gd name="connsiteX88" fmla="*/ 151133 w 358841"/>
                <a:gd name="connsiteY88" fmla="*/ 313602 h 419048"/>
                <a:gd name="connsiteX89" fmla="*/ 135258 w 358841"/>
                <a:gd name="connsiteY89" fmla="*/ 325031 h 419048"/>
                <a:gd name="connsiteX90" fmla="*/ 122558 w 358841"/>
                <a:gd name="connsiteY90" fmla="*/ 341542 h 419048"/>
                <a:gd name="connsiteX91" fmla="*/ 103508 w 358841"/>
                <a:gd name="connsiteY91" fmla="*/ 373292 h 419048"/>
                <a:gd name="connsiteX92" fmla="*/ 99698 w 358841"/>
                <a:gd name="connsiteY92" fmla="*/ 375831 h 419048"/>
                <a:gd name="connsiteX93" fmla="*/ 96523 w 358841"/>
                <a:gd name="connsiteY93" fmla="*/ 385992 h 419048"/>
                <a:gd name="connsiteX94" fmla="*/ 72393 w 358841"/>
                <a:gd name="connsiteY94" fmla="*/ 392977 h 419048"/>
                <a:gd name="connsiteX95" fmla="*/ 71758 w 358841"/>
                <a:gd name="connsiteY95" fmla="*/ 384722 h 419048"/>
                <a:gd name="connsiteX96" fmla="*/ 64138 w 358841"/>
                <a:gd name="connsiteY96" fmla="*/ 389167 h 419048"/>
                <a:gd name="connsiteX97" fmla="*/ 64138 w 358841"/>
                <a:gd name="connsiteY97" fmla="*/ 365037 h 419048"/>
                <a:gd name="connsiteX98" fmla="*/ 77473 w 358841"/>
                <a:gd name="connsiteY98" fmla="*/ 353606 h 419048"/>
                <a:gd name="connsiteX99" fmla="*/ 97793 w 358841"/>
                <a:gd name="connsiteY99" fmla="*/ 339637 h 419048"/>
                <a:gd name="connsiteX100" fmla="*/ 100968 w 358841"/>
                <a:gd name="connsiteY100" fmla="*/ 326937 h 419048"/>
                <a:gd name="connsiteX101" fmla="*/ 106683 w 358841"/>
                <a:gd name="connsiteY101" fmla="*/ 315506 h 419048"/>
                <a:gd name="connsiteX102" fmla="*/ 100968 w 358841"/>
                <a:gd name="connsiteY102" fmla="*/ 313602 h 419048"/>
                <a:gd name="connsiteX103" fmla="*/ 94618 w 358841"/>
                <a:gd name="connsiteY103" fmla="*/ 279947 h 419048"/>
                <a:gd name="connsiteX104" fmla="*/ 78743 w 358841"/>
                <a:gd name="connsiteY104" fmla="*/ 302172 h 419048"/>
                <a:gd name="connsiteX105" fmla="*/ 66043 w 358841"/>
                <a:gd name="connsiteY105" fmla="*/ 325667 h 419048"/>
                <a:gd name="connsiteX106" fmla="*/ 48898 w 358841"/>
                <a:gd name="connsiteY106" fmla="*/ 361227 h 419048"/>
                <a:gd name="connsiteX107" fmla="*/ 38738 w 358841"/>
                <a:gd name="connsiteY107" fmla="*/ 395517 h 419048"/>
                <a:gd name="connsiteX108" fmla="*/ 33658 w 358841"/>
                <a:gd name="connsiteY108" fmla="*/ 412662 h 419048"/>
                <a:gd name="connsiteX109" fmla="*/ 8258 w 358841"/>
                <a:gd name="connsiteY109" fmla="*/ 417742 h 419048"/>
                <a:gd name="connsiteX110" fmla="*/ 11433 w 358841"/>
                <a:gd name="connsiteY110" fmla="*/ 406312 h 419048"/>
                <a:gd name="connsiteX111" fmla="*/ 638 w 358841"/>
                <a:gd name="connsiteY111" fmla="*/ 414567 h 419048"/>
                <a:gd name="connsiteX112" fmla="*/ 10163 w 358841"/>
                <a:gd name="connsiteY112" fmla="*/ 390437 h 419048"/>
                <a:gd name="connsiteX113" fmla="*/ 12068 w 358841"/>
                <a:gd name="connsiteY113" fmla="*/ 386627 h 419048"/>
                <a:gd name="connsiteX114" fmla="*/ 31753 w 358841"/>
                <a:gd name="connsiteY114" fmla="*/ 355512 h 419048"/>
                <a:gd name="connsiteX115" fmla="*/ 41278 w 358841"/>
                <a:gd name="connsiteY115" fmla="*/ 322492 h 419048"/>
                <a:gd name="connsiteX116" fmla="*/ 43183 w 358841"/>
                <a:gd name="connsiteY116" fmla="*/ 288837 h 419048"/>
                <a:gd name="connsiteX117" fmla="*/ 55248 w 358841"/>
                <a:gd name="connsiteY117" fmla="*/ 237402 h 419048"/>
                <a:gd name="connsiteX118" fmla="*/ 64773 w 358841"/>
                <a:gd name="connsiteY118" fmla="*/ 200572 h 419048"/>
                <a:gd name="connsiteX119" fmla="*/ 87633 w 358841"/>
                <a:gd name="connsiteY119" fmla="*/ 152947 h 419048"/>
                <a:gd name="connsiteX120" fmla="*/ 112398 w 358841"/>
                <a:gd name="connsiteY120" fmla="*/ 107226 h 419048"/>
                <a:gd name="connsiteX121" fmla="*/ 137163 w 358841"/>
                <a:gd name="connsiteY121" fmla="*/ 93892 h 419048"/>
                <a:gd name="connsiteX122" fmla="*/ 170818 w 358841"/>
                <a:gd name="connsiteY122" fmla="*/ 67856 h 419048"/>
                <a:gd name="connsiteX123" fmla="*/ 191138 w 358841"/>
                <a:gd name="connsiteY123" fmla="*/ 63412 h 419048"/>
                <a:gd name="connsiteX124" fmla="*/ 233048 w 358841"/>
                <a:gd name="connsiteY124" fmla="*/ 78017 h 419048"/>
                <a:gd name="connsiteX125" fmla="*/ 254003 w 358841"/>
                <a:gd name="connsiteY125" fmla="*/ 82462 h 419048"/>
                <a:gd name="connsiteX126" fmla="*/ 235588 w 358841"/>
                <a:gd name="connsiteY126" fmla="*/ 45631 h 419048"/>
                <a:gd name="connsiteX127" fmla="*/ 177168 w 358841"/>
                <a:gd name="connsiteY127" fmla="*/ 44997 h 419048"/>
                <a:gd name="connsiteX128" fmla="*/ 125098 w 358841"/>
                <a:gd name="connsiteY128" fmla="*/ 15787 h 419048"/>
                <a:gd name="connsiteX129" fmla="*/ 232413 w 358841"/>
                <a:gd name="connsiteY129" fmla="*/ 14517 h 419048"/>
                <a:gd name="connsiteX130" fmla="*/ 201933 w 358841"/>
                <a:gd name="connsiteY130" fmla="*/ 13247 h 419048"/>
                <a:gd name="connsiteX131" fmla="*/ 190503 w 358841"/>
                <a:gd name="connsiteY131" fmla="*/ 13881 h 419048"/>
                <a:gd name="connsiteX132" fmla="*/ 204473 w 358841"/>
                <a:gd name="connsiteY132" fmla="*/ 18326 h 419048"/>
                <a:gd name="connsiteX133" fmla="*/ 208918 w 358841"/>
                <a:gd name="connsiteY133" fmla="*/ 23406 h 419048"/>
                <a:gd name="connsiteX134" fmla="*/ 146053 w 358841"/>
                <a:gd name="connsiteY134" fmla="*/ 10706 h 419048"/>
                <a:gd name="connsiteX135" fmla="*/ 137163 w 358841"/>
                <a:gd name="connsiteY135" fmla="*/ 30392 h 419048"/>
                <a:gd name="connsiteX136" fmla="*/ 249558 w 358841"/>
                <a:gd name="connsiteY136" fmla="*/ 37376 h 419048"/>
                <a:gd name="connsiteX137" fmla="*/ 280673 w 358841"/>
                <a:gd name="connsiteY137" fmla="*/ 60872 h 419048"/>
                <a:gd name="connsiteX138" fmla="*/ 276228 w 358841"/>
                <a:gd name="connsiteY138" fmla="*/ 88176 h 419048"/>
                <a:gd name="connsiteX139" fmla="*/ 291468 w 358841"/>
                <a:gd name="connsiteY139" fmla="*/ 117387 h 419048"/>
                <a:gd name="connsiteX140" fmla="*/ 307978 w 358841"/>
                <a:gd name="connsiteY140" fmla="*/ 156122 h 419048"/>
                <a:gd name="connsiteX141" fmla="*/ 304803 w 358841"/>
                <a:gd name="connsiteY141" fmla="*/ 185331 h 419048"/>
                <a:gd name="connsiteX142" fmla="*/ 306708 w 358841"/>
                <a:gd name="connsiteY142" fmla="*/ 215812 h 419048"/>
                <a:gd name="connsiteX143" fmla="*/ 297183 w 358841"/>
                <a:gd name="connsiteY143" fmla="*/ 214542 h 419048"/>
                <a:gd name="connsiteX144" fmla="*/ 298453 w 358841"/>
                <a:gd name="connsiteY144" fmla="*/ 201206 h 419048"/>
                <a:gd name="connsiteX145" fmla="*/ 294008 w 358841"/>
                <a:gd name="connsiteY145" fmla="*/ 180887 h 419048"/>
                <a:gd name="connsiteX146" fmla="*/ 299088 w 358841"/>
                <a:gd name="connsiteY146" fmla="*/ 149137 h 419048"/>
                <a:gd name="connsiteX147" fmla="*/ 290833 w 358841"/>
                <a:gd name="connsiteY147" fmla="*/ 128817 h 419048"/>
                <a:gd name="connsiteX148" fmla="*/ 284483 w 358841"/>
                <a:gd name="connsiteY148" fmla="*/ 117387 h 419048"/>
                <a:gd name="connsiteX149" fmla="*/ 274323 w 358841"/>
                <a:gd name="connsiteY149" fmla="*/ 98337 h 419048"/>
                <a:gd name="connsiteX150" fmla="*/ 266703 w 358841"/>
                <a:gd name="connsiteY150" fmla="*/ 91351 h 419048"/>
                <a:gd name="connsiteX151" fmla="*/ 256543 w 358841"/>
                <a:gd name="connsiteY151" fmla="*/ 93256 h 419048"/>
                <a:gd name="connsiteX152" fmla="*/ 247018 w 358841"/>
                <a:gd name="connsiteY152" fmla="*/ 96431 h 419048"/>
                <a:gd name="connsiteX153" fmla="*/ 247018 w 358841"/>
                <a:gd name="connsiteY153" fmla="*/ 102781 h 419048"/>
                <a:gd name="connsiteX154" fmla="*/ 255908 w 358841"/>
                <a:gd name="connsiteY154" fmla="*/ 111037 h 419048"/>
                <a:gd name="connsiteX155" fmla="*/ 254638 w 358841"/>
                <a:gd name="connsiteY155" fmla="*/ 134531 h 419048"/>
                <a:gd name="connsiteX156" fmla="*/ 238763 w 358841"/>
                <a:gd name="connsiteY156" fmla="*/ 125642 h 419048"/>
                <a:gd name="connsiteX157" fmla="*/ 215903 w 358841"/>
                <a:gd name="connsiteY157" fmla="*/ 93256 h 419048"/>
                <a:gd name="connsiteX158" fmla="*/ 203838 w 358841"/>
                <a:gd name="connsiteY158" fmla="*/ 89447 h 419048"/>
                <a:gd name="connsiteX159" fmla="*/ 203838 w 358841"/>
                <a:gd name="connsiteY159" fmla="*/ 91987 h 419048"/>
                <a:gd name="connsiteX160" fmla="*/ 226698 w 358841"/>
                <a:gd name="connsiteY160" fmla="*/ 131356 h 419048"/>
                <a:gd name="connsiteX161" fmla="*/ 243843 w 358841"/>
                <a:gd name="connsiteY161" fmla="*/ 172631 h 419048"/>
                <a:gd name="connsiteX162" fmla="*/ 243843 w 358841"/>
                <a:gd name="connsiteY162" fmla="*/ 180887 h 419048"/>
                <a:gd name="connsiteX163" fmla="*/ 238128 w 358841"/>
                <a:gd name="connsiteY163" fmla="*/ 170727 h 419048"/>
                <a:gd name="connsiteX164" fmla="*/ 234953 w 358841"/>
                <a:gd name="connsiteY164" fmla="*/ 162472 h 419048"/>
                <a:gd name="connsiteX165" fmla="*/ 216538 w 358841"/>
                <a:gd name="connsiteY165" fmla="*/ 164377 h 419048"/>
                <a:gd name="connsiteX166" fmla="*/ 207013 w 358841"/>
                <a:gd name="connsiteY166" fmla="*/ 166917 h 419048"/>
                <a:gd name="connsiteX167" fmla="*/ 210188 w 358841"/>
                <a:gd name="connsiteY167" fmla="*/ 172631 h 419048"/>
                <a:gd name="connsiteX168" fmla="*/ 228603 w 358841"/>
                <a:gd name="connsiteY168" fmla="*/ 180252 h 419048"/>
                <a:gd name="connsiteX169" fmla="*/ 227333 w 358841"/>
                <a:gd name="connsiteY169" fmla="*/ 182156 h 419048"/>
                <a:gd name="connsiteX170" fmla="*/ 220348 w 358841"/>
                <a:gd name="connsiteY170" fmla="*/ 177712 h 419048"/>
                <a:gd name="connsiteX171" fmla="*/ 212093 w 358841"/>
                <a:gd name="connsiteY171" fmla="*/ 181522 h 419048"/>
                <a:gd name="connsiteX172" fmla="*/ 214633 w 358841"/>
                <a:gd name="connsiteY172" fmla="*/ 186602 h 419048"/>
                <a:gd name="connsiteX173" fmla="*/ 237493 w 358841"/>
                <a:gd name="connsiteY173" fmla="*/ 196762 h 419048"/>
                <a:gd name="connsiteX174" fmla="*/ 242573 w 358841"/>
                <a:gd name="connsiteY174" fmla="*/ 201206 h 419048"/>
                <a:gd name="connsiteX175" fmla="*/ 250828 w 358841"/>
                <a:gd name="connsiteY175" fmla="*/ 201206 h 419048"/>
                <a:gd name="connsiteX176" fmla="*/ 295278 w 358841"/>
                <a:gd name="connsiteY176" fmla="*/ 218987 h 419048"/>
                <a:gd name="connsiteX177" fmla="*/ 332743 w 358841"/>
                <a:gd name="connsiteY177" fmla="*/ 242481 h 419048"/>
                <a:gd name="connsiteX178" fmla="*/ 352428 w 358841"/>
                <a:gd name="connsiteY178" fmla="*/ 243117 h 419048"/>
                <a:gd name="connsiteX179" fmla="*/ 353698 w 358841"/>
                <a:gd name="connsiteY179" fmla="*/ 247562 h 419048"/>
                <a:gd name="connsiteX180" fmla="*/ 287023 w 358841"/>
                <a:gd name="connsiteY180" fmla="*/ 232322 h 419048"/>
                <a:gd name="connsiteX181" fmla="*/ 286388 w 358841"/>
                <a:gd name="connsiteY181" fmla="*/ 217081 h 419048"/>
                <a:gd name="connsiteX182" fmla="*/ 277498 w 358841"/>
                <a:gd name="connsiteY182" fmla="*/ 212637 h 419048"/>
                <a:gd name="connsiteX183" fmla="*/ 267973 w 358841"/>
                <a:gd name="connsiteY183" fmla="*/ 212002 h 419048"/>
                <a:gd name="connsiteX184" fmla="*/ 260353 w 358841"/>
                <a:gd name="connsiteY184" fmla="*/ 207556 h 419048"/>
                <a:gd name="connsiteX185" fmla="*/ 255908 w 358841"/>
                <a:gd name="connsiteY185" fmla="*/ 208192 h 419048"/>
                <a:gd name="connsiteX186" fmla="*/ 254003 w 358841"/>
                <a:gd name="connsiteY186" fmla="*/ 212002 h 419048"/>
                <a:gd name="connsiteX187" fmla="*/ 254638 w 358841"/>
                <a:gd name="connsiteY187" fmla="*/ 217081 h 419048"/>
                <a:gd name="connsiteX188" fmla="*/ 262258 w 358841"/>
                <a:gd name="connsiteY188" fmla="*/ 220256 h 419048"/>
                <a:gd name="connsiteX189" fmla="*/ 262893 w 358841"/>
                <a:gd name="connsiteY189" fmla="*/ 222797 h 419048"/>
                <a:gd name="connsiteX190" fmla="*/ 247653 w 358841"/>
                <a:gd name="connsiteY190" fmla="*/ 220892 h 419048"/>
                <a:gd name="connsiteX191" fmla="*/ 247653 w 358841"/>
                <a:gd name="connsiteY191" fmla="*/ 211367 h 419048"/>
                <a:gd name="connsiteX192" fmla="*/ 237493 w 358841"/>
                <a:gd name="connsiteY192" fmla="*/ 204381 h 419048"/>
                <a:gd name="connsiteX193" fmla="*/ 236858 w 358841"/>
                <a:gd name="connsiteY193" fmla="*/ 207556 h 419048"/>
                <a:gd name="connsiteX194" fmla="*/ 235588 w 358841"/>
                <a:gd name="connsiteY194" fmla="*/ 219622 h 419048"/>
                <a:gd name="connsiteX195" fmla="*/ 234953 w 358841"/>
                <a:gd name="connsiteY195" fmla="*/ 235497 h 419048"/>
                <a:gd name="connsiteX196" fmla="*/ 267338 w 358841"/>
                <a:gd name="connsiteY196" fmla="*/ 235497 h 419048"/>
                <a:gd name="connsiteX197" fmla="*/ 266703 w 358841"/>
                <a:gd name="connsiteY197" fmla="*/ 239306 h 419048"/>
                <a:gd name="connsiteX198" fmla="*/ 255273 w 358841"/>
                <a:gd name="connsiteY198" fmla="*/ 245656 h 419048"/>
                <a:gd name="connsiteX199" fmla="*/ 245748 w 358841"/>
                <a:gd name="connsiteY199" fmla="*/ 247562 h 419048"/>
                <a:gd name="connsiteX200" fmla="*/ 201933 w 358841"/>
                <a:gd name="connsiteY200" fmla="*/ 224067 h 419048"/>
                <a:gd name="connsiteX201" fmla="*/ 227333 w 358841"/>
                <a:gd name="connsiteY201" fmla="*/ 201206 h 419048"/>
                <a:gd name="connsiteX202" fmla="*/ 228603 w 358841"/>
                <a:gd name="connsiteY202" fmla="*/ 201206 h 419048"/>
                <a:gd name="connsiteX203" fmla="*/ 227333 w 358841"/>
                <a:gd name="connsiteY203" fmla="*/ 195492 h 419048"/>
                <a:gd name="connsiteX204" fmla="*/ 212728 w 358841"/>
                <a:gd name="connsiteY204" fmla="*/ 192317 h 419048"/>
                <a:gd name="connsiteX205" fmla="*/ 200663 w 358841"/>
                <a:gd name="connsiteY205" fmla="*/ 199302 h 419048"/>
                <a:gd name="connsiteX206" fmla="*/ 196218 w 358841"/>
                <a:gd name="connsiteY206" fmla="*/ 196762 h 419048"/>
                <a:gd name="connsiteX207" fmla="*/ 177803 w 358841"/>
                <a:gd name="connsiteY207" fmla="*/ 194856 h 419048"/>
                <a:gd name="connsiteX208" fmla="*/ 177803 w 358841"/>
                <a:gd name="connsiteY208" fmla="*/ 204381 h 419048"/>
                <a:gd name="connsiteX209" fmla="*/ 187963 w 358841"/>
                <a:gd name="connsiteY209" fmla="*/ 220892 h 419048"/>
                <a:gd name="connsiteX210" fmla="*/ 194948 w 358841"/>
                <a:gd name="connsiteY210" fmla="*/ 226606 h 419048"/>
                <a:gd name="connsiteX211" fmla="*/ 199393 w 358841"/>
                <a:gd name="connsiteY211" fmla="*/ 239942 h 419048"/>
                <a:gd name="connsiteX212" fmla="*/ 193043 w 358841"/>
                <a:gd name="connsiteY212" fmla="*/ 252006 h 419048"/>
                <a:gd name="connsiteX213" fmla="*/ 182248 w 358841"/>
                <a:gd name="connsiteY213" fmla="*/ 272962 h 419048"/>
                <a:gd name="connsiteX214" fmla="*/ 179708 w 358841"/>
                <a:gd name="connsiteY214" fmla="*/ 283756 h 419048"/>
                <a:gd name="connsiteX215" fmla="*/ 181613 w 358841"/>
                <a:gd name="connsiteY215" fmla="*/ 295187 h 419048"/>
                <a:gd name="connsiteX216" fmla="*/ 201298 w 358841"/>
                <a:gd name="connsiteY216" fmla="*/ 278042 h 419048"/>
                <a:gd name="connsiteX217" fmla="*/ 196853 w 358841"/>
                <a:gd name="connsiteY217" fmla="*/ 295187 h 419048"/>
                <a:gd name="connsiteX218" fmla="*/ 194313 w 358841"/>
                <a:gd name="connsiteY218" fmla="*/ 303442 h 419048"/>
                <a:gd name="connsiteX219" fmla="*/ 190503 w 358841"/>
                <a:gd name="connsiteY219" fmla="*/ 315506 h 419048"/>
                <a:gd name="connsiteX220" fmla="*/ 189233 w 358841"/>
                <a:gd name="connsiteY220" fmla="*/ 326302 h 419048"/>
                <a:gd name="connsiteX221" fmla="*/ 191138 w 358841"/>
                <a:gd name="connsiteY221" fmla="*/ 332652 h 419048"/>
                <a:gd name="connsiteX222" fmla="*/ 195583 w 358841"/>
                <a:gd name="connsiteY222" fmla="*/ 331381 h 419048"/>
                <a:gd name="connsiteX223" fmla="*/ 197488 w 358841"/>
                <a:gd name="connsiteY223" fmla="*/ 325667 h 419048"/>
                <a:gd name="connsiteX224" fmla="*/ 204473 w 358841"/>
                <a:gd name="connsiteY224" fmla="*/ 328206 h 419048"/>
                <a:gd name="connsiteX225" fmla="*/ 203838 w 358841"/>
                <a:gd name="connsiteY225" fmla="*/ 332652 h 419048"/>
                <a:gd name="connsiteX226" fmla="*/ 200028 w 358841"/>
                <a:gd name="connsiteY226" fmla="*/ 335827 h 419048"/>
                <a:gd name="connsiteX227" fmla="*/ 205108 w 358841"/>
                <a:gd name="connsiteY227" fmla="*/ 340272 h 419048"/>
                <a:gd name="connsiteX228" fmla="*/ 218443 w 358841"/>
                <a:gd name="connsiteY228" fmla="*/ 339637 h 419048"/>
                <a:gd name="connsiteX229" fmla="*/ 227968 w 358841"/>
                <a:gd name="connsiteY229" fmla="*/ 338367 h 419048"/>
                <a:gd name="connsiteX230" fmla="*/ 231778 w 358841"/>
                <a:gd name="connsiteY230" fmla="*/ 333287 h 419048"/>
                <a:gd name="connsiteX231" fmla="*/ 234953 w 358841"/>
                <a:gd name="connsiteY231" fmla="*/ 330112 h 419048"/>
                <a:gd name="connsiteX232" fmla="*/ 236223 w 358841"/>
                <a:gd name="connsiteY232" fmla="*/ 322492 h 419048"/>
                <a:gd name="connsiteX233" fmla="*/ 236858 w 358841"/>
                <a:gd name="connsiteY233" fmla="*/ 313602 h 419048"/>
                <a:gd name="connsiteX234" fmla="*/ 239398 w 358841"/>
                <a:gd name="connsiteY234" fmla="*/ 304712 h 419048"/>
                <a:gd name="connsiteX235" fmla="*/ 243843 w 358841"/>
                <a:gd name="connsiteY235" fmla="*/ 295822 h 419048"/>
                <a:gd name="connsiteX236" fmla="*/ 249558 w 358841"/>
                <a:gd name="connsiteY236" fmla="*/ 288202 h 419048"/>
                <a:gd name="connsiteX237" fmla="*/ 256543 w 358841"/>
                <a:gd name="connsiteY237" fmla="*/ 281217 h 419048"/>
                <a:gd name="connsiteX238" fmla="*/ 262258 w 358841"/>
                <a:gd name="connsiteY238" fmla="*/ 276772 h 419048"/>
                <a:gd name="connsiteX239" fmla="*/ 269243 w 358841"/>
                <a:gd name="connsiteY239" fmla="*/ 272327 h 419048"/>
                <a:gd name="connsiteX240" fmla="*/ 278133 w 358841"/>
                <a:gd name="connsiteY240" fmla="*/ 267881 h 419048"/>
                <a:gd name="connsiteX241" fmla="*/ 289563 w 358841"/>
                <a:gd name="connsiteY241" fmla="*/ 241847 h 419048"/>
                <a:gd name="connsiteX242" fmla="*/ 289563 w 358841"/>
                <a:gd name="connsiteY242" fmla="*/ 241847 h 419048"/>
                <a:gd name="connsiteX243" fmla="*/ 288928 w 358841"/>
                <a:gd name="connsiteY243" fmla="*/ 267247 h 419048"/>
                <a:gd name="connsiteX244" fmla="*/ 283213 w 358841"/>
                <a:gd name="connsiteY244" fmla="*/ 278042 h 419048"/>
                <a:gd name="connsiteX245" fmla="*/ 294008 w 358841"/>
                <a:gd name="connsiteY245" fmla="*/ 295822 h 419048"/>
                <a:gd name="connsiteX246" fmla="*/ 299723 w 358841"/>
                <a:gd name="connsiteY246" fmla="*/ 293917 h 419048"/>
                <a:gd name="connsiteX247" fmla="*/ 300993 w 358841"/>
                <a:gd name="connsiteY247" fmla="*/ 282487 h 419048"/>
                <a:gd name="connsiteX248" fmla="*/ 299723 w 358841"/>
                <a:gd name="connsiteY248" fmla="*/ 268517 h 419048"/>
                <a:gd name="connsiteX249" fmla="*/ 294643 w 358841"/>
                <a:gd name="connsiteY249" fmla="*/ 259627 h 419048"/>
                <a:gd name="connsiteX250" fmla="*/ 288928 w 358841"/>
                <a:gd name="connsiteY250" fmla="*/ 267247 h 419048"/>
                <a:gd name="connsiteX251" fmla="*/ 179073 w 358841"/>
                <a:gd name="connsiteY251" fmla="*/ 220892 h 419048"/>
                <a:gd name="connsiteX252" fmla="*/ 171453 w 358841"/>
                <a:gd name="connsiteY252" fmla="*/ 202477 h 419048"/>
                <a:gd name="connsiteX253" fmla="*/ 161293 w 358841"/>
                <a:gd name="connsiteY253" fmla="*/ 196127 h 419048"/>
                <a:gd name="connsiteX254" fmla="*/ 151133 w 358841"/>
                <a:gd name="connsiteY254" fmla="*/ 201206 h 419048"/>
                <a:gd name="connsiteX255" fmla="*/ 144148 w 358841"/>
                <a:gd name="connsiteY255" fmla="*/ 210097 h 419048"/>
                <a:gd name="connsiteX256" fmla="*/ 129543 w 358841"/>
                <a:gd name="connsiteY256" fmla="*/ 215177 h 419048"/>
                <a:gd name="connsiteX257" fmla="*/ 111763 w 358841"/>
                <a:gd name="connsiteY257" fmla="*/ 208192 h 419048"/>
                <a:gd name="connsiteX258" fmla="*/ 102238 w 358841"/>
                <a:gd name="connsiteY258" fmla="*/ 218987 h 419048"/>
                <a:gd name="connsiteX259" fmla="*/ 90173 w 358841"/>
                <a:gd name="connsiteY259" fmla="*/ 224067 h 419048"/>
                <a:gd name="connsiteX260" fmla="*/ 79378 w 358841"/>
                <a:gd name="connsiteY260" fmla="*/ 220256 h 419048"/>
                <a:gd name="connsiteX261" fmla="*/ 69853 w 358841"/>
                <a:gd name="connsiteY261" fmla="*/ 247562 h 419048"/>
                <a:gd name="connsiteX262" fmla="*/ 59058 w 358841"/>
                <a:gd name="connsiteY262" fmla="*/ 276137 h 419048"/>
                <a:gd name="connsiteX263" fmla="*/ 57153 w 358841"/>
                <a:gd name="connsiteY263" fmla="*/ 283756 h 419048"/>
                <a:gd name="connsiteX264" fmla="*/ 58423 w 358841"/>
                <a:gd name="connsiteY264" fmla="*/ 304077 h 419048"/>
                <a:gd name="connsiteX265" fmla="*/ 78743 w 358841"/>
                <a:gd name="connsiteY265" fmla="*/ 285662 h 419048"/>
                <a:gd name="connsiteX266" fmla="*/ 89538 w 358841"/>
                <a:gd name="connsiteY266" fmla="*/ 270422 h 419048"/>
                <a:gd name="connsiteX267" fmla="*/ 100333 w 358841"/>
                <a:gd name="connsiteY267" fmla="*/ 266612 h 419048"/>
                <a:gd name="connsiteX268" fmla="*/ 116208 w 358841"/>
                <a:gd name="connsiteY268" fmla="*/ 268517 h 419048"/>
                <a:gd name="connsiteX269" fmla="*/ 129543 w 358841"/>
                <a:gd name="connsiteY269" fmla="*/ 271692 h 419048"/>
                <a:gd name="connsiteX270" fmla="*/ 130178 w 358841"/>
                <a:gd name="connsiteY270" fmla="*/ 274867 h 419048"/>
                <a:gd name="connsiteX271" fmla="*/ 121288 w 358841"/>
                <a:gd name="connsiteY271" fmla="*/ 276772 h 419048"/>
                <a:gd name="connsiteX272" fmla="*/ 115573 w 358841"/>
                <a:gd name="connsiteY272" fmla="*/ 281217 h 419048"/>
                <a:gd name="connsiteX273" fmla="*/ 111763 w 358841"/>
                <a:gd name="connsiteY273" fmla="*/ 292647 h 419048"/>
                <a:gd name="connsiteX274" fmla="*/ 112398 w 358841"/>
                <a:gd name="connsiteY274" fmla="*/ 305347 h 419048"/>
                <a:gd name="connsiteX275" fmla="*/ 124463 w 358841"/>
                <a:gd name="connsiteY275" fmla="*/ 308522 h 419048"/>
                <a:gd name="connsiteX276" fmla="*/ 148593 w 358841"/>
                <a:gd name="connsiteY276" fmla="*/ 306617 h 419048"/>
                <a:gd name="connsiteX277" fmla="*/ 161928 w 358841"/>
                <a:gd name="connsiteY277" fmla="*/ 306617 h 419048"/>
                <a:gd name="connsiteX278" fmla="*/ 173993 w 358841"/>
                <a:gd name="connsiteY278" fmla="*/ 302172 h 419048"/>
                <a:gd name="connsiteX279" fmla="*/ 167643 w 358841"/>
                <a:gd name="connsiteY279" fmla="*/ 287567 h 419048"/>
                <a:gd name="connsiteX280" fmla="*/ 158118 w 358841"/>
                <a:gd name="connsiteY280" fmla="*/ 269787 h 419048"/>
                <a:gd name="connsiteX281" fmla="*/ 158118 w 358841"/>
                <a:gd name="connsiteY281" fmla="*/ 258356 h 419048"/>
                <a:gd name="connsiteX282" fmla="*/ 168278 w 358841"/>
                <a:gd name="connsiteY282" fmla="*/ 244387 h 419048"/>
                <a:gd name="connsiteX283" fmla="*/ 179073 w 358841"/>
                <a:gd name="connsiteY283" fmla="*/ 220892 h 419048"/>
                <a:gd name="connsiteX284" fmla="*/ 179073 w 358841"/>
                <a:gd name="connsiteY284" fmla="*/ 220892 h 419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358841" h="419048">
                  <a:moveTo>
                    <a:pt x="128908" y="323127"/>
                  </a:moveTo>
                  <a:cubicBezTo>
                    <a:pt x="127638" y="321222"/>
                    <a:pt x="127003" y="320587"/>
                    <a:pt x="124463" y="321856"/>
                  </a:cubicBezTo>
                  <a:cubicBezTo>
                    <a:pt x="122558" y="324397"/>
                    <a:pt x="120653" y="326302"/>
                    <a:pt x="120018" y="328842"/>
                  </a:cubicBezTo>
                  <a:cubicBezTo>
                    <a:pt x="118748" y="331381"/>
                    <a:pt x="116208" y="332652"/>
                    <a:pt x="117478" y="335192"/>
                  </a:cubicBezTo>
                  <a:cubicBezTo>
                    <a:pt x="128273" y="335192"/>
                    <a:pt x="127003" y="328842"/>
                    <a:pt x="128908" y="323127"/>
                  </a:cubicBezTo>
                  <a:lnTo>
                    <a:pt x="128908" y="323127"/>
                  </a:lnTo>
                  <a:close/>
                  <a:moveTo>
                    <a:pt x="59058" y="332652"/>
                  </a:moveTo>
                  <a:cubicBezTo>
                    <a:pt x="59058" y="330747"/>
                    <a:pt x="56518" y="327572"/>
                    <a:pt x="56518" y="327572"/>
                  </a:cubicBezTo>
                  <a:cubicBezTo>
                    <a:pt x="53343" y="329477"/>
                    <a:pt x="52708" y="334556"/>
                    <a:pt x="50803" y="339002"/>
                  </a:cubicBezTo>
                  <a:cubicBezTo>
                    <a:pt x="48898" y="342812"/>
                    <a:pt x="46993" y="345987"/>
                    <a:pt x="46993" y="350431"/>
                  </a:cubicBezTo>
                  <a:lnTo>
                    <a:pt x="47628" y="350431"/>
                  </a:lnTo>
                  <a:cubicBezTo>
                    <a:pt x="52708" y="346622"/>
                    <a:pt x="59693" y="342177"/>
                    <a:pt x="59058" y="332652"/>
                  </a:cubicBezTo>
                  <a:lnTo>
                    <a:pt x="59058" y="332652"/>
                  </a:lnTo>
                  <a:close/>
                  <a:moveTo>
                    <a:pt x="125098" y="168822"/>
                  </a:moveTo>
                  <a:cubicBezTo>
                    <a:pt x="123828" y="166281"/>
                    <a:pt x="126368" y="162472"/>
                    <a:pt x="122558" y="162472"/>
                  </a:cubicBezTo>
                  <a:cubicBezTo>
                    <a:pt x="118113" y="164377"/>
                    <a:pt x="120018" y="169456"/>
                    <a:pt x="118748" y="173267"/>
                  </a:cubicBezTo>
                  <a:cubicBezTo>
                    <a:pt x="114938" y="177712"/>
                    <a:pt x="109858" y="181522"/>
                    <a:pt x="111128" y="188506"/>
                  </a:cubicBezTo>
                  <a:cubicBezTo>
                    <a:pt x="111763" y="192952"/>
                    <a:pt x="115573" y="195492"/>
                    <a:pt x="119383" y="196762"/>
                  </a:cubicBezTo>
                  <a:cubicBezTo>
                    <a:pt x="127003" y="198031"/>
                    <a:pt x="134623" y="197397"/>
                    <a:pt x="142243" y="194856"/>
                  </a:cubicBezTo>
                  <a:lnTo>
                    <a:pt x="142243" y="194222"/>
                  </a:lnTo>
                  <a:cubicBezTo>
                    <a:pt x="135258" y="187237"/>
                    <a:pt x="126368" y="179617"/>
                    <a:pt x="125098" y="168822"/>
                  </a:cubicBezTo>
                  <a:lnTo>
                    <a:pt x="125098" y="168822"/>
                  </a:lnTo>
                  <a:close/>
                  <a:moveTo>
                    <a:pt x="199393" y="141517"/>
                  </a:moveTo>
                  <a:cubicBezTo>
                    <a:pt x="200028" y="142152"/>
                    <a:pt x="200663" y="143422"/>
                    <a:pt x="201298" y="144056"/>
                  </a:cubicBezTo>
                  <a:cubicBezTo>
                    <a:pt x="201298" y="151042"/>
                    <a:pt x="209553" y="149137"/>
                    <a:pt x="213998" y="154217"/>
                  </a:cubicBezTo>
                  <a:cubicBezTo>
                    <a:pt x="217808" y="156122"/>
                    <a:pt x="220348" y="152312"/>
                    <a:pt x="224158" y="152312"/>
                  </a:cubicBezTo>
                  <a:cubicBezTo>
                    <a:pt x="227333" y="117387"/>
                    <a:pt x="187963" y="111037"/>
                    <a:pt x="195583" y="126276"/>
                  </a:cubicBezTo>
                  <a:cubicBezTo>
                    <a:pt x="196853" y="130722"/>
                    <a:pt x="191138" y="125642"/>
                    <a:pt x="188598" y="126276"/>
                  </a:cubicBezTo>
                  <a:cubicBezTo>
                    <a:pt x="178438" y="128181"/>
                    <a:pt x="177803" y="136437"/>
                    <a:pt x="182248" y="138977"/>
                  </a:cubicBezTo>
                  <a:cubicBezTo>
                    <a:pt x="191773" y="144692"/>
                    <a:pt x="194313" y="135802"/>
                    <a:pt x="199393" y="141517"/>
                  </a:cubicBezTo>
                  <a:lnTo>
                    <a:pt x="199393" y="141517"/>
                  </a:lnTo>
                  <a:close/>
                  <a:moveTo>
                    <a:pt x="201933" y="88812"/>
                  </a:moveTo>
                  <a:cubicBezTo>
                    <a:pt x="204473" y="89447"/>
                    <a:pt x="203838" y="86906"/>
                    <a:pt x="206378" y="87542"/>
                  </a:cubicBezTo>
                  <a:cubicBezTo>
                    <a:pt x="207013" y="86272"/>
                    <a:pt x="203203" y="79922"/>
                    <a:pt x="198758" y="78651"/>
                  </a:cubicBezTo>
                  <a:cubicBezTo>
                    <a:pt x="197488" y="78651"/>
                    <a:pt x="195583" y="78017"/>
                    <a:pt x="194948" y="79922"/>
                  </a:cubicBezTo>
                  <a:cubicBezTo>
                    <a:pt x="198123" y="82462"/>
                    <a:pt x="200663" y="89447"/>
                    <a:pt x="201933" y="88812"/>
                  </a:cubicBezTo>
                  <a:close/>
                  <a:moveTo>
                    <a:pt x="193678" y="20231"/>
                  </a:moveTo>
                  <a:cubicBezTo>
                    <a:pt x="189868" y="17692"/>
                    <a:pt x="184788" y="15151"/>
                    <a:pt x="181613" y="15151"/>
                  </a:cubicBezTo>
                  <a:cubicBezTo>
                    <a:pt x="180343" y="15787"/>
                    <a:pt x="179073" y="17692"/>
                    <a:pt x="179708" y="18962"/>
                  </a:cubicBezTo>
                  <a:cubicBezTo>
                    <a:pt x="183518" y="22137"/>
                    <a:pt x="190503" y="21501"/>
                    <a:pt x="193678" y="20231"/>
                  </a:cubicBezTo>
                  <a:lnTo>
                    <a:pt x="193678" y="20231"/>
                  </a:lnTo>
                  <a:close/>
                  <a:moveTo>
                    <a:pt x="222253" y="277406"/>
                  </a:moveTo>
                  <a:cubicBezTo>
                    <a:pt x="222253" y="279312"/>
                    <a:pt x="220348" y="280581"/>
                    <a:pt x="218443" y="280581"/>
                  </a:cubicBezTo>
                  <a:cubicBezTo>
                    <a:pt x="215268" y="281217"/>
                    <a:pt x="212728" y="278042"/>
                    <a:pt x="211458" y="275502"/>
                  </a:cubicBezTo>
                  <a:cubicBezTo>
                    <a:pt x="209553" y="272327"/>
                    <a:pt x="210188" y="268517"/>
                    <a:pt x="211458" y="265342"/>
                  </a:cubicBezTo>
                  <a:lnTo>
                    <a:pt x="212728" y="264706"/>
                  </a:lnTo>
                  <a:cubicBezTo>
                    <a:pt x="214633" y="269152"/>
                    <a:pt x="216538" y="275502"/>
                    <a:pt x="222253" y="277406"/>
                  </a:cubicBezTo>
                  <a:lnTo>
                    <a:pt x="222253" y="277406"/>
                  </a:lnTo>
                  <a:close/>
                  <a:moveTo>
                    <a:pt x="289563" y="241847"/>
                  </a:moveTo>
                  <a:cubicBezTo>
                    <a:pt x="292103" y="243752"/>
                    <a:pt x="302263" y="250102"/>
                    <a:pt x="303533" y="252006"/>
                  </a:cubicBezTo>
                  <a:cubicBezTo>
                    <a:pt x="304803" y="261531"/>
                    <a:pt x="310518" y="282487"/>
                    <a:pt x="309883" y="286297"/>
                  </a:cubicBezTo>
                  <a:cubicBezTo>
                    <a:pt x="307978" y="296456"/>
                    <a:pt x="304803" y="307252"/>
                    <a:pt x="305438" y="318681"/>
                  </a:cubicBezTo>
                  <a:cubicBezTo>
                    <a:pt x="308613" y="325667"/>
                    <a:pt x="309883" y="333922"/>
                    <a:pt x="307978" y="342177"/>
                  </a:cubicBezTo>
                  <a:cubicBezTo>
                    <a:pt x="310518" y="348527"/>
                    <a:pt x="315598" y="356781"/>
                    <a:pt x="310518" y="363131"/>
                  </a:cubicBezTo>
                  <a:cubicBezTo>
                    <a:pt x="307343" y="365037"/>
                    <a:pt x="306073" y="368847"/>
                    <a:pt x="302263" y="369481"/>
                  </a:cubicBezTo>
                  <a:cubicBezTo>
                    <a:pt x="300993" y="368212"/>
                    <a:pt x="303533" y="360592"/>
                    <a:pt x="299088" y="361862"/>
                  </a:cubicBezTo>
                  <a:cubicBezTo>
                    <a:pt x="297818" y="363767"/>
                    <a:pt x="298453" y="368212"/>
                    <a:pt x="296548" y="369481"/>
                  </a:cubicBezTo>
                  <a:cubicBezTo>
                    <a:pt x="290833" y="368212"/>
                    <a:pt x="287023" y="363767"/>
                    <a:pt x="283848" y="359322"/>
                  </a:cubicBezTo>
                  <a:cubicBezTo>
                    <a:pt x="282578" y="351067"/>
                    <a:pt x="291468" y="346622"/>
                    <a:pt x="288293" y="337731"/>
                  </a:cubicBezTo>
                  <a:cubicBezTo>
                    <a:pt x="283848" y="328206"/>
                    <a:pt x="294008" y="321222"/>
                    <a:pt x="289563" y="311062"/>
                  </a:cubicBezTo>
                  <a:cubicBezTo>
                    <a:pt x="286388" y="302806"/>
                    <a:pt x="278133" y="289472"/>
                    <a:pt x="272418" y="281852"/>
                  </a:cubicBezTo>
                  <a:cubicBezTo>
                    <a:pt x="270513" y="283122"/>
                    <a:pt x="267973" y="284392"/>
                    <a:pt x="264798" y="286931"/>
                  </a:cubicBezTo>
                  <a:cubicBezTo>
                    <a:pt x="262893" y="288202"/>
                    <a:pt x="259718" y="290742"/>
                    <a:pt x="258448" y="292012"/>
                  </a:cubicBezTo>
                  <a:cubicBezTo>
                    <a:pt x="255273" y="294552"/>
                    <a:pt x="252098" y="298997"/>
                    <a:pt x="250828" y="300902"/>
                  </a:cubicBezTo>
                  <a:cubicBezTo>
                    <a:pt x="247018" y="306617"/>
                    <a:pt x="244478" y="311062"/>
                    <a:pt x="243843" y="319952"/>
                  </a:cubicBezTo>
                  <a:cubicBezTo>
                    <a:pt x="243208" y="323762"/>
                    <a:pt x="243843" y="325031"/>
                    <a:pt x="244478" y="330112"/>
                  </a:cubicBezTo>
                  <a:cubicBezTo>
                    <a:pt x="244478" y="331381"/>
                    <a:pt x="243843" y="334556"/>
                    <a:pt x="242573" y="335827"/>
                  </a:cubicBezTo>
                  <a:cubicBezTo>
                    <a:pt x="240668" y="338367"/>
                    <a:pt x="239398" y="337731"/>
                    <a:pt x="237493" y="340906"/>
                  </a:cubicBezTo>
                  <a:cubicBezTo>
                    <a:pt x="236223" y="342812"/>
                    <a:pt x="234318" y="347256"/>
                    <a:pt x="232413" y="347892"/>
                  </a:cubicBezTo>
                  <a:cubicBezTo>
                    <a:pt x="224158" y="349797"/>
                    <a:pt x="212728" y="345987"/>
                    <a:pt x="202568" y="349162"/>
                  </a:cubicBezTo>
                  <a:cubicBezTo>
                    <a:pt x="198758" y="349797"/>
                    <a:pt x="193678" y="348527"/>
                    <a:pt x="190503" y="345987"/>
                  </a:cubicBezTo>
                  <a:cubicBezTo>
                    <a:pt x="186058" y="342812"/>
                    <a:pt x="184788" y="335827"/>
                    <a:pt x="183518" y="330112"/>
                  </a:cubicBezTo>
                  <a:cubicBezTo>
                    <a:pt x="182883" y="325667"/>
                    <a:pt x="182248" y="324397"/>
                    <a:pt x="180978" y="321856"/>
                  </a:cubicBezTo>
                  <a:cubicBezTo>
                    <a:pt x="180343" y="319952"/>
                    <a:pt x="179073" y="318681"/>
                    <a:pt x="177803" y="316777"/>
                  </a:cubicBezTo>
                  <a:cubicBezTo>
                    <a:pt x="175898" y="315506"/>
                    <a:pt x="173993" y="315506"/>
                    <a:pt x="173993" y="315506"/>
                  </a:cubicBezTo>
                  <a:cubicBezTo>
                    <a:pt x="172088" y="315506"/>
                    <a:pt x="170818" y="321856"/>
                    <a:pt x="170183" y="322492"/>
                  </a:cubicBezTo>
                  <a:cubicBezTo>
                    <a:pt x="170183" y="322492"/>
                    <a:pt x="169548" y="326937"/>
                    <a:pt x="170183" y="328206"/>
                  </a:cubicBezTo>
                  <a:cubicBezTo>
                    <a:pt x="170818" y="331381"/>
                    <a:pt x="171453" y="337731"/>
                    <a:pt x="167643" y="341542"/>
                  </a:cubicBezTo>
                  <a:cubicBezTo>
                    <a:pt x="166373" y="342812"/>
                    <a:pt x="167008" y="342812"/>
                    <a:pt x="163833" y="344081"/>
                  </a:cubicBezTo>
                  <a:cubicBezTo>
                    <a:pt x="163198" y="351067"/>
                    <a:pt x="162563" y="354877"/>
                    <a:pt x="160658" y="359322"/>
                  </a:cubicBezTo>
                  <a:cubicBezTo>
                    <a:pt x="159388" y="361862"/>
                    <a:pt x="146688" y="367577"/>
                    <a:pt x="139703" y="367577"/>
                  </a:cubicBezTo>
                  <a:cubicBezTo>
                    <a:pt x="137798" y="367577"/>
                    <a:pt x="137798" y="367577"/>
                    <a:pt x="135893" y="367577"/>
                  </a:cubicBezTo>
                  <a:cubicBezTo>
                    <a:pt x="132718" y="365037"/>
                    <a:pt x="135258" y="361227"/>
                    <a:pt x="133988" y="359956"/>
                  </a:cubicBezTo>
                  <a:cubicBezTo>
                    <a:pt x="131448" y="360592"/>
                    <a:pt x="128273" y="365037"/>
                    <a:pt x="125098" y="362497"/>
                  </a:cubicBezTo>
                  <a:cubicBezTo>
                    <a:pt x="123828" y="360592"/>
                    <a:pt x="125733" y="358687"/>
                    <a:pt x="127003" y="356781"/>
                  </a:cubicBezTo>
                  <a:cubicBezTo>
                    <a:pt x="130813" y="349162"/>
                    <a:pt x="132083" y="342812"/>
                    <a:pt x="139703" y="339002"/>
                  </a:cubicBezTo>
                  <a:cubicBezTo>
                    <a:pt x="140973" y="337097"/>
                    <a:pt x="142878" y="333287"/>
                    <a:pt x="145418" y="330112"/>
                  </a:cubicBezTo>
                  <a:cubicBezTo>
                    <a:pt x="147323" y="327572"/>
                    <a:pt x="149228" y="325667"/>
                    <a:pt x="149863" y="323127"/>
                  </a:cubicBezTo>
                  <a:cubicBezTo>
                    <a:pt x="151133" y="319317"/>
                    <a:pt x="151768" y="313602"/>
                    <a:pt x="151133" y="313602"/>
                  </a:cubicBezTo>
                  <a:cubicBezTo>
                    <a:pt x="144783" y="310427"/>
                    <a:pt x="138433" y="315506"/>
                    <a:pt x="135258" y="325031"/>
                  </a:cubicBezTo>
                  <a:cubicBezTo>
                    <a:pt x="132718" y="333922"/>
                    <a:pt x="130178" y="337097"/>
                    <a:pt x="122558" y="341542"/>
                  </a:cubicBezTo>
                  <a:cubicBezTo>
                    <a:pt x="112398" y="349797"/>
                    <a:pt x="106683" y="363767"/>
                    <a:pt x="103508" y="373292"/>
                  </a:cubicBezTo>
                  <a:cubicBezTo>
                    <a:pt x="102873" y="374562"/>
                    <a:pt x="100333" y="374562"/>
                    <a:pt x="99698" y="375831"/>
                  </a:cubicBezTo>
                  <a:cubicBezTo>
                    <a:pt x="99698" y="378372"/>
                    <a:pt x="100333" y="383452"/>
                    <a:pt x="96523" y="385992"/>
                  </a:cubicBezTo>
                  <a:cubicBezTo>
                    <a:pt x="90808" y="391706"/>
                    <a:pt x="77473" y="396152"/>
                    <a:pt x="72393" y="392977"/>
                  </a:cubicBezTo>
                  <a:cubicBezTo>
                    <a:pt x="69853" y="391706"/>
                    <a:pt x="77473" y="384087"/>
                    <a:pt x="71758" y="384722"/>
                  </a:cubicBezTo>
                  <a:cubicBezTo>
                    <a:pt x="69218" y="385356"/>
                    <a:pt x="66678" y="390437"/>
                    <a:pt x="64138" y="389167"/>
                  </a:cubicBezTo>
                  <a:cubicBezTo>
                    <a:pt x="59693" y="387897"/>
                    <a:pt x="61598" y="371387"/>
                    <a:pt x="64138" y="365037"/>
                  </a:cubicBezTo>
                  <a:cubicBezTo>
                    <a:pt x="66678" y="361862"/>
                    <a:pt x="76838" y="361862"/>
                    <a:pt x="77473" y="353606"/>
                  </a:cubicBezTo>
                  <a:cubicBezTo>
                    <a:pt x="87633" y="350431"/>
                    <a:pt x="92713" y="347256"/>
                    <a:pt x="97793" y="339637"/>
                  </a:cubicBezTo>
                  <a:cubicBezTo>
                    <a:pt x="100333" y="335827"/>
                    <a:pt x="99698" y="331381"/>
                    <a:pt x="100968" y="326937"/>
                  </a:cubicBezTo>
                  <a:cubicBezTo>
                    <a:pt x="102238" y="321856"/>
                    <a:pt x="104778" y="318047"/>
                    <a:pt x="106683" y="315506"/>
                  </a:cubicBezTo>
                  <a:cubicBezTo>
                    <a:pt x="104778" y="315506"/>
                    <a:pt x="102238" y="314872"/>
                    <a:pt x="100968" y="313602"/>
                  </a:cubicBezTo>
                  <a:cubicBezTo>
                    <a:pt x="95888" y="305981"/>
                    <a:pt x="107953" y="286931"/>
                    <a:pt x="94618" y="279947"/>
                  </a:cubicBezTo>
                  <a:cubicBezTo>
                    <a:pt x="88903" y="284392"/>
                    <a:pt x="81918" y="296456"/>
                    <a:pt x="78743" y="302172"/>
                  </a:cubicBezTo>
                  <a:cubicBezTo>
                    <a:pt x="75568" y="310427"/>
                    <a:pt x="69218" y="317412"/>
                    <a:pt x="66043" y="325667"/>
                  </a:cubicBezTo>
                  <a:cubicBezTo>
                    <a:pt x="64138" y="339637"/>
                    <a:pt x="58423" y="351067"/>
                    <a:pt x="48898" y="361227"/>
                  </a:cubicBezTo>
                  <a:cubicBezTo>
                    <a:pt x="40643" y="372022"/>
                    <a:pt x="50803" y="387262"/>
                    <a:pt x="38738" y="395517"/>
                  </a:cubicBezTo>
                  <a:cubicBezTo>
                    <a:pt x="38103" y="401867"/>
                    <a:pt x="36198" y="407581"/>
                    <a:pt x="33658" y="412662"/>
                  </a:cubicBezTo>
                  <a:cubicBezTo>
                    <a:pt x="26038" y="417742"/>
                    <a:pt x="16513" y="420281"/>
                    <a:pt x="8258" y="417742"/>
                  </a:cubicBezTo>
                  <a:lnTo>
                    <a:pt x="11433" y="406312"/>
                  </a:lnTo>
                  <a:cubicBezTo>
                    <a:pt x="4448" y="405677"/>
                    <a:pt x="8258" y="416472"/>
                    <a:pt x="638" y="414567"/>
                  </a:cubicBezTo>
                  <a:cubicBezTo>
                    <a:pt x="-3172" y="404406"/>
                    <a:pt x="3813" y="396152"/>
                    <a:pt x="10163" y="390437"/>
                  </a:cubicBezTo>
                  <a:cubicBezTo>
                    <a:pt x="12068" y="389802"/>
                    <a:pt x="12068" y="387897"/>
                    <a:pt x="12068" y="386627"/>
                  </a:cubicBezTo>
                  <a:cubicBezTo>
                    <a:pt x="15243" y="373292"/>
                    <a:pt x="29213" y="368847"/>
                    <a:pt x="31753" y="355512"/>
                  </a:cubicBezTo>
                  <a:cubicBezTo>
                    <a:pt x="32388" y="343447"/>
                    <a:pt x="33658" y="331381"/>
                    <a:pt x="41278" y="322492"/>
                  </a:cubicBezTo>
                  <a:cubicBezTo>
                    <a:pt x="45723" y="312331"/>
                    <a:pt x="41913" y="300267"/>
                    <a:pt x="43183" y="288837"/>
                  </a:cubicBezTo>
                  <a:cubicBezTo>
                    <a:pt x="43183" y="271056"/>
                    <a:pt x="57788" y="256452"/>
                    <a:pt x="55248" y="237402"/>
                  </a:cubicBezTo>
                  <a:cubicBezTo>
                    <a:pt x="54613" y="224067"/>
                    <a:pt x="59058" y="210097"/>
                    <a:pt x="64773" y="200572"/>
                  </a:cubicBezTo>
                  <a:cubicBezTo>
                    <a:pt x="72393" y="184697"/>
                    <a:pt x="89538" y="172631"/>
                    <a:pt x="87633" y="152947"/>
                  </a:cubicBezTo>
                  <a:cubicBezTo>
                    <a:pt x="89538" y="135167"/>
                    <a:pt x="95253" y="116117"/>
                    <a:pt x="112398" y="107226"/>
                  </a:cubicBezTo>
                  <a:cubicBezTo>
                    <a:pt x="120653" y="102147"/>
                    <a:pt x="128908" y="98337"/>
                    <a:pt x="137163" y="93892"/>
                  </a:cubicBezTo>
                  <a:cubicBezTo>
                    <a:pt x="148593" y="86272"/>
                    <a:pt x="160658" y="76747"/>
                    <a:pt x="170818" y="67856"/>
                  </a:cubicBezTo>
                  <a:cubicBezTo>
                    <a:pt x="175898" y="63412"/>
                    <a:pt x="184788" y="62142"/>
                    <a:pt x="191138" y="63412"/>
                  </a:cubicBezTo>
                  <a:cubicBezTo>
                    <a:pt x="205108" y="68492"/>
                    <a:pt x="217808" y="74842"/>
                    <a:pt x="233048" y="78017"/>
                  </a:cubicBezTo>
                  <a:cubicBezTo>
                    <a:pt x="241303" y="78651"/>
                    <a:pt x="247018" y="79922"/>
                    <a:pt x="254003" y="82462"/>
                  </a:cubicBezTo>
                  <a:cubicBezTo>
                    <a:pt x="269878" y="88176"/>
                    <a:pt x="283848" y="48172"/>
                    <a:pt x="235588" y="45631"/>
                  </a:cubicBezTo>
                  <a:lnTo>
                    <a:pt x="177168" y="44997"/>
                  </a:lnTo>
                  <a:cubicBezTo>
                    <a:pt x="127638" y="42456"/>
                    <a:pt x="112398" y="32931"/>
                    <a:pt x="125098" y="15787"/>
                  </a:cubicBezTo>
                  <a:cubicBezTo>
                    <a:pt x="159388" y="-15328"/>
                    <a:pt x="222888" y="6897"/>
                    <a:pt x="232413" y="14517"/>
                  </a:cubicBezTo>
                  <a:cubicBezTo>
                    <a:pt x="233683" y="15787"/>
                    <a:pt x="228603" y="21501"/>
                    <a:pt x="201933" y="13247"/>
                  </a:cubicBezTo>
                  <a:cubicBezTo>
                    <a:pt x="197488" y="12612"/>
                    <a:pt x="194313" y="12612"/>
                    <a:pt x="190503" y="13881"/>
                  </a:cubicBezTo>
                  <a:cubicBezTo>
                    <a:pt x="190503" y="13881"/>
                    <a:pt x="196853" y="18962"/>
                    <a:pt x="204473" y="18326"/>
                  </a:cubicBezTo>
                  <a:cubicBezTo>
                    <a:pt x="206378" y="18326"/>
                    <a:pt x="217173" y="20231"/>
                    <a:pt x="208918" y="23406"/>
                  </a:cubicBezTo>
                  <a:cubicBezTo>
                    <a:pt x="177803" y="34201"/>
                    <a:pt x="160023" y="11976"/>
                    <a:pt x="146053" y="10706"/>
                  </a:cubicBezTo>
                  <a:cubicBezTo>
                    <a:pt x="139068" y="9437"/>
                    <a:pt x="121288" y="26581"/>
                    <a:pt x="137163" y="30392"/>
                  </a:cubicBezTo>
                  <a:cubicBezTo>
                    <a:pt x="177168" y="41187"/>
                    <a:pt x="214633" y="32297"/>
                    <a:pt x="249558" y="37376"/>
                  </a:cubicBezTo>
                  <a:cubicBezTo>
                    <a:pt x="262893" y="39281"/>
                    <a:pt x="275593" y="48172"/>
                    <a:pt x="280673" y="60872"/>
                  </a:cubicBezTo>
                  <a:cubicBezTo>
                    <a:pt x="284483" y="74206"/>
                    <a:pt x="281308" y="78651"/>
                    <a:pt x="276228" y="88176"/>
                  </a:cubicBezTo>
                  <a:cubicBezTo>
                    <a:pt x="283848" y="98972"/>
                    <a:pt x="288293" y="105322"/>
                    <a:pt x="291468" y="117387"/>
                  </a:cubicBezTo>
                  <a:cubicBezTo>
                    <a:pt x="301628" y="128181"/>
                    <a:pt x="307978" y="142787"/>
                    <a:pt x="307978" y="156122"/>
                  </a:cubicBezTo>
                  <a:cubicBezTo>
                    <a:pt x="307978" y="171362"/>
                    <a:pt x="302898" y="177077"/>
                    <a:pt x="304803" y="185331"/>
                  </a:cubicBezTo>
                  <a:cubicBezTo>
                    <a:pt x="308613" y="201206"/>
                    <a:pt x="311153" y="199302"/>
                    <a:pt x="306708" y="215812"/>
                  </a:cubicBezTo>
                  <a:cubicBezTo>
                    <a:pt x="300993" y="214542"/>
                    <a:pt x="297183" y="214542"/>
                    <a:pt x="297183" y="214542"/>
                  </a:cubicBezTo>
                  <a:cubicBezTo>
                    <a:pt x="297818" y="210097"/>
                    <a:pt x="299088" y="203747"/>
                    <a:pt x="298453" y="201206"/>
                  </a:cubicBezTo>
                  <a:cubicBezTo>
                    <a:pt x="297818" y="198031"/>
                    <a:pt x="292738" y="187872"/>
                    <a:pt x="294008" y="180887"/>
                  </a:cubicBezTo>
                  <a:cubicBezTo>
                    <a:pt x="295278" y="171997"/>
                    <a:pt x="300993" y="159297"/>
                    <a:pt x="299088" y="149137"/>
                  </a:cubicBezTo>
                  <a:cubicBezTo>
                    <a:pt x="297183" y="140247"/>
                    <a:pt x="295278" y="133897"/>
                    <a:pt x="290833" y="128817"/>
                  </a:cubicBezTo>
                  <a:cubicBezTo>
                    <a:pt x="288293" y="125006"/>
                    <a:pt x="285118" y="121197"/>
                    <a:pt x="284483" y="117387"/>
                  </a:cubicBezTo>
                  <a:cubicBezTo>
                    <a:pt x="281943" y="107862"/>
                    <a:pt x="276228" y="101512"/>
                    <a:pt x="274323" y="98337"/>
                  </a:cubicBezTo>
                  <a:cubicBezTo>
                    <a:pt x="270513" y="91987"/>
                    <a:pt x="270513" y="90717"/>
                    <a:pt x="266703" y="91351"/>
                  </a:cubicBezTo>
                  <a:cubicBezTo>
                    <a:pt x="263528" y="91987"/>
                    <a:pt x="256543" y="93256"/>
                    <a:pt x="256543" y="93256"/>
                  </a:cubicBezTo>
                  <a:cubicBezTo>
                    <a:pt x="252098" y="94526"/>
                    <a:pt x="250193" y="94526"/>
                    <a:pt x="247018" y="96431"/>
                  </a:cubicBezTo>
                  <a:cubicBezTo>
                    <a:pt x="245113" y="98337"/>
                    <a:pt x="245113" y="100876"/>
                    <a:pt x="247018" y="102781"/>
                  </a:cubicBezTo>
                  <a:cubicBezTo>
                    <a:pt x="250193" y="105956"/>
                    <a:pt x="255908" y="105956"/>
                    <a:pt x="255908" y="111037"/>
                  </a:cubicBezTo>
                  <a:cubicBezTo>
                    <a:pt x="252733" y="122467"/>
                    <a:pt x="268608" y="130722"/>
                    <a:pt x="254638" y="134531"/>
                  </a:cubicBezTo>
                  <a:cubicBezTo>
                    <a:pt x="247653" y="135167"/>
                    <a:pt x="243843" y="131356"/>
                    <a:pt x="238763" y="125642"/>
                  </a:cubicBezTo>
                  <a:cubicBezTo>
                    <a:pt x="231143" y="110401"/>
                    <a:pt x="226063" y="104051"/>
                    <a:pt x="215903" y="93256"/>
                  </a:cubicBezTo>
                  <a:cubicBezTo>
                    <a:pt x="213363" y="91987"/>
                    <a:pt x="207013" y="87542"/>
                    <a:pt x="203838" y="89447"/>
                  </a:cubicBezTo>
                  <a:lnTo>
                    <a:pt x="203838" y="91987"/>
                  </a:lnTo>
                  <a:cubicBezTo>
                    <a:pt x="213363" y="109131"/>
                    <a:pt x="219078" y="115481"/>
                    <a:pt x="226698" y="131356"/>
                  </a:cubicBezTo>
                  <a:cubicBezTo>
                    <a:pt x="235588" y="149137"/>
                    <a:pt x="237493" y="155487"/>
                    <a:pt x="243843" y="172631"/>
                  </a:cubicBezTo>
                  <a:cubicBezTo>
                    <a:pt x="245113" y="176442"/>
                    <a:pt x="245113" y="179617"/>
                    <a:pt x="243843" y="180887"/>
                  </a:cubicBezTo>
                  <a:cubicBezTo>
                    <a:pt x="241938" y="180887"/>
                    <a:pt x="240033" y="173902"/>
                    <a:pt x="238128" y="170727"/>
                  </a:cubicBezTo>
                  <a:cubicBezTo>
                    <a:pt x="236223" y="166917"/>
                    <a:pt x="236223" y="165012"/>
                    <a:pt x="234953" y="162472"/>
                  </a:cubicBezTo>
                  <a:cubicBezTo>
                    <a:pt x="226698" y="147867"/>
                    <a:pt x="224158" y="163106"/>
                    <a:pt x="216538" y="164377"/>
                  </a:cubicBezTo>
                  <a:cubicBezTo>
                    <a:pt x="212728" y="165647"/>
                    <a:pt x="207648" y="159931"/>
                    <a:pt x="207013" y="166917"/>
                  </a:cubicBezTo>
                  <a:cubicBezTo>
                    <a:pt x="205743" y="169456"/>
                    <a:pt x="207648" y="171997"/>
                    <a:pt x="210188" y="172631"/>
                  </a:cubicBezTo>
                  <a:cubicBezTo>
                    <a:pt x="217173" y="172631"/>
                    <a:pt x="224158" y="175172"/>
                    <a:pt x="228603" y="180252"/>
                  </a:cubicBezTo>
                  <a:cubicBezTo>
                    <a:pt x="228603" y="180887"/>
                    <a:pt x="228603" y="182156"/>
                    <a:pt x="227333" y="182156"/>
                  </a:cubicBezTo>
                  <a:cubicBezTo>
                    <a:pt x="224158" y="180887"/>
                    <a:pt x="224158" y="177712"/>
                    <a:pt x="220348" y="177712"/>
                  </a:cubicBezTo>
                  <a:cubicBezTo>
                    <a:pt x="218443" y="178347"/>
                    <a:pt x="210823" y="177712"/>
                    <a:pt x="212093" y="181522"/>
                  </a:cubicBezTo>
                  <a:cubicBezTo>
                    <a:pt x="213363" y="184697"/>
                    <a:pt x="212093" y="185331"/>
                    <a:pt x="214633" y="186602"/>
                  </a:cubicBezTo>
                  <a:cubicBezTo>
                    <a:pt x="223523" y="186602"/>
                    <a:pt x="231778" y="188506"/>
                    <a:pt x="237493" y="196762"/>
                  </a:cubicBezTo>
                  <a:cubicBezTo>
                    <a:pt x="238763" y="199302"/>
                    <a:pt x="239398" y="201842"/>
                    <a:pt x="242573" y="201206"/>
                  </a:cubicBezTo>
                  <a:lnTo>
                    <a:pt x="250828" y="201206"/>
                  </a:lnTo>
                  <a:cubicBezTo>
                    <a:pt x="274958" y="199937"/>
                    <a:pt x="294643" y="213906"/>
                    <a:pt x="295278" y="218987"/>
                  </a:cubicBezTo>
                  <a:cubicBezTo>
                    <a:pt x="313693" y="215177"/>
                    <a:pt x="318773" y="236131"/>
                    <a:pt x="332743" y="242481"/>
                  </a:cubicBezTo>
                  <a:cubicBezTo>
                    <a:pt x="338458" y="245022"/>
                    <a:pt x="346078" y="246292"/>
                    <a:pt x="352428" y="243117"/>
                  </a:cubicBezTo>
                  <a:cubicBezTo>
                    <a:pt x="358778" y="240577"/>
                    <a:pt x="361318" y="241847"/>
                    <a:pt x="353698" y="247562"/>
                  </a:cubicBezTo>
                  <a:cubicBezTo>
                    <a:pt x="320678" y="270422"/>
                    <a:pt x="299088" y="234227"/>
                    <a:pt x="287023" y="232322"/>
                  </a:cubicBezTo>
                  <a:cubicBezTo>
                    <a:pt x="287658" y="228512"/>
                    <a:pt x="292103" y="220892"/>
                    <a:pt x="286388" y="217081"/>
                  </a:cubicBezTo>
                  <a:cubicBezTo>
                    <a:pt x="284483" y="215812"/>
                    <a:pt x="281943" y="220256"/>
                    <a:pt x="277498" y="212637"/>
                  </a:cubicBezTo>
                  <a:cubicBezTo>
                    <a:pt x="274958" y="208192"/>
                    <a:pt x="271148" y="215177"/>
                    <a:pt x="267973" y="212002"/>
                  </a:cubicBezTo>
                  <a:cubicBezTo>
                    <a:pt x="265433" y="210097"/>
                    <a:pt x="263528" y="206922"/>
                    <a:pt x="260353" y="207556"/>
                  </a:cubicBezTo>
                  <a:cubicBezTo>
                    <a:pt x="257813" y="207556"/>
                    <a:pt x="257178" y="206922"/>
                    <a:pt x="255908" y="208192"/>
                  </a:cubicBezTo>
                  <a:cubicBezTo>
                    <a:pt x="254638" y="208827"/>
                    <a:pt x="254638" y="209462"/>
                    <a:pt x="254003" y="212002"/>
                  </a:cubicBezTo>
                  <a:cubicBezTo>
                    <a:pt x="253368" y="213272"/>
                    <a:pt x="253368" y="216447"/>
                    <a:pt x="254638" y="217081"/>
                  </a:cubicBezTo>
                  <a:cubicBezTo>
                    <a:pt x="255908" y="217717"/>
                    <a:pt x="257813" y="219622"/>
                    <a:pt x="262258" y="220256"/>
                  </a:cubicBezTo>
                  <a:cubicBezTo>
                    <a:pt x="263528" y="220256"/>
                    <a:pt x="262893" y="221527"/>
                    <a:pt x="262893" y="222797"/>
                  </a:cubicBezTo>
                  <a:cubicBezTo>
                    <a:pt x="257813" y="225972"/>
                    <a:pt x="252098" y="223431"/>
                    <a:pt x="247653" y="220892"/>
                  </a:cubicBezTo>
                  <a:cubicBezTo>
                    <a:pt x="248923" y="217717"/>
                    <a:pt x="248923" y="215177"/>
                    <a:pt x="247653" y="211367"/>
                  </a:cubicBezTo>
                  <a:cubicBezTo>
                    <a:pt x="246383" y="206922"/>
                    <a:pt x="241938" y="205017"/>
                    <a:pt x="237493" y="204381"/>
                  </a:cubicBezTo>
                  <a:cubicBezTo>
                    <a:pt x="236223" y="205652"/>
                    <a:pt x="236858" y="206287"/>
                    <a:pt x="236858" y="207556"/>
                  </a:cubicBezTo>
                  <a:cubicBezTo>
                    <a:pt x="240668" y="212637"/>
                    <a:pt x="238128" y="219622"/>
                    <a:pt x="235588" y="219622"/>
                  </a:cubicBezTo>
                  <a:cubicBezTo>
                    <a:pt x="219713" y="217081"/>
                    <a:pt x="223523" y="231687"/>
                    <a:pt x="234953" y="235497"/>
                  </a:cubicBezTo>
                  <a:cubicBezTo>
                    <a:pt x="247018" y="239306"/>
                    <a:pt x="255908" y="240577"/>
                    <a:pt x="267338" y="235497"/>
                  </a:cubicBezTo>
                  <a:cubicBezTo>
                    <a:pt x="269243" y="234862"/>
                    <a:pt x="269878" y="235497"/>
                    <a:pt x="266703" y="239306"/>
                  </a:cubicBezTo>
                  <a:cubicBezTo>
                    <a:pt x="264163" y="241847"/>
                    <a:pt x="259083" y="244387"/>
                    <a:pt x="255273" y="245656"/>
                  </a:cubicBezTo>
                  <a:cubicBezTo>
                    <a:pt x="252098" y="246927"/>
                    <a:pt x="248923" y="246927"/>
                    <a:pt x="245748" y="247562"/>
                  </a:cubicBezTo>
                  <a:cubicBezTo>
                    <a:pt x="245748" y="247562"/>
                    <a:pt x="214633" y="250737"/>
                    <a:pt x="201933" y="224067"/>
                  </a:cubicBezTo>
                  <a:cubicBezTo>
                    <a:pt x="194313" y="201842"/>
                    <a:pt x="222253" y="201206"/>
                    <a:pt x="227333" y="201206"/>
                  </a:cubicBezTo>
                  <a:cubicBezTo>
                    <a:pt x="227968" y="201206"/>
                    <a:pt x="228603" y="201206"/>
                    <a:pt x="228603" y="201206"/>
                  </a:cubicBezTo>
                  <a:cubicBezTo>
                    <a:pt x="231143" y="199302"/>
                    <a:pt x="229238" y="196762"/>
                    <a:pt x="227333" y="195492"/>
                  </a:cubicBezTo>
                  <a:cubicBezTo>
                    <a:pt x="224158" y="191047"/>
                    <a:pt x="217808" y="192952"/>
                    <a:pt x="212728" y="192317"/>
                  </a:cubicBezTo>
                  <a:cubicBezTo>
                    <a:pt x="207648" y="193587"/>
                    <a:pt x="204473" y="196762"/>
                    <a:pt x="200663" y="199302"/>
                  </a:cubicBezTo>
                  <a:cubicBezTo>
                    <a:pt x="198758" y="199302"/>
                    <a:pt x="198123" y="198031"/>
                    <a:pt x="196218" y="196762"/>
                  </a:cubicBezTo>
                  <a:cubicBezTo>
                    <a:pt x="191138" y="194222"/>
                    <a:pt x="183518" y="193587"/>
                    <a:pt x="177803" y="194856"/>
                  </a:cubicBezTo>
                  <a:cubicBezTo>
                    <a:pt x="174628" y="197397"/>
                    <a:pt x="177803" y="201206"/>
                    <a:pt x="177803" y="204381"/>
                  </a:cubicBezTo>
                  <a:cubicBezTo>
                    <a:pt x="180343" y="210097"/>
                    <a:pt x="182248" y="217081"/>
                    <a:pt x="187963" y="220892"/>
                  </a:cubicBezTo>
                  <a:cubicBezTo>
                    <a:pt x="189868" y="222797"/>
                    <a:pt x="193043" y="224702"/>
                    <a:pt x="194948" y="226606"/>
                  </a:cubicBezTo>
                  <a:cubicBezTo>
                    <a:pt x="199393" y="230417"/>
                    <a:pt x="200028" y="238672"/>
                    <a:pt x="199393" y="239942"/>
                  </a:cubicBezTo>
                  <a:cubicBezTo>
                    <a:pt x="198123" y="242481"/>
                    <a:pt x="193678" y="250737"/>
                    <a:pt x="193043" y="252006"/>
                  </a:cubicBezTo>
                  <a:cubicBezTo>
                    <a:pt x="188598" y="258992"/>
                    <a:pt x="184788" y="264072"/>
                    <a:pt x="182248" y="272962"/>
                  </a:cubicBezTo>
                  <a:cubicBezTo>
                    <a:pt x="180343" y="278677"/>
                    <a:pt x="180343" y="281217"/>
                    <a:pt x="179708" y="283756"/>
                  </a:cubicBezTo>
                  <a:cubicBezTo>
                    <a:pt x="179073" y="286297"/>
                    <a:pt x="177168" y="291377"/>
                    <a:pt x="181613" y="295187"/>
                  </a:cubicBezTo>
                  <a:cubicBezTo>
                    <a:pt x="186058" y="298997"/>
                    <a:pt x="189233" y="279312"/>
                    <a:pt x="201298" y="278042"/>
                  </a:cubicBezTo>
                  <a:cubicBezTo>
                    <a:pt x="202568" y="276772"/>
                    <a:pt x="201298" y="283122"/>
                    <a:pt x="196853" y="295187"/>
                  </a:cubicBezTo>
                  <a:cubicBezTo>
                    <a:pt x="194948" y="299631"/>
                    <a:pt x="194948" y="300267"/>
                    <a:pt x="194313" y="303442"/>
                  </a:cubicBezTo>
                  <a:cubicBezTo>
                    <a:pt x="193043" y="306617"/>
                    <a:pt x="191773" y="309156"/>
                    <a:pt x="190503" y="315506"/>
                  </a:cubicBezTo>
                  <a:cubicBezTo>
                    <a:pt x="189233" y="319952"/>
                    <a:pt x="189233" y="326302"/>
                    <a:pt x="189233" y="326302"/>
                  </a:cubicBezTo>
                  <a:cubicBezTo>
                    <a:pt x="188598" y="330112"/>
                    <a:pt x="190503" y="332017"/>
                    <a:pt x="191138" y="332652"/>
                  </a:cubicBezTo>
                  <a:cubicBezTo>
                    <a:pt x="193043" y="333922"/>
                    <a:pt x="194948" y="333287"/>
                    <a:pt x="195583" y="331381"/>
                  </a:cubicBezTo>
                  <a:cubicBezTo>
                    <a:pt x="196218" y="330112"/>
                    <a:pt x="195583" y="326937"/>
                    <a:pt x="197488" y="325667"/>
                  </a:cubicBezTo>
                  <a:cubicBezTo>
                    <a:pt x="199393" y="324397"/>
                    <a:pt x="203838" y="325667"/>
                    <a:pt x="204473" y="328206"/>
                  </a:cubicBezTo>
                  <a:cubicBezTo>
                    <a:pt x="205108" y="329477"/>
                    <a:pt x="204473" y="331381"/>
                    <a:pt x="203838" y="332652"/>
                  </a:cubicBezTo>
                  <a:cubicBezTo>
                    <a:pt x="203838" y="333287"/>
                    <a:pt x="201933" y="335192"/>
                    <a:pt x="200028" y="335827"/>
                  </a:cubicBezTo>
                  <a:cubicBezTo>
                    <a:pt x="195583" y="337731"/>
                    <a:pt x="199393" y="342812"/>
                    <a:pt x="205108" y="340272"/>
                  </a:cubicBezTo>
                  <a:cubicBezTo>
                    <a:pt x="210823" y="337731"/>
                    <a:pt x="215268" y="339002"/>
                    <a:pt x="218443" y="339637"/>
                  </a:cubicBezTo>
                  <a:cubicBezTo>
                    <a:pt x="221618" y="340272"/>
                    <a:pt x="224793" y="340272"/>
                    <a:pt x="227968" y="338367"/>
                  </a:cubicBezTo>
                  <a:cubicBezTo>
                    <a:pt x="228603" y="337731"/>
                    <a:pt x="229873" y="335192"/>
                    <a:pt x="231778" y="333287"/>
                  </a:cubicBezTo>
                  <a:cubicBezTo>
                    <a:pt x="233683" y="331381"/>
                    <a:pt x="233048" y="332017"/>
                    <a:pt x="234953" y="330112"/>
                  </a:cubicBezTo>
                  <a:cubicBezTo>
                    <a:pt x="238128" y="326937"/>
                    <a:pt x="236223" y="323762"/>
                    <a:pt x="236223" y="322492"/>
                  </a:cubicBezTo>
                  <a:cubicBezTo>
                    <a:pt x="235588" y="318047"/>
                    <a:pt x="236223" y="316142"/>
                    <a:pt x="236858" y="313602"/>
                  </a:cubicBezTo>
                  <a:cubicBezTo>
                    <a:pt x="236858" y="311062"/>
                    <a:pt x="238763" y="307887"/>
                    <a:pt x="239398" y="304712"/>
                  </a:cubicBezTo>
                  <a:cubicBezTo>
                    <a:pt x="240033" y="301537"/>
                    <a:pt x="242573" y="298362"/>
                    <a:pt x="243843" y="295822"/>
                  </a:cubicBezTo>
                  <a:cubicBezTo>
                    <a:pt x="244478" y="294552"/>
                    <a:pt x="248288" y="290106"/>
                    <a:pt x="249558" y="288202"/>
                  </a:cubicBezTo>
                  <a:cubicBezTo>
                    <a:pt x="250828" y="286297"/>
                    <a:pt x="253368" y="284392"/>
                    <a:pt x="256543" y="281217"/>
                  </a:cubicBezTo>
                  <a:cubicBezTo>
                    <a:pt x="258448" y="279312"/>
                    <a:pt x="259718" y="278042"/>
                    <a:pt x="262258" y="276772"/>
                  </a:cubicBezTo>
                  <a:cubicBezTo>
                    <a:pt x="265433" y="274867"/>
                    <a:pt x="267973" y="272962"/>
                    <a:pt x="269243" y="272327"/>
                  </a:cubicBezTo>
                  <a:cubicBezTo>
                    <a:pt x="270513" y="271692"/>
                    <a:pt x="275593" y="269152"/>
                    <a:pt x="278133" y="267881"/>
                  </a:cubicBezTo>
                  <a:cubicBezTo>
                    <a:pt x="282578" y="267881"/>
                    <a:pt x="288928" y="252006"/>
                    <a:pt x="289563" y="241847"/>
                  </a:cubicBezTo>
                  <a:lnTo>
                    <a:pt x="289563" y="241847"/>
                  </a:lnTo>
                  <a:close/>
                  <a:moveTo>
                    <a:pt x="288928" y="267247"/>
                  </a:moveTo>
                  <a:cubicBezTo>
                    <a:pt x="285753" y="273597"/>
                    <a:pt x="282578" y="275502"/>
                    <a:pt x="283213" y="278042"/>
                  </a:cubicBezTo>
                  <a:cubicBezTo>
                    <a:pt x="283848" y="280581"/>
                    <a:pt x="293373" y="295187"/>
                    <a:pt x="294008" y="295822"/>
                  </a:cubicBezTo>
                  <a:cubicBezTo>
                    <a:pt x="294643" y="296456"/>
                    <a:pt x="298453" y="297092"/>
                    <a:pt x="299723" y="293917"/>
                  </a:cubicBezTo>
                  <a:cubicBezTo>
                    <a:pt x="300993" y="290742"/>
                    <a:pt x="300993" y="285662"/>
                    <a:pt x="300993" y="282487"/>
                  </a:cubicBezTo>
                  <a:cubicBezTo>
                    <a:pt x="300993" y="279312"/>
                    <a:pt x="300358" y="273597"/>
                    <a:pt x="299723" y="268517"/>
                  </a:cubicBezTo>
                  <a:cubicBezTo>
                    <a:pt x="299088" y="264706"/>
                    <a:pt x="296548" y="258992"/>
                    <a:pt x="294643" y="259627"/>
                  </a:cubicBezTo>
                  <a:cubicBezTo>
                    <a:pt x="292103" y="259627"/>
                    <a:pt x="290833" y="263437"/>
                    <a:pt x="288928" y="267247"/>
                  </a:cubicBezTo>
                  <a:close/>
                  <a:moveTo>
                    <a:pt x="179073" y="220892"/>
                  </a:moveTo>
                  <a:cubicBezTo>
                    <a:pt x="172088" y="208827"/>
                    <a:pt x="173993" y="208192"/>
                    <a:pt x="171453" y="202477"/>
                  </a:cubicBezTo>
                  <a:cubicBezTo>
                    <a:pt x="169548" y="197397"/>
                    <a:pt x="166373" y="196127"/>
                    <a:pt x="161293" y="196127"/>
                  </a:cubicBezTo>
                  <a:cubicBezTo>
                    <a:pt x="154943" y="196127"/>
                    <a:pt x="152403" y="200572"/>
                    <a:pt x="151133" y="201206"/>
                  </a:cubicBezTo>
                  <a:cubicBezTo>
                    <a:pt x="148593" y="203747"/>
                    <a:pt x="148593" y="207556"/>
                    <a:pt x="144148" y="210097"/>
                  </a:cubicBezTo>
                  <a:cubicBezTo>
                    <a:pt x="139703" y="213272"/>
                    <a:pt x="134623" y="216447"/>
                    <a:pt x="129543" y="215177"/>
                  </a:cubicBezTo>
                  <a:cubicBezTo>
                    <a:pt x="121288" y="213272"/>
                    <a:pt x="120653" y="204381"/>
                    <a:pt x="111763" y="208192"/>
                  </a:cubicBezTo>
                  <a:cubicBezTo>
                    <a:pt x="105413" y="211367"/>
                    <a:pt x="104143" y="216447"/>
                    <a:pt x="102238" y="218987"/>
                  </a:cubicBezTo>
                  <a:cubicBezTo>
                    <a:pt x="100968" y="222162"/>
                    <a:pt x="97793" y="229147"/>
                    <a:pt x="90173" y="224067"/>
                  </a:cubicBezTo>
                  <a:cubicBezTo>
                    <a:pt x="86363" y="221527"/>
                    <a:pt x="85093" y="216447"/>
                    <a:pt x="79378" y="220256"/>
                  </a:cubicBezTo>
                  <a:cubicBezTo>
                    <a:pt x="74298" y="225337"/>
                    <a:pt x="73028" y="243117"/>
                    <a:pt x="69853" y="247562"/>
                  </a:cubicBezTo>
                  <a:cubicBezTo>
                    <a:pt x="62868" y="258992"/>
                    <a:pt x="59693" y="274231"/>
                    <a:pt x="59058" y="276137"/>
                  </a:cubicBezTo>
                  <a:cubicBezTo>
                    <a:pt x="59058" y="276137"/>
                    <a:pt x="57788" y="281852"/>
                    <a:pt x="57153" y="283756"/>
                  </a:cubicBezTo>
                  <a:cubicBezTo>
                    <a:pt x="56518" y="286297"/>
                    <a:pt x="53978" y="302806"/>
                    <a:pt x="58423" y="304077"/>
                  </a:cubicBezTo>
                  <a:cubicBezTo>
                    <a:pt x="65408" y="305981"/>
                    <a:pt x="76838" y="287567"/>
                    <a:pt x="78743" y="285662"/>
                  </a:cubicBezTo>
                  <a:cubicBezTo>
                    <a:pt x="85728" y="278042"/>
                    <a:pt x="86998" y="273597"/>
                    <a:pt x="89538" y="270422"/>
                  </a:cubicBezTo>
                  <a:cubicBezTo>
                    <a:pt x="92078" y="267247"/>
                    <a:pt x="96523" y="265977"/>
                    <a:pt x="100333" y="266612"/>
                  </a:cubicBezTo>
                  <a:cubicBezTo>
                    <a:pt x="101603" y="266612"/>
                    <a:pt x="111128" y="267247"/>
                    <a:pt x="116208" y="268517"/>
                  </a:cubicBezTo>
                  <a:cubicBezTo>
                    <a:pt x="121288" y="269152"/>
                    <a:pt x="122558" y="269787"/>
                    <a:pt x="129543" y="271692"/>
                  </a:cubicBezTo>
                  <a:cubicBezTo>
                    <a:pt x="131448" y="272327"/>
                    <a:pt x="131448" y="274231"/>
                    <a:pt x="130178" y="274867"/>
                  </a:cubicBezTo>
                  <a:cubicBezTo>
                    <a:pt x="126368" y="276772"/>
                    <a:pt x="123193" y="276137"/>
                    <a:pt x="121288" y="276772"/>
                  </a:cubicBezTo>
                  <a:cubicBezTo>
                    <a:pt x="118113" y="277406"/>
                    <a:pt x="116208" y="279947"/>
                    <a:pt x="115573" y="281217"/>
                  </a:cubicBezTo>
                  <a:cubicBezTo>
                    <a:pt x="114303" y="284392"/>
                    <a:pt x="112398" y="290106"/>
                    <a:pt x="111763" y="292647"/>
                  </a:cubicBezTo>
                  <a:cubicBezTo>
                    <a:pt x="111128" y="295187"/>
                    <a:pt x="109223" y="302172"/>
                    <a:pt x="112398" y="305347"/>
                  </a:cubicBezTo>
                  <a:cubicBezTo>
                    <a:pt x="114303" y="307252"/>
                    <a:pt x="119383" y="307887"/>
                    <a:pt x="124463" y="308522"/>
                  </a:cubicBezTo>
                  <a:cubicBezTo>
                    <a:pt x="129543" y="308522"/>
                    <a:pt x="147323" y="306617"/>
                    <a:pt x="148593" y="306617"/>
                  </a:cubicBezTo>
                  <a:cubicBezTo>
                    <a:pt x="153038" y="306617"/>
                    <a:pt x="158118" y="306617"/>
                    <a:pt x="161928" y="306617"/>
                  </a:cubicBezTo>
                  <a:cubicBezTo>
                    <a:pt x="163198" y="306617"/>
                    <a:pt x="175263" y="306617"/>
                    <a:pt x="173993" y="302172"/>
                  </a:cubicBezTo>
                  <a:cubicBezTo>
                    <a:pt x="173358" y="299631"/>
                    <a:pt x="168913" y="289472"/>
                    <a:pt x="167643" y="287567"/>
                  </a:cubicBezTo>
                  <a:cubicBezTo>
                    <a:pt x="163198" y="279947"/>
                    <a:pt x="160658" y="278042"/>
                    <a:pt x="158118" y="269787"/>
                  </a:cubicBezTo>
                  <a:cubicBezTo>
                    <a:pt x="156213" y="264072"/>
                    <a:pt x="157483" y="261531"/>
                    <a:pt x="158118" y="258356"/>
                  </a:cubicBezTo>
                  <a:cubicBezTo>
                    <a:pt x="159388" y="255181"/>
                    <a:pt x="161928" y="250102"/>
                    <a:pt x="168278" y="244387"/>
                  </a:cubicBezTo>
                  <a:cubicBezTo>
                    <a:pt x="182248" y="234227"/>
                    <a:pt x="183518" y="232956"/>
                    <a:pt x="179073" y="220892"/>
                  </a:cubicBezTo>
                  <a:lnTo>
                    <a:pt x="179073" y="220892"/>
                  </a:lnTo>
                  <a:close/>
                </a:path>
              </a:pathLst>
            </a:custGeom>
            <a:solidFill>
              <a:srgbClr val="FFFFFF"/>
            </a:solidFill>
            <a:ln w="6350" cap="flat">
              <a:noFill/>
              <a:prstDash val="solid"/>
              <a:miter/>
            </a:ln>
          </p:spPr>
          <p:txBody>
            <a:bodyPr rtlCol="0" anchor="ctr"/>
            <a:lstStyle/>
            <a:p>
              <a:endParaRPr lang="en-GB"/>
            </a:p>
          </p:txBody>
        </p:sp>
        <p:sp>
          <p:nvSpPr>
            <p:cNvPr id="159" name="Freeform 158">
              <a:extLst>
                <a:ext uri="{FF2B5EF4-FFF2-40B4-BE49-F238E27FC236}">
                  <a16:creationId xmlns:a16="http://schemas.microsoft.com/office/drawing/2014/main" id="{2782266F-1F15-227F-9A26-6DE60720D651}"/>
                </a:ext>
              </a:extLst>
            </p:cNvPr>
            <p:cNvSpPr/>
            <p:nvPr/>
          </p:nvSpPr>
          <p:spPr>
            <a:xfrm>
              <a:off x="-7893050" y="3097529"/>
              <a:ext cx="546100" cy="122554"/>
            </a:xfrm>
            <a:custGeom>
              <a:avLst/>
              <a:gdLst>
                <a:gd name="connsiteX0" fmla="*/ 534861 w 546100"/>
                <a:gd name="connsiteY0" fmla="*/ 118435 h 122554"/>
                <a:gd name="connsiteX1" fmla="*/ 534861 w 546100"/>
                <a:gd name="connsiteY1" fmla="*/ 40965 h 122554"/>
                <a:gd name="connsiteX2" fmla="*/ 545656 w 546100"/>
                <a:gd name="connsiteY2" fmla="*/ 44775 h 122554"/>
                <a:gd name="connsiteX3" fmla="*/ 545656 w 546100"/>
                <a:gd name="connsiteY3" fmla="*/ 122245 h 122554"/>
                <a:gd name="connsiteX4" fmla="*/ 534861 w 546100"/>
                <a:gd name="connsiteY4" fmla="*/ 118435 h 122554"/>
                <a:gd name="connsiteX5" fmla="*/ 510096 w 546100"/>
                <a:gd name="connsiteY5" fmla="*/ 109545 h 122554"/>
                <a:gd name="connsiteX6" fmla="*/ 500571 w 546100"/>
                <a:gd name="connsiteY6" fmla="*/ 86050 h 122554"/>
                <a:gd name="connsiteX7" fmla="*/ 491046 w 546100"/>
                <a:gd name="connsiteY7" fmla="*/ 62555 h 122554"/>
                <a:gd name="connsiteX8" fmla="*/ 485966 w 546100"/>
                <a:gd name="connsiteY8" fmla="*/ 48585 h 122554"/>
                <a:gd name="connsiteX9" fmla="*/ 485966 w 546100"/>
                <a:gd name="connsiteY9" fmla="*/ 63825 h 122554"/>
                <a:gd name="connsiteX10" fmla="*/ 485966 w 546100"/>
                <a:gd name="connsiteY10" fmla="*/ 102560 h 122554"/>
                <a:gd name="connsiteX11" fmla="*/ 475171 w 546100"/>
                <a:gd name="connsiteY11" fmla="*/ 100020 h 122554"/>
                <a:gd name="connsiteX12" fmla="*/ 475171 w 546100"/>
                <a:gd name="connsiteY12" fmla="*/ 23185 h 122554"/>
                <a:gd name="connsiteX13" fmla="*/ 485966 w 546100"/>
                <a:gd name="connsiteY13" fmla="*/ 25725 h 122554"/>
                <a:gd name="connsiteX14" fmla="*/ 494221 w 546100"/>
                <a:gd name="connsiteY14" fmla="*/ 46680 h 122554"/>
                <a:gd name="connsiteX15" fmla="*/ 502476 w 546100"/>
                <a:gd name="connsiteY15" fmla="*/ 67635 h 122554"/>
                <a:gd name="connsiteX16" fmla="*/ 507556 w 546100"/>
                <a:gd name="connsiteY16" fmla="*/ 81605 h 122554"/>
                <a:gd name="connsiteX17" fmla="*/ 507556 w 546100"/>
                <a:gd name="connsiteY17" fmla="*/ 65730 h 122554"/>
                <a:gd name="connsiteX18" fmla="*/ 507556 w 546100"/>
                <a:gd name="connsiteY18" fmla="*/ 32075 h 122554"/>
                <a:gd name="connsiteX19" fmla="*/ 518351 w 546100"/>
                <a:gd name="connsiteY19" fmla="*/ 35250 h 122554"/>
                <a:gd name="connsiteX20" fmla="*/ 518351 w 546100"/>
                <a:gd name="connsiteY20" fmla="*/ 112720 h 122554"/>
                <a:gd name="connsiteX21" fmla="*/ 510096 w 546100"/>
                <a:gd name="connsiteY21" fmla="*/ 109545 h 122554"/>
                <a:gd name="connsiteX22" fmla="*/ 510096 w 546100"/>
                <a:gd name="connsiteY22" fmla="*/ 109545 h 122554"/>
                <a:gd name="connsiteX23" fmla="*/ 448501 w 546100"/>
                <a:gd name="connsiteY23" fmla="*/ 93670 h 122554"/>
                <a:gd name="connsiteX24" fmla="*/ 448501 w 546100"/>
                <a:gd name="connsiteY24" fmla="*/ 16835 h 122554"/>
                <a:gd name="connsiteX25" fmla="*/ 459296 w 546100"/>
                <a:gd name="connsiteY25" fmla="*/ 19375 h 122554"/>
                <a:gd name="connsiteX26" fmla="*/ 459296 w 546100"/>
                <a:gd name="connsiteY26" fmla="*/ 96210 h 122554"/>
                <a:gd name="connsiteX27" fmla="*/ 448501 w 546100"/>
                <a:gd name="connsiteY27" fmla="*/ 93670 h 122554"/>
                <a:gd name="connsiteX28" fmla="*/ 421831 w 546100"/>
                <a:gd name="connsiteY28" fmla="*/ 89225 h 122554"/>
                <a:gd name="connsiteX29" fmla="*/ 421831 w 546100"/>
                <a:gd name="connsiteY29" fmla="*/ 53665 h 122554"/>
                <a:gd name="connsiteX30" fmla="*/ 400241 w 546100"/>
                <a:gd name="connsiteY30" fmla="*/ 50490 h 122554"/>
                <a:gd name="connsiteX31" fmla="*/ 400241 w 546100"/>
                <a:gd name="connsiteY31" fmla="*/ 86050 h 122554"/>
                <a:gd name="connsiteX32" fmla="*/ 389446 w 546100"/>
                <a:gd name="connsiteY32" fmla="*/ 84780 h 122554"/>
                <a:gd name="connsiteX33" fmla="*/ 389446 w 546100"/>
                <a:gd name="connsiteY33" fmla="*/ 7310 h 122554"/>
                <a:gd name="connsiteX34" fmla="*/ 400241 w 546100"/>
                <a:gd name="connsiteY34" fmla="*/ 8580 h 122554"/>
                <a:gd name="connsiteX35" fmla="*/ 400241 w 546100"/>
                <a:gd name="connsiteY35" fmla="*/ 39695 h 122554"/>
                <a:gd name="connsiteX36" fmla="*/ 421831 w 546100"/>
                <a:gd name="connsiteY36" fmla="*/ 42870 h 122554"/>
                <a:gd name="connsiteX37" fmla="*/ 421831 w 546100"/>
                <a:gd name="connsiteY37" fmla="*/ 11755 h 122554"/>
                <a:gd name="connsiteX38" fmla="*/ 432626 w 546100"/>
                <a:gd name="connsiteY38" fmla="*/ 13660 h 122554"/>
                <a:gd name="connsiteX39" fmla="*/ 432626 w 546100"/>
                <a:gd name="connsiteY39" fmla="*/ 90495 h 122554"/>
                <a:gd name="connsiteX40" fmla="*/ 421831 w 546100"/>
                <a:gd name="connsiteY40" fmla="*/ 89225 h 122554"/>
                <a:gd name="connsiteX41" fmla="*/ 353886 w 546100"/>
                <a:gd name="connsiteY41" fmla="*/ 82240 h 122554"/>
                <a:gd name="connsiteX42" fmla="*/ 336106 w 546100"/>
                <a:gd name="connsiteY42" fmla="*/ 69540 h 122554"/>
                <a:gd name="connsiteX43" fmla="*/ 330391 w 546100"/>
                <a:gd name="connsiteY43" fmla="*/ 40965 h 122554"/>
                <a:gd name="connsiteX44" fmla="*/ 336106 w 546100"/>
                <a:gd name="connsiteY44" fmla="*/ 12390 h 122554"/>
                <a:gd name="connsiteX45" fmla="*/ 353886 w 546100"/>
                <a:gd name="connsiteY45" fmla="*/ 2230 h 122554"/>
                <a:gd name="connsiteX46" fmla="*/ 374841 w 546100"/>
                <a:gd name="connsiteY46" fmla="*/ 23185 h 122554"/>
                <a:gd name="connsiteX47" fmla="*/ 364046 w 546100"/>
                <a:gd name="connsiteY47" fmla="*/ 25090 h 122554"/>
                <a:gd name="connsiteX48" fmla="*/ 353886 w 546100"/>
                <a:gd name="connsiteY48" fmla="*/ 13025 h 122554"/>
                <a:gd name="connsiteX49" fmla="*/ 344361 w 546100"/>
                <a:gd name="connsiteY49" fmla="*/ 20645 h 122554"/>
                <a:gd name="connsiteX50" fmla="*/ 341186 w 546100"/>
                <a:gd name="connsiteY50" fmla="*/ 40965 h 122554"/>
                <a:gd name="connsiteX51" fmla="*/ 343726 w 546100"/>
                <a:gd name="connsiteY51" fmla="*/ 60650 h 122554"/>
                <a:gd name="connsiteX52" fmla="*/ 353886 w 546100"/>
                <a:gd name="connsiteY52" fmla="*/ 70810 h 122554"/>
                <a:gd name="connsiteX53" fmla="*/ 364046 w 546100"/>
                <a:gd name="connsiteY53" fmla="*/ 58110 h 122554"/>
                <a:gd name="connsiteX54" fmla="*/ 364046 w 546100"/>
                <a:gd name="connsiteY54" fmla="*/ 52395 h 122554"/>
                <a:gd name="connsiteX55" fmla="*/ 355791 w 546100"/>
                <a:gd name="connsiteY55" fmla="*/ 51760 h 122554"/>
                <a:gd name="connsiteX56" fmla="*/ 355791 w 546100"/>
                <a:gd name="connsiteY56" fmla="*/ 40965 h 122554"/>
                <a:gd name="connsiteX57" fmla="*/ 375476 w 546100"/>
                <a:gd name="connsiteY57" fmla="*/ 42870 h 122554"/>
                <a:gd name="connsiteX58" fmla="*/ 375476 w 546100"/>
                <a:gd name="connsiteY58" fmla="*/ 60015 h 122554"/>
                <a:gd name="connsiteX59" fmla="*/ 370396 w 546100"/>
                <a:gd name="connsiteY59" fmla="*/ 75890 h 122554"/>
                <a:gd name="connsiteX60" fmla="*/ 353886 w 546100"/>
                <a:gd name="connsiteY60" fmla="*/ 82240 h 122554"/>
                <a:gd name="connsiteX61" fmla="*/ 353886 w 546100"/>
                <a:gd name="connsiteY61" fmla="*/ 82240 h 122554"/>
                <a:gd name="connsiteX62" fmla="*/ 321501 w 546100"/>
                <a:gd name="connsiteY62" fmla="*/ 79065 h 122554"/>
                <a:gd name="connsiteX63" fmla="*/ 309436 w 546100"/>
                <a:gd name="connsiteY63" fmla="*/ 78430 h 122554"/>
                <a:gd name="connsiteX64" fmla="*/ 303721 w 546100"/>
                <a:gd name="connsiteY64" fmla="*/ 61285 h 122554"/>
                <a:gd name="connsiteX65" fmla="*/ 298006 w 546100"/>
                <a:gd name="connsiteY65" fmla="*/ 44140 h 122554"/>
                <a:gd name="connsiteX66" fmla="*/ 289116 w 546100"/>
                <a:gd name="connsiteY66" fmla="*/ 44140 h 122554"/>
                <a:gd name="connsiteX67" fmla="*/ 289116 w 546100"/>
                <a:gd name="connsiteY67" fmla="*/ 77795 h 122554"/>
                <a:gd name="connsiteX68" fmla="*/ 278321 w 546100"/>
                <a:gd name="connsiteY68" fmla="*/ 77795 h 122554"/>
                <a:gd name="connsiteX69" fmla="*/ 278321 w 546100"/>
                <a:gd name="connsiteY69" fmla="*/ -310 h 122554"/>
                <a:gd name="connsiteX70" fmla="*/ 299911 w 546100"/>
                <a:gd name="connsiteY70" fmla="*/ 325 h 122554"/>
                <a:gd name="connsiteX71" fmla="*/ 315151 w 546100"/>
                <a:gd name="connsiteY71" fmla="*/ 6040 h 122554"/>
                <a:gd name="connsiteX72" fmla="*/ 321501 w 546100"/>
                <a:gd name="connsiteY72" fmla="*/ 23185 h 122554"/>
                <a:gd name="connsiteX73" fmla="*/ 318326 w 546100"/>
                <a:gd name="connsiteY73" fmla="*/ 36520 h 122554"/>
                <a:gd name="connsiteX74" fmla="*/ 309436 w 546100"/>
                <a:gd name="connsiteY74" fmla="*/ 43505 h 122554"/>
                <a:gd name="connsiteX75" fmla="*/ 315786 w 546100"/>
                <a:gd name="connsiteY75" fmla="*/ 61920 h 122554"/>
                <a:gd name="connsiteX76" fmla="*/ 321501 w 546100"/>
                <a:gd name="connsiteY76" fmla="*/ 79065 h 122554"/>
                <a:gd name="connsiteX77" fmla="*/ 321501 w 546100"/>
                <a:gd name="connsiteY77" fmla="*/ 79065 h 122554"/>
                <a:gd name="connsiteX78" fmla="*/ 265621 w 546100"/>
                <a:gd name="connsiteY78" fmla="*/ 39695 h 122554"/>
                <a:gd name="connsiteX79" fmla="*/ 259906 w 546100"/>
                <a:gd name="connsiteY79" fmla="*/ 68270 h 122554"/>
                <a:gd name="connsiteX80" fmla="*/ 242126 w 546100"/>
                <a:gd name="connsiteY80" fmla="*/ 80335 h 122554"/>
                <a:gd name="connsiteX81" fmla="*/ 224346 w 546100"/>
                <a:gd name="connsiteY81" fmla="*/ 69540 h 122554"/>
                <a:gd name="connsiteX82" fmla="*/ 219266 w 546100"/>
                <a:gd name="connsiteY82" fmla="*/ 41600 h 122554"/>
                <a:gd name="connsiteX83" fmla="*/ 224346 w 546100"/>
                <a:gd name="connsiteY83" fmla="*/ 13025 h 122554"/>
                <a:gd name="connsiteX84" fmla="*/ 242126 w 546100"/>
                <a:gd name="connsiteY84" fmla="*/ 325 h 122554"/>
                <a:gd name="connsiteX85" fmla="*/ 259906 w 546100"/>
                <a:gd name="connsiteY85" fmla="*/ 11755 h 122554"/>
                <a:gd name="connsiteX86" fmla="*/ 265621 w 546100"/>
                <a:gd name="connsiteY86" fmla="*/ 39695 h 122554"/>
                <a:gd name="connsiteX87" fmla="*/ 198311 w 546100"/>
                <a:gd name="connsiteY87" fmla="*/ 57475 h 122554"/>
                <a:gd name="connsiteX88" fmla="*/ 186881 w 546100"/>
                <a:gd name="connsiteY88" fmla="*/ 46045 h 122554"/>
                <a:gd name="connsiteX89" fmla="*/ 178626 w 546100"/>
                <a:gd name="connsiteY89" fmla="*/ 46680 h 122554"/>
                <a:gd name="connsiteX90" fmla="*/ 178626 w 546100"/>
                <a:gd name="connsiteY90" fmla="*/ 71445 h 122554"/>
                <a:gd name="connsiteX91" fmla="*/ 188151 w 546100"/>
                <a:gd name="connsiteY91" fmla="*/ 70810 h 122554"/>
                <a:gd name="connsiteX92" fmla="*/ 198311 w 546100"/>
                <a:gd name="connsiteY92" fmla="*/ 57475 h 122554"/>
                <a:gd name="connsiteX93" fmla="*/ 198311 w 546100"/>
                <a:gd name="connsiteY93" fmla="*/ 57475 h 122554"/>
                <a:gd name="connsiteX94" fmla="*/ 209741 w 546100"/>
                <a:gd name="connsiteY94" fmla="*/ 56840 h 122554"/>
                <a:gd name="connsiteX95" fmla="*/ 204026 w 546100"/>
                <a:gd name="connsiteY95" fmla="*/ 74620 h 122554"/>
                <a:gd name="connsiteX96" fmla="*/ 188151 w 546100"/>
                <a:gd name="connsiteY96" fmla="*/ 81605 h 122554"/>
                <a:gd name="connsiteX97" fmla="*/ 167831 w 546100"/>
                <a:gd name="connsiteY97" fmla="*/ 83510 h 122554"/>
                <a:gd name="connsiteX98" fmla="*/ 167831 w 546100"/>
                <a:gd name="connsiteY98" fmla="*/ 6040 h 122554"/>
                <a:gd name="connsiteX99" fmla="*/ 186881 w 546100"/>
                <a:gd name="connsiteY99" fmla="*/ 4135 h 122554"/>
                <a:gd name="connsiteX100" fmla="*/ 202121 w 546100"/>
                <a:gd name="connsiteY100" fmla="*/ 7945 h 122554"/>
                <a:gd name="connsiteX101" fmla="*/ 208471 w 546100"/>
                <a:gd name="connsiteY101" fmla="*/ 23185 h 122554"/>
                <a:gd name="connsiteX102" fmla="*/ 199581 w 546100"/>
                <a:gd name="connsiteY102" fmla="*/ 39695 h 122554"/>
                <a:gd name="connsiteX103" fmla="*/ 209741 w 546100"/>
                <a:gd name="connsiteY103" fmla="*/ 56840 h 122554"/>
                <a:gd name="connsiteX104" fmla="*/ 209741 w 546100"/>
                <a:gd name="connsiteY104" fmla="*/ 56840 h 122554"/>
                <a:gd name="connsiteX105" fmla="*/ 310071 w 546100"/>
                <a:gd name="connsiteY105" fmla="*/ 23185 h 122554"/>
                <a:gd name="connsiteX106" fmla="*/ 298641 w 546100"/>
                <a:gd name="connsiteY106" fmla="*/ 11755 h 122554"/>
                <a:gd name="connsiteX107" fmla="*/ 288481 w 546100"/>
                <a:gd name="connsiteY107" fmla="*/ 11120 h 122554"/>
                <a:gd name="connsiteX108" fmla="*/ 288481 w 546100"/>
                <a:gd name="connsiteY108" fmla="*/ 33980 h 122554"/>
                <a:gd name="connsiteX109" fmla="*/ 298641 w 546100"/>
                <a:gd name="connsiteY109" fmla="*/ 33980 h 122554"/>
                <a:gd name="connsiteX110" fmla="*/ 310071 w 546100"/>
                <a:gd name="connsiteY110" fmla="*/ 23185 h 122554"/>
                <a:gd name="connsiteX111" fmla="*/ 254826 w 546100"/>
                <a:gd name="connsiteY111" fmla="*/ 39695 h 122554"/>
                <a:gd name="connsiteX112" fmla="*/ 252286 w 546100"/>
                <a:gd name="connsiteY112" fmla="*/ 19375 h 122554"/>
                <a:gd name="connsiteX113" fmla="*/ 242761 w 546100"/>
                <a:gd name="connsiteY113" fmla="*/ 10485 h 122554"/>
                <a:gd name="connsiteX114" fmla="*/ 233236 w 546100"/>
                <a:gd name="connsiteY114" fmla="*/ 20010 h 122554"/>
                <a:gd name="connsiteX115" fmla="*/ 230696 w 546100"/>
                <a:gd name="connsiteY115" fmla="*/ 40330 h 122554"/>
                <a:gd name="connsiteX116" fmla="*/ 233236 w 546100"/>
                <a:gd name="connsiteY116" fmla="*/ 60650 h 122554"/>
                <a:gd name="connsiteX117" fmla="*/ 243396 w 546100"/>
                <a:gd name="connsiteY117" fmla="*/ 69540 h 122554"/>
                <a:gd name="connsiteX118" fmla="*/ 252921 w 546100"/>
                <a:gd name="connsiteY118" fmla="*/ 60650 h 122554"/>
                <a:gd name="connsiteX119" fmla="*/ 254826 w 546100"/>
                <a:gd name="connsiteY119" fmla="*/ 39695 h 122554"/>
                <a:gd name="connsiteX120" fmla="*/ 197041 w 546100"/>
                <a:gd name="connsiteY120" fmla="*/ 24455 h 122554"/>
                <a:gd name="connsiteX121" fmla="*/ 186881 w 546100"/>
                <a:gd name="connsiteY121" fmla="*/ 14930 h 122554"/>
                <a:gd name="connsiteX122" fmla="*/ 177991 w 546100"/>
                <a:gd name="connsiteY122" fmla="*/ 15565 h 122554"/>
                <a:gd name="connsiteX123" fmla="*/ 177991 w 546100"/>
                <a:gd name="connsiteY123" fmla="*/ 36520 h 122554"/>
                <a:gd name="connsiteX124" fmla="*/ 186881 w 546100"/>
                <a:gd name="connsiteY124" fmla="*/ 35885 h 122554"/>
                <a:gd name="connsiteX125" fmla="*/ 197041 w 546100"/>
                <a:gd name="connsiteY125" fmla="*/ 24455 h 122554"/>
                <a:gd name="connsiteX126" fmla="*/ 141796 w 546100"/>
                <a:gd name="connsiteY126" fmla="*/ 86050 h 122554"/>
                <a:gd name="connsiteX127" fmla="*/ 141796 w 546100"/>
                <a:gd name="connsiteY127" fmla="*/ 54935 h 122554"/>
                <a:gd name="connsiteX128" fmla="*/ 141796 w 546100"/>
                <a:gd name="connsiteY128" fmla="*/ 35885 h 122554"/>
                <a:gd name="connsiteX129" fmla="*/ 136081 w 546100"/>
                <a:gd name="connsiteY129" fmla="*/ 56840 h 122554"/>
                <a:gd name="connsiteX130" fmla="*/ 131001 w 546100"/>
                <a:gd name="connsiteY130" fmla="*/ 73350 h 122554"/>
                <a:gd name="connsiteX131" fmla="*/ 125921 w 546100"/>
                <a:gd name="connsiteY131" fmla="*/ 90495 h 122554"/>
                <a:gd name="connsiteX132" fmla="*/ 120841 w 546100"/>
                <a:gd name="connsiteY132" fmla="*/ 75255 h 122554"/>
                <a:gd name="connsiteX133" fmla="*/ 115761 w 546100"/>
                <a:gd name="connsiteY133" fmla="*/ 60015 h 122554"/>
                <a:gd name="connsiteX134" fmla="*/ 110046 w 546100"/>
                <a:gd name="connsiteY134" fmla="*/ 40965 h 122554"/>
                <a:gd name="connsiteX135" fmla="*/ 110046 w 546100"/>
                <a:gd name="connsiteY135" fmla="*/ 60015 h 122554"/>
                <a:gd name="connsiteX136" fmla="*/ 110046 w 546100"/>
                <a:gd name="connsiteY136" fmla="*/ 91130 h 122554"/>
                <a:gd name="connsiteX137" fmla="*/ 99886 w 546100"/>
                <a:gd name="connsiteY137" fmla="*/ 93035 h 122554"/>
                <a:gd name="connsiteX138" fmla="*/ 99886 w 546100"/>
                <a:gd name="connsiteY138" fmla="*/ 16200 h 122554"/>
                <a:gd name="connsiteX139" fmla="*/ 111316 w 546100"/>
                <a:gd name="connsiteY139" fmla="*/ 13660 h 122554"/>
                <a:gd name="connsiteX140" fmla="*/ 116396 w 546100"/>
                <a:gd name="connsiteY140" fmla="*/ 28900 h 122554"/>
                <a:gd name="connsiteX141" fmla="*/ 121476 w 546100"/>
                <a:gd name="connsiteY141" fmla="*/ 44140 h 122554"/>
                <a:gd name="connsiteX142" fmla="*/ 125921 w 546100"/>
                <a:gd name="connsiteY142" fmla="*/ 60015 h 122554"/>
                <a:gd name="connsiteX143" fmla="*/ 131001 w 546100"/>
                <a:gd name="connsiteY143" fmla="*/ 42235 h 122554"/>
                <a:gd name="connsiteX144" fmla="*/ 136081 w 546100"/>
                <a:gd name="connsiteY144" fmla="*/ 25725 h 122554"/>
                <a:gd name="connsiteX145" fmla="*/ 141161 w 546100"/>
                <a:gd name="connsiteY145" fmla="*/ 9215 h 122554"/>
                <a:gd name="connsiteX146" fmla="*/ 152591 w 546100"/>
                <a:gd name="connsiteY146" fmla="*/ 7945 h 122554"/>
                <a:gd name="connsiteX147" fmla="*/ 152591 w 546100"/>
                <a:gd name="connsiteY147" fmla="*/ 84780 h 122554"/>
                <a:gd name="connsiteX148" fmla="*/ 141796 w 546100"/>
                <a:gd name="connsiteY148" fmla="*/ 86050 h 122554"/>
                <a:gd name="connsiteX149" fmla="*/ 141796 w 546100"/>
                <a:gd name="connsiteY149" fmla="*/ 86050 h 122554"/>
                <a:gd name="connsiteX150" fmla="*/ 71311 w 546100"/>
                <a:gd name="connsiteY150" fmla="*/ 68905 h 122554"/>
                <a:gd name="connsiteX151" fmla="*/ 68136 w 546100"/>
                <a:gd name="connsiteY151" fmla="*/ 56840 h 122554"/>
                <a:gd name="connsiteX152" fmla="*/ 64961 w 546100"/>
                <a:gd name="connsiteY152" fmla="*/ 40965 h 122554"/>
                <a:gd name="connsiteX153" fmla="*/ 61786 w 546100"/>
                <a:gd name="connsiteY153" fmla="*/ 58745 h 122554"/>
                <a:gd name="connsiteX154" fmla="*/ 59246 w 546100"/>
                <a:gd name="connsiteY154" fmla="*/ 72080 h 122554"/>
                <a:gd name="connsiteX155" fmla="*/ 71311 w 546100"/>
                <a:gd name="connsiteY155" fmla="*/ 68905 h 122554"/>
                <a:gd name="connsiteX156" fmla="*/ 71311 w 546100"/>
                <a:gd name="connsiteY156" fmla="*/ 68905 h 122554"/>
                <a:gd name="connsiteX157" fmla="*/ 89726 w 546100"/>
                <a:gd name="connsiteY157" fmla="*/ 95575 h 122554"/>
                <a:gd name="connsiteX158" fmla="*/ 77661 w 546100"/>
                <a:gd name="connsiteY158" fmla="*/ 98115 h 122554"/>
                <a:gd name="connsiteX159" fmla="*/ 75121 w 546100"/>
                <a:gd name="connsiteY159" fmla="*/ 88590 h 122554"/>
                <a:gd name="connsiteX160" fmla="*/ 72581 w 546100"/>
                <a:gd name="connsiteY160" fmla="*/ 79065 h 122554"/>
                <a:gd name="connsiteX161" fmla="*/ 56071 w 546100"/>
                <a:gd name="connsiteY161" fmla="*/ 83510 h 122554"/>
                <a:gd name="connsiteX162" fmla="*/ 53531 w 546100"/>
                <a:gd name="connsiteY162" fmla="*/ 94305 h 122554"/>
                <a:gd name="connsiteX163" fmla="*/ 51626 w 546100"/>
                <a:gd name="connsiteY163" fmla="*/ 105100 h 122554"/>
                <a:gd name="connsiteX164" fmla="*/ 40196 w 546100"/>
                <a:gd name="connsiteY164" fmla="*/ 108275 h 122554"/>
                <a:gd name="connsiteX165" fmla="*/ 49721 w 546100"/>
                <a:gd name="connsiteY165" fmla="*/ 67000 h 122554"/>
                <a:gd name="connsiteX166" fmla="*/ 59246 w 546100"/>
                <a:gd name="connsiteY166" fmla="*/ 25725 h 122554"/>
                <a:gd name="connsiteX167" fmla="*/ 70676 w 546100"/>
                <a:gd name="connsiteY167" fmla="*/ 23185 h 122554"/>
                <a:gd name="connsiteX168" fmla="*/ 80201 w 546100"/>
                <a:gd name="connsiteY168" fmla="*/ 59380 h 122554"/>
                <a:gd name="connsiteX169" fmla="*/ 89726 w 546100"/>
                <a:gd name="connsiteY169" fmla="*/ 95575 h 122554"/>
                <a:gd name="connsiteX170" fmla="*/ 89726 w 546100"/>
                <a:gd name="connsiteY170" fmla="*/ 95575 h 122554"/>
                <a:gd name="connsiteX171" fmla="*/ -444 w 546100"/>
                <a:gd name="connsiteY171" fmla="*/ 122245 h 122554"/>
                <a:gd name="connsiteX172" fmla="*/ -444 w 546100"/>
                <a:gd name="connsiteY172" fmla="*/ 44775 h 122554"/>
                <a:gd name="connsiteX173" fmla="*/ 10351 w 546100"/>
                <a:gd name="connsiteY173" fmla="*/ 40965 h 122554"/>
                <a:gd name="connsiteX174" fmla="*/ 10351 w 546100"/>
                <a:gd name="connsiteY174" fmla="*/ 108275 h 122554"/>
                <a:gd name="connsiteX175" fmla="*/ 35116 w 546100"/>
                <a:gd name="connsiteY175" fmla="*/ 99385 h 122554"/>
                <a:gd name="connsiteX176" fmla="*/ 35116 w 546100"/>
                <a:gd name="connsiteY176" fmla="*/ 109545 h 122554"/>
                <a:gd name="connsiteX177" fmla="*/ -444 w 546100"/>
                <a:gd name="connsiteY177" fmla="*/ 122245 h 122554"/>
                <a:gd name="connsiteX178" fmla="*/ -444 w 546100"/>
                <a:gd name="connsiteY178" fmla="*/ 122245 h 122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546100" h="122554">
                  <a:moveTo>
                    <a:pt x="534861" y="118435"/>
                  </a:moveTo>
                  <a:lnTo>
                    <a:pt x="534861" y="40965"/>
                  </a:lnTo>
                  <a:cubicBezTo>
                    <a:pt x="538671" y="42235"/>
                    <a:pt x="541846" y="43505"/>
                    <a:pt x="545656" y="44775"/>
                  </a:cubicBezTo>
                  <a:lnTo>
                    <a:pt x="545656" y="122245"/>
                  </a:lnTo>
                  <a:cubicBezTo>
                    <a:pt x="541846" y="120975"/>
                    <a:pt x="538036" y="119705"/>
                    <a:pt x="534861" y="118435"/>
                  </a:cubicBezTo>
                  <a:close/>
                  <a:moveTo>
                    <a:pt x="510096" y="109545"/>
                  </a:moveTo>
                  <a:cubicBezTo>
                    <a:pt x="506921" y="101925"/>
                    <a:pt x="503746" y="93670"/>
                    <a:pt x="500571" y="86050"/>
                  </a:cubicBezTo>
                  <a:cubicBezTo>
                    <a:pt x="497396" y="78430"/>
                    <a:pt x="494221" y="70175"/>
                    <a:pt x="491046" y="62555"/>
                  </a:cubicBezTo>
                  <a:cubicBezTo>
                    <a:pt x="489776" y="58745"/>
                    <a:pt x="486601" y="51125"/>
                    <a:pt x="485966" y="48585"/>
                  </a:cubicBezTo>
                  <a:cubicBezTo>
                    <a:pt x="485966" y="51125"/>
                    <a:pt x="485966" y="60015"/>
                    <a:pt x="485966" y="63825"/>
                  </a:cubicBezTo>
                  <a:lnTo>
                    <a:pt x="485966" y="102560"/>
                  </a:lnTo>
                  <a:lnTo>
                    <a:pt x="475171" y="100020"/>
                  </a:lnTo>
                  <a:lnTo>
                    <a:pt x="475171" y="23185"/>
                  </a:lnTo>
                  <a:cubicBezTo>
                    <a:pt x="478981" y="23820"/>
                    <a:pt x="482156" y="25090"/>
                    <a:pt x="485966" y="25725"/>
                  </a:cubicBezTo>
                  <a:cubicBezTo>
                    <a:pt x="488506" y="32710"/>
                    <a:pt x="491681" y="39695"/>
                    <a:pt x="494221" y="46680"/>
                  </a:cubicBezTo>
                  <a:cubicBezTo>
                    <a:pt x="496761" y="53665"/>
                    <a:pt x="499936" y="60650"/>
                    <a:pt x="502476" y="67635"/>
                  </a:cubicBezTo>
                  <a:cubicBezTo>
                    <a:pt x="503746" y="71445"/>
                    <a:pt x="506921" y="79700"/>
                    <a:pt x="507556" y="81605"/>
                  </a:cubicBezTo>
                  <a:cubicBezTo>
                    <a:pt x="507556" y="78430"/>
                    <a:pt x="507556" y="69540"/>
                    <a:pt x="507556" y="65730"/>
                  </a:cubicBezTo>
                  <a:lnTo>
                    <a:pt x="507556" y="32075"/>
                  </a:lnTo>
                  <a:cubicBezTo>
                    <a:pt x="511366" y="32710"/>
                    <a:pt x="514541" y="33980"/>
                    <a:pt x="518351" y="35250"/>
                  </a:cubicBezTo>
                  <a:lnTo>
                    <a:pt x="518351" y="112720"/>
                  </a:lnTo>
                  <a:cubicBezTo>
                    <a:pt x="515811" y="111450"/>
                    <a:pt x="512636" y="110180"/>
                    <a:pt x="510096" y="109545"/>
                  </a:cubicBezTo>
                  <a:lnTo>
                    <a:pt x="510096" y="109545"/>
                  </a:lnTo>
                  <a:close/>
                  <a:moveTo>
                    <a:pt x="448501" y="93670"/>
                  </a:moveTo>
                  <a:lnTo>
                    <a:pt x="448501" y="16835"/>
                  </a:lnTo>
                  <a:lnTo>
                    <a:pt x="459296" y="19375"/>
                  </a:lnTo>
                  <a:lnTo>
                    <a:pt x="459296" y="96210"/>
                  </a:lnTo>
                  <a:lnTo>
                    <a:pt x="448501" y="93670"/>
                  </a:lnTo>
                  <a:close/>
                  <a:moveTo>
                    <a:pt x="421831" y="89225"/>
                  </a:moveTo>
                  <a:lnTo>
                    <a:pt x="421831" y="53665"/>
                  </a:lnTo>
                  <a:cubicBezTo>
                    <a:pt x="414846" y="52395"/>
                    <a:pt x="407226" y="51125"/>
                    <a:pt x="400241" y="50490"/>
                  </a:cubicBezTo>
                  <a:lnTo>
                    <a:pt x="400241" y="86050"/>
                  </a:lnTo>
                  <a:cubicBezTo>
                    <a:pt x="396431" y="85415"/>
                    <a:pt x="393256" y="85415"/>
                    <a:pt x="389446" y="84780"/>
                  </a:cubicBezTo>
                  <a:lnTo>
                    <a:pt x="389446" y="7310"/>
                  </a:lnTo>
                  <a:cubicBezTo>
                    <a:pt x="393256" y="7945"/>
                    <a:pt x="396431" y="7945"/>
                    <a:pt x="400241" y="8580"/>
                  </a:cubicBezTo>
                  <a:lnTo>
                    <a:pt x="400241" y="39695"/>
                  </a:lnTo>
                  <a:cubicBezTo>
                    <a:pt x="407226" y="40330"/>
                    <a:pt x="414846" y="41600"/>
                    <a:pt x="421831" y="42870"/>
                  </a:cubicBezTo>
                  <a:lnTo>
                    <a:pt x="421831" y="11755"/>
                  </a:lnTo>
                  <a:cubicBezTo>
                    <a:pt x="425641" y="12390"/>
                    <a:pt x="428816" y="13025"/>
                    <a:pt x="432626" y="13660"/>
                  </a:cubicBezTo>
                  <a:lnTo>
                    <a:pt x="432626" y="90495"/>
                  </a:lnTo>
                  <a:cubicBezTo>
                    <a:pt x="428816" y="89860"/>
                    <a:pt x="425641" y="89225"/>
                    <a:pt x="421831" y="89225"/>
                  </a:cubicBezTo>
                  <a:close/>
                  <a:moveTo>
                    <a:pt x="353886" y="82240"/>
                  </a:moveTo>
                  <a:cubicBezTo>
                    <a:pt x="345631" y="81605"/>
                    <a:pt x="339916" y="76525"/>
                    <a:pt x="336106" y="69540"/>
                  </a:cubicBezTo>
                  <a:cubicBezTo>
                    <a:pt x="332296" y="61920"/>
                    <a:pt x="330391" y="52395"/>
                    <a:pt x="330391" y="40965"/>
                  </a:cubicBezTo>
                  <a:cubicBezTo>
                    <a:pt x="330391" y="29535"/>
                    <a:pt x="332296" y="19375"/>
                    <a:pt x="336106" y="12390"/>
                  </a:cubicBezTo>
                  <a:cubicBezTo>
                    <a:pt x="339916" y="5405"/>
                    <a:pt x="346266" y="1595"/>
                    <a:pt x="353886" y="2230"/>
                  </a:cubicBezTo>
                  <a:cubicBezTo>
                    <a:pt x="366586" y="3500"/>
                    <a:pt x="372301" y="11120"/>
                    <a:pt x="374841" y="23185"/>
                  </a:cubicBezTo>
                  <a:cubicBezTo>
                    <a:pt x="371031" y="23820"/>
                    <a:pt x="367856" y="24455"/>
                    <a:pt x="364046" y="25090"/>
                  </a:cubicBezTo>
                  <a:cubicBezTo>
                    <a:pt x="362141" y="16835"/>
                    <a:pt x="359601" y="13660"/>
                    <a:pt x="353886" y="13025"/>
                  </a:cubicBezTo>
                  <a:cubicBezTo>
                    <a:pt x="349441" y="13025"/>
                    <a:pt x="346266" y="15565"/>
                    <a:pt x="344361" y="20645"/>
                  </a:cubicBezTo>
                  <a:cubicBezTo>
                    <a:pt x="342456" y="25725"/>
                    <a:pt x="341186" y="32710"/>
                    <a:pt x="341186" y="40965"/>
                  </a:cubicBezTo>
                  <a:cubicBezTo>
                    <a:pt x="341186" y="47315"/>
                    <a:pt x="341821" y="54935"/>
                    <a:pt x="343726" y="60650"/>
                  </a:cubicBezTo>
                  <a:cubicBezTo>
                    <a:pt x="345631" y="66365"/>
                    <a:pt x="348806" y="70175"/>
                    <a:pt x="353886" y="70810"/>
                  </a:cubicBezTo>
                  <a:cubicBezTo>
                    <a:pt x="360871" y="71445"/>
                    <a:pt x="364046" y="67000"/>
                    <a:pt x="364046" y="58110"/>
                  </a:cubicBezTo>
                  <a:lnTo>
                    <a:pt x="364046" y="52395"/>
                  </a:lnTo>
                  <a:cubicBezTo>
                    <a:pt x="361506" y="51760"/>
                    <a:pt x="358331" y="51760"/>
                    <a:pt x="355791" y="51760"/>
                  </a:cubicBezTo>
                  <a:lnTo>
                    <a:pt x="355791" y="40965"/>
                  </a:lnTo>
                  <a:lnTo>
                    <a:pt x="375476" y="42870"/>
                  </a:lnTo>
                  <a:lnTo>
                    <a:pt x="375476" y="60015"/>
                  </a:lnTo>
                  <a:cubicBezTo>
                    <a:pt x="375476" y="66365"/>
                    <a:pt x="373571" y="72080"/>
                    <a:pt x="370396" y="75890"/>
                  </a:cubicBezTo>
                  <a:cubicBezTo>
                    <a:pt x="367221" y="80335"/>
                    <a:pt x="361506" y="82875"/>
                    <a:pt x="353886" y="82240"/>
                  </a:cubicBezTo>
                  <a:lnTo>
                    <a:pt x="353886" y="82240"/>
                  </a:lnTo>
                  <a:close/>
                  <a:moveTo>
                    <a:pt x="321501" y="79065"/>
                  </a:moveTo>
                  <a:cubicBezTo>
                    <a:pt x="317691" y="79065"/>
                    <a:pt x="313246" y="78430"/>
                    <a:pt x="309436" y="78430"/>
                  </a:cubicBezTo>
                  <a:cubicBezTo>
                    <a:pt x="307531" y="72715"/>
                    <a:pt x="305626" y="67000"/>
                    <a:pt x="303721" y="61285"/>
                  </a:cubicBezTo>
                  <a:cubicBezTo>
                    <a:pt x="301816" y="55570"/>
                    <a:pt x="299911" y="49855"/>
                    <a:pt x="298006" y="44140"/>
                  </a:cubicBezTo>
                  <a:cubicBezTo>
                    <a:pt x="294831" y="44140"/>
                    <a:pt x="291656" y="44140"/>
                    <a:pt x="289116" y="44140"/>
                  </a:cubicBezTo>
                  <a:lnTo>
                    <a:pt x="289116" y="77795"/>
                  </a:lnTo>
                  <a:lnTo>
                    <a:pt x="278321" y="77795"/>
                  </a:lnTo>
                  <a:lnTo>
                    <a:pt x="278321" y="-310"/>
                  </a:lnTo>
                  <a:cubicBezTo>
                    <a:pt x="285306" y="-310"/>
                    <a:pt x="292926" y="-310"/>
                    <a:pt x="299911" y="325"/>
                  </a:cubicBezTo>
                  <a:cubicBezTo>
                    <a:pt x="305626" y="325"/>
                    <a:pt x="311341" y="2230"/>
                    <a:pt x="315151" y="6040"/>
                  </a:cubicBezTo>
                  <a:cubicBezTo>
                    <a:pt x="318961" y="9850"/>
                    <a:pt x="321501" y="14930"/>
                    <a:pt x="321501" y="23185"/>
                  </a:cubicBezTo>
                  <a:cubicBezTo>
                    <a:pt x="321501" y="28900"/>
                    <a:pt x="320231" y="33345"/>
                    <a:pt x="318326" y="36520"/>
                  </a:cubicBezTo>
                  <a:cubicBezTo>
                    <a:pt x="316421" y="39695"/>
                    <a:pt x="313246" y="42235"/>
                    <a:pt x="309436" y="43505"/>
                  </a:cubicBezTo>
                  <a:cubicBezTo>
                    <a:pt x="311341" y="49220"/>
                    <a:pt x="313246" y="55570"/>
                    <a:pt x="315786" y="61920"/>
                  </a:cubicBezTo>
                  <a:cubicBezTo>
                    <a:pt x="317691" y="67635"/>
                    <a:pt x="319596" y="73350"/>
                    <a:pt x="321501" y="79065"/>
                  </a:cubicBezTo>
                  <a:lnTo>
                    <a:pt x="321501" y="79065"/>
                  </a:lnTo>
                  <a:close/>
                  <a:moveTo>
                    <a:pt x="265621" y="39695"/>
                  </a:moveTo>
                  <a:cubicBezTo>
                    <a:pt x="265621" y="51125"/>
                    <a:pt x="263716" y="61285"/>
                    <a:pt x="259906" y="68270"/>
                  </a:cubicBezTo>
                  <a:cubicBezTo>
                    <a:pt x="256096" y="75255"/>
                    <a:pt x="250381" y="79700"/>
                    <a:pt x="242126" y="80335"/>
                  </a:cubicBezTo>
                  <a:cubicBezTo>
                    <a:pt x="233871" y="80335"/>
                    <a:pt x="228156" y="76525"/>
                    <a:pt x="224346" y="69540"/>
                  </a:cubicBezTo>
                  <a:cubicBezTo>
                    <a:pt x="220536" y="62555"/>
                    <a:pt x="219266" y="53030"/>
                    <a:pt x="219266" y="41600"/>
                  </a:cubicBezTo>
                  <a:cubicBezTo>
                    <a:pt x="219266" y="30170"/>
                    <a:pt x="221171" y="20010"/>
                    <a:pt x="224346" y="13025"/>
                  </a:cubicBezTo>
                  <a:cubicBezTo>
                    <a:pt x="228156" y="5405"/>
                    <a:pt x="233871" y="960"/>
                    <a:pt x="242126" y="325"/>
                  </a:cubicBezTo>
                  <a:cubicBezTo>
                    <a:pt x="250381" y="325"/>
                    <a:pt x="256096" y="4770"/>
                    <a:pt x="259906" y="11755"/>
                  </a:cubicBezTo>
                  <a:cubicBezTo>
                    <a:pt x="263716" y="18105"/>
                    <a:pt x="265621" y="28265"/>
                    <a:pt x="265621" y="39695"/>
                  </a:cubicBezTo>
                  <a:close/>
                  <a:moveTo>
                    <a:pt x="198311" y="57475"/>
                  </a:moveTo>
                  <a:cubicBezTo>
                    <a:pt x="198311" y="48585"/>
                    <a:pt x="193231" y="45410"/>
                    <a:pt x="186881" y="46045"/>
                  </a:cubicBezTo>
                  <a:cubicBezTo>
                    <a:pt x="183706" y="46680"/>
                    <a:pt x="181166" y="46680"/>
                    <a:pt x="178626" y="46680"/>
                  </a:cubicBezTo>
                  <a:lnTo>
                    <a:pt x="178626" y="71445"/>
                  </a:lnTo>
                  <a:cubicBezTo>
                    <a:pt x="181801" y="71445"/>
                    <a:pt x="184976" y="70810"/>
                    <a:pt x="188151" y="70810"/>
                  </a:cubicBezTo>
                  <a:cubicBezTo>
                    <a:pt x="194501" y="70810"/>
                    <a:pt x="198311" y="67000"/>
                    <a:pt x="198311" y="57475"/>
                  </a:cubicBezTo>
                  <a:lnTo>
                    <a:pt x="198311" y="57475"/>
                  </a:lnTo>
                  <a:close/>
                  <a:moveTo>
                    <a:pt x="209741" y="56840"/>
                  </a:moveTo>
                  <a:cubicBezTo>
                    <a:pt x="209741" y="64460"/>
                    <a:pt x="207201" y="70175"/>
                    <a:pt x="204026" y="74620"/>
                  </a:cubicBezTo>
                  <a:cubicBezTo>
                    <a:pt x="200216" y="79065"/>
                    <a:pt x="195136" y="80970"/>
                    <a:pt x="188151" y="81605"/>
                  </a:cubicBezTo>
                  <a:cubicBezTo>
                    <a:pt x="181166" y="82240"/>
                    <a:pt x="174816" y="82875"/>
                    <a:pt x="167831" y="83510"/>
                  </a:cubicBezTo>
                  <a:lnTo>
                    <a:pt x="167831" y="6040"/>
                  </a:lnTo>
                  <a:cubicBezTo>
                    <a:pt x="174181" y="5405"/>
                    <a:pt x="180531" y="4770"/>
                    <a:pt x="186881" y="4135"/>
                  </a:cubicBezTo>
                  <a:cubicBezTo>
                    <a:pt x="193231" y="3500"/>
                    <a:pt x="198311" y="4770"/>
                    <a:pt x="202121" y="7945"/>
                  </a:cubicBezTo>
                  <a:cubicBezTo>
                    <a:pt x="205931" y="11120"/>
                    <a:pt x="208471" y="16200"/>
                    <a:pt x="208471" y="23185"/>
                  </a:cubicBezTo>
                  <a:cubicBezTo>
                    <a:pt x="208471" y="29535"/>
                    <a:pt x="205931" y="36520"/>
                    <a:pt x="199581" y="39695"/>
                  </a:cubicBezTo>
                  <a:cubicBezTo>
                    <a:pt x="205931" y="41600"/>
                    <a:pt x="209741" y="48585"/>
                    <a:pt x="209741" y="56840"/>
                  </a:cubicBezTo>
                  <a:lnTo>
                    <a:pt x="209741" y="56840"/>
                  </a:lnTo>
                  <a:close/>
                  <a:moveTo>
                    <a:pt x="310071" y="23185"/>
                  </a:moveTo>
                  <a:cubicBezTo>
                    <a:pt x="310071" y="14930"/>
                    <a:pt x="305626" y="11755"/>
                    <a:pt x="298641" y="11755"/>
                  </a:cubicBezTo>
                  <a:cubicBezTo>
                    <a:pt x="295466" y="11755"/>
                    <a:pt x="291656" y="11755"/>
                    <a:pt x="288481" y="11120"/>
                  </a:cubicBezTo>
                  <a:lnTo>
                    <a:pt x="288481" y="33980"/>
                  </a:lnTo>
                  <a:cubicBezTo>
                    <a:pt x="291656" y="33980"/>
                    <a:pt x="295466" y="33980"/>
                    <a:pt x="298641" y="33980"/>
                  </a:cubicBezTo>
                  <a:cubicBezTo>
                    <a:pt x="306261" y="34615"/>
                    <a:pt x="310071" y="31440"/>
                    <a:pt x="310071" y="23185"/>
                  </a:cubicBezTo>
                  <a:close/>
                  <a:moveTo>
                    <a:pt x="254826" y="39695"/>
                  </a:moveTo>
                  <a:cubicBezTo>
                    <a:pt x="254826" y="32075"/>
                    <a:pt x="254191" y="25090"/>
                    <a:pt x="252286" y="19375"/>
                  </a:cubicBezTo>
                  <a:cubicBezTo>
                    <a:pt x="250381" y="13660"/>
                    <a:pt x="247206" y="10485"/>
                    <a:pt x="242761" y="10485"/>
                  </a:cubicBezTo>
                  <a:cubicBezTo>
                    <a:pt x="237681" y="10485"/>
                    <a:pt x="235141" y="14295"/>
                    <a:pt x="233236" y="20010"/>
                  </a:cubicBezTo>
                  <a:cubicBezTo>
                    <a:pt x="231331" y="25725"/>
                    <a:pt x="230696" y="32710"/>
                    <a:pt x="230696" y="40330"/>
                  </a:cubicBezTo>
                  <a:cubicBezTo>
                    <a:pt x="230696" y="47315"/>
                    <a:pt x="231331" y="54935"/>
                    <a:pt x="233236" y="60650"/>
                  </a:cubicBezTo>
                  <a:cubicBezTo>
                    <a:pt x="235141" y="65730"/>
                    <a:pt x="238316" y="69540"/>
                    <a:pt x="243396" y="69540"/>
                  </a:cubicBezTo>
                  <a:cubicBezTo>
                    <a:pt x="247841" y="69540"/>
                    <a:pt x="251016" y="65730"/>
                    <a:pt x="252921" y="60650"/>
                  </a:cubicBezTo>
                  <a:cubicBezTo>
                    <a:pt x="254191" y="54300"/>
                    <a:pt x="254826" y="47315"/>
                    <a:pt x="254826" y="39695"/>
                  </a:cubicBezTo>
                  <a:close/>
                  <a:moveTo>
                    <a:pt x="197041" y="24455"/>
                  </a:moveTo>
                  <a:cubicBezTo>
                    <a:pt x="197041" y="16835"/>
                    <a:pt x="192596" y="14295"/>
                    <a:pt x="186881" y="14930"/>
                  </a:cubicBezTo>
                  <a:cubicBezTo>
                    <a:pt x="183706" y="14930"/>
                    <a:pt x="181166" y="15565"/>
                    <a:pt x="177991" y="15565"/>
                  </a:cubicBezTo>
                  <a:lnTo>
                    <a:pt x="177991" y="36520"/>
                  </a:lnTo>
                  <a:cubicBezTo>
                    <a:pt x="180531" y="35885"/>
                    <a:pt x="183706" y="35885"/>
                    <a:pt x="186881" y="35885"/>
                  </a:cubicBezTo>
                  <a:cubicBezTo>
                    <a:pt x="192596" y="35250"/>
                    <a:pt x="197041" y="31440"/>
                    <a:pt x="197041" y="24455"/>
                  </a:cubicBezTo>
                  <a:close/>
                  <a:moveTo>
                    <a:pt x="141796" y="86050"/>
                  </a:moveTo>
                  <a:lnTo>
                    <a:pt x="141796" y="54935"/>
                  </a:lnTo>
                  <a:cubicBezTo>
                    <a:pt x="141796" y="49855"/>
                    <a:pt x="141796" y="39060"/>
                    <a:pt x="141796" y="35885"/>
                  </a:cubicBezTo>
                  <a:cubicBezTo>
                    <a:pt x="141161" y="39060"/>
                    <a:pt x="137351" y="51125"/>
                    <a:pt x="136081" y="56840"/>
                  </a:cubicBezTo>
                  <a:cubicBezTo>
                    <a:pt x="134176" y="62555"/>
                    <a:pt x="132271" y="67635"/>
                    <a:pt x="131001" y="73350"/>
                  </a:cubicBezTo>
                  <a:lnTo>
                    <a:pt x="125921" y="90495"/>
                  </a:lnTo>
                  <a:lnTo>
                    <a:pt x="120841" y="75255"/>
                  </a:lnTo>
                  <a:cubicBezTo>
                    <a:pt x="118936" y="70175"/>
                    <a:pt x="117666" y="65095"/>
                    <a:pt x="115761" y="60015"/>
                  </a:cubicBezTo>
                  <a:cubicBezTo>
                    <a:pt x="113856" y="54935"/>
                    <a:pt x="110681" y="44140"/>
                    <a:pt x="110046" y="40965"/>
                  </a:cubicBezTo>
                  <a:cubicBezTo>
                    <a:pt x="110046" y="44140"/>
                    <a:pt x="110046" y="54935"/>
                    <a:pt x="110046" y="60015"/>
                  </a:cubicBezTo>
                  <a:lnTo>
                    <a:pt x="110046" y="91130"/>
                  </a:lnTo>
                  <a:cubicBezTo>
                    <a:pt x="106871" y="91765"/>
                    <a:pt x="103061" y="92400"/>
                    <a:pt x="99886" y="93035"/>
                  </a:cubicBezTo>
                  <a:lnTo>
                    <a:pt x="99886" y="16200"/>
                  </a:lnTo>
                  <a:cubicBezTo>
                    <a:pt x="103696" y="15565"/>
                    <a:pt x="107506" y="14930"/>
                    <a:pt x="111316" y="13660"/>
                  </a:cubicBezTo>
                  <a:lnTo>
                    <a:pt x="116396" y="28900"/>
                  </a:lnTo>
                  <a:cubicBezTo>
                    <a:pt x="118301" y="33980"/>
                    <a:pt x="119571" y="39060"/>
                    <a:pt x="121476" y="44140"/>
                  </a:cubicBezTo>
                  <a:cubicBezTo>
                    <a:pt x="122746" y="48585"/>
                    <a:pt x="125286" y="57475"/>
                    <a:pt x="125921" y="60015"/>
                  </a:cubicBezTo>
                  <a:cubicBezTo>
                    <a:pt x="126556" y="56840"/>
                    <a:pt x="129731" y="46680"/>
                    <a:pt x="131001" y="42235"/>
                  </a:cubicBezTo>
                  <a:cubicBezTo>
                    <a:pt x="132271" y="36520"/>
                    <a:pt x="134176" y="31440"/>
                    <a:pt x="136081" y="25725"/>
                  </a:cubicBezTo>
                  <a:cubicBezTo>
                    <a:pt x="137986" y="20010"/>
                    <a:pt x="139256" y="14930"/>
                    <a:pt x="141161" y="9215"/>
                  </a:cubicBezTo>
                  <a:cubicBezTo>
                    <a:pt x="144971" y="8580"/>
                    <a:pt x="148781" y="8580"/>
                    <a:pt x="152591" y="7945"/>
                  </a:cubicBezTo>
                  <a:lnTo>
                    <a:pt x="152591" y="84780"/>
                  </a:lnTo>
                  <a:cubicBezTo>
                    <a:pt x="148781" y="85415"/>
                    <a:pt x="144971" y="86050"/>
                    <a:pt x="141796" y="86050"/>
                  </a:cubicBezTo>
                  <a:lnTo>
                    <a:pt x="141796" y="86050"/>
                  </a:lnTo>
                  <a:close/>
                  <a:moveTo>
                    <a:pt x="71311" y="68905"/>
                  </a:moveTo>
                  <a:cubicBezTo>
                    <a:pt x="70676" y="65095"/>
                    <a:pt x="69406" y="61285"/>
                    <a:pt x="68136" y="56840"/>
                  </a:cubicBezTo>
                  <a:cubicBezTo>
                    <a:pt x="67501" y="51760"/>
                    <a:pt x="65596" y="43505"/>
                    <a:pt x="64961" y="40965"/>
                  </a:cubicBezTo>
                  <a:cubicBezTo>
                    <a:pt x="64326" y="44140"/>
                    <a:pt x="62421" y="53030"/>
                    <a:pt x="61786" y="58745"/>
                  </a:cubicBezTo>
                  <a:cubicBezTo>
                    <a:pt x="61151" y="63190"/>
                    <a:pt x="59881" y="67635"/>
                    <a:pt x="59246" y="72080"/>
                  </a:cubicBezTo>
                  <a:cubicBezTo>
                    <a:pt x="63056" y="70810"/>
                    <a:pt x="67501" y="70175"/>
                    <a:pt x="71311" y="68905"/>
                  </a:cubicBezTo>
                  <a:lnTo>
                    <a:pt x="71311" y="68905"/>
                  </a:lnTo>
                  <a:close/>
                  <a:moveTo>
                    <a:pt x="89726" y="95575"/>
                  </a:moveTo>
                  <a:cubicBezTo>
                    <a:pt x="85916" y="96210"/>
                    <a:pt x="81471" y="97480"/>
                    <a:pt x="77661" y="98115"/>
                  </a:cubicBezTo>
                  <a:cubicBezTo>
                    <a:pt x="77026" y="94940"/>
                    <a:pt x="76391" y="91765"/>
                    <a:pt x="75121" y="88590"/>
                  </a:cubicBezTo>
                  <a:lnTo>
                    <a:pt x="72581" y="79065"/>
                  </a:lnTo>
                  <a:cubicBezTo>
                    <a:pt x="66866" y="80335"/>
                    <a:pt x="61151" y="81605"/>
                    <a:pt x="56071" y="83510"/>
                  </a:cubicBezTo>
                  <a:cubicBezTo>
                    <a:pt x="55436" y="87320"/>
                    <a:pt x="54166" y="91130"/>
                    <a:pt x="53531" y="94305"/>
                  </a:cubicBezTo>
                  <a:cubicBezTo>
                    <a:pt x="52896" y="98115"/>
                    <a:pt x="52261" y="101925"/>
                    <a:pt x="51626" y="105100"/>
                  </a:cubicBezTo>
                  <a:cubicBezTo>
                    <a:pt x="47816" y="106370"/>
                    <a:pt x="44006" y="107640"/>
                    <a:pt x="40196" y="108275"/>
                  </a:cubicBezTo>
                  <a:cubicBezTo>
                    <a:pt x="43371" y="94305"/>
                    <a:pt x="46546" y="80335"/>
                    <a:pt x="49721" y="67000"/>
                  </a:cubicBezTo>
                  <a:cubicBezTo>
                    <a:pt x="52896" y="53665"/>
                    <a:pt x="56071" y="39695"/>
                    <a:pt x="59246" y="25725"/>
                  </a:cubicBezTo>
                  <a:cubicBezTo>
                    <a:pt x="63056" y="24455"/>
                    <a:pt x="66866" y="23820"/>
                    <a:pt x="70676" y="23185"/>
                  </a:cubicBezTo>
                  <a:cubicBezTo>
                    <a:pt x="73851" y="35250"/>
                    <a:pt x="77026" y="47315"/>
                    <a:pt x="80201" y="59380"/>
                  </a:cubicBezTo>
                  <a:cubicBezTo>
                    <a:pt x="83376" y="70810"/>
                    <a:pt x="86551" y="82875"/>
                    <a:pt x="89726" y="95575"/>
                  </a:cubicBezTo>
                  <a:lnTo>
                    <a:pt x="89726" y="95575"/>
                  </a:lnTo>
                  <a:close/>
                  <a:moveTo>
                    <a:pt x="-444" y="122245"/>
                  </a:moveTo>
                  <a:lnTo>
                    <a:pt x="-444" y="44775"/>
                  </a:lnTo>
                  <a:cubicBezTo>
                    <a:pt x="3366" y="43505"/>
                    <a:pt x="6541" y="42235"/>
                    <a:pt x="10351" y="40965"/>
                  </a:cubicBezTo>
                  <a:lnTo>
                    <a:pt x="10351" y="108275"/>
                  </a:lnTo>
                  <a:cubicBezTo>
                    <a:pt x="18606" y="105100"/>
                    <a:pt x="26861" y="102560"/>
                    <a:pt x="35116" y="99385"/>
                  </a:cubicBezTo>
                  <a:lnTo>
                    <a:pt x="35116" y="109545"/>
                  </a:lnTo>
                  <a:cubicBezTo>
                    <a:pt x="23051" y="113990"/>
                    <a:pt x="11621" y="117800"/>
                    <a:pt x="-444" y="122245"/>
                  </a:cubicBezTo>
                  <a:lnTo>
                    <a:pt x="-444" y="122245"/>
                  </a:lnTo>
                  <a:close/>
                </a:path>
              </a:pathLst>
            </a:custGeom>
            <a:solidFill>
              <a:srgbClr val="FFFFFF"/>
            </a:solidFill>
            <a:ln w="6350" cap="flat">
              <a:noFill/>
              <a:prstDash val="solid"/>
              <a:miter/>
            </a:ln>
          </p:spPr>
          <p:txBody>
            <a:bodyPr rtlCol="0" anchor="ctr"/>
            <a:lstStyle/>
            <a:p>
              <a:endParaRPr lang="en-GB"/>
            </a:p>
          </p:txBody>
        </p:sp>
      </p:grpSp>
      <p:sp>
        <p:nvSpPr>
          <p:cNvPr id="160" name="Freeform 159">
            <a:extLst>
              <a:ext uri="{FF2B5EF4-FFF2-40B4-BE49-F238E27FC236}">
                <a16:creationId xmlns:a16="http://schemas.microsoft.com/office/drawing/2014/main" id="{44680817-AA6E-C894-9179-FA0EC1DAA935}"/>
              </a:ext>
            </a:extLst>
          </p:cNvPr>
          <p:cNvSpPr/>
          <p:nvPr userDrawn="1"/>
        </p:nvSpPr>
        <p:spPr>
          <a:xfrm>
            <a:off x="2434591" y="4420937"/>
            <a:ext cx="972819" cy="279332"/>
          </a:xfrm>
          <a:custGeom>
            <a:avLst/>
            <a:gdLst>
              <a:gd name="connsiteX0" fmla="*/ 530225 w 972819"/>
              <a:gd name="connsiteY0" fmla="*/ 220277 h 279332"/>
              <a:gd name="connsiteX1" fmla="*/ 518795 w 972819"/>
              <a:gd name="connsiteY1" fmla="*/ 208847 h 279332"/>
              <a:gd name="connsiteX2" fmla="*/ 563245 w 972819"/>
              <a:gd name="connsiteY2" fmla="*/ 155507 h 279332"/>
              <a:gd name="connsiteX3" fmla="*/ 564515 w 972819"/>
              <a:gd name="connsiteY3" fmla="*/ 156142 h 279332"/>
              <a:gd name="connsiteX4" fmla="*/ 565150 w 972819"/>
              <a:gd name="connsiteY4" fmla="*/ 157412 h 279332"/>
              <a:gd name="connsiteX5" fmla="*/ 573405 w 972819"/>
              <a:gd name="connsiteY5" fmla="*/ 170112 h 279332"/>
              <a:gd name="connsiteX6" fmla="*/ 574040 w 972819"/>
              <a:gd name="connsiteY6" fmla="*/ 170747 h 279332"/>
              <a:gd name="connsiteX7" fmla="*/ 574040 w 972819"/>
              <a:gd name="connsiteY7" fmla="*/ 171382 h 279332"/>
              <a:gd name="connsiteX8" fmla="*/ 530225 w 972819"/>
              <a:gd name="connsiteY8" fmla="*/ 220277 h 279332"/>
              <a:gd name="connsiteX9" fmla="*/ 123825 w 972819"/>
              <a:gd name="connsiteY9" fmla="*/ 248217 h 279332"/>
              <a:gd name="connsiteX10" fmla="*/ 74930 w 972819"/>
              <a:gd name="connsiteY10" fmla="*/ 243137 h 279332"/>
              <a:gd name="connsiteX11" fmla="*/ 281305 w 972819"/>
              <a:gd name="connsiteY11" fmla="*/ 179002 h 279332"/>
              <a:gd name="connsiteX12" fmla="*/ 281940 w 972819"/>
              <a:gd name="connsiteY12" fmla="*/ 179002 h 279332"/>
              <a:gd name="connsiteX13" fmla="*/ 282575 w 972819"/>
              <a:gd name="connsiteY13" fmla="*/ 179637 h 279332"/>
              <a:gd name="connsiteX14" fmla="*/ 283210 w 972819"/>
              <a:gd name="connsiteY14" fmla="*/ 180272 h 279332"/>
              <a:gd name="connsiteX15" fmla="*/ 283210 w 972819"/>
              <a:gd name="connsiteY15" fmla="*/ 180907 h 279332"/>
              <a:gd name="connsiteX16" fmla="*/ 123825 w 972819"/>
              <a:gd name="connsiteY16" fmla="*/ 248217 h 279332"/>
              <a:gd name="connsiteX17" fmla="*/ 874395 w 972819"/>
              <a:gd name="connsiteY17" fmla="*/ 223452 h 279332"/>
              <a:gd name="connsiteX18" fmla="*/ 852805 w 972819"/>
              <a:gd name="connsiteY18" fmla="*/ 156142 h 279332"/>
              <a:gd name="connsiteX19" fmla="*/ 859155 w 972819"/>
              <a:gd name="connsiteY19" fmla="*/ 144712 h 279332"/>
              <a:gd name="connsiteX20" fmla="*/ 862330 w 972819"/>
              <a:gd name="connsiteY20" fmla="*/ 141537 h 279332"/>
              <a:gd name="connsiteX21" fmla="*/ 866140 w 972819"/>
              <a:gd name="connsiteY21" fmla="*/ 140267 h 279332"/>
              <a:gd name="connsiteX22" fmla="*/ 905510 w 972819"/>
              <a:gd name="connsiteY22" fmla="*/ 138997 h 279332"/>
              <a:gd name="connsiteX23" fmla="*/ 906780 w 972819"/>
              <a:gd name="connsiteY23" fmla="*/ 138362 h 279332"/>
              <a:gd name="connsiteX24" fmla="*/ 907415 w 972819"/>
              <a:gd name="connsiteY24" fmla="*/ 137092 h 279332"/>
              <a:gd name="connsiteX25" fmla="*/ 920750 w 972819"/>
              <a:gd name="connsiteY25" fmla="*/ 107882 h 279332"/>
              <a:gd name="connsiteX26" fmla="*/ 920750 w 972819"/>
              <a:gd name="connsiteY26" fmla="*/ 107247 h 279332"/>
              <a:gd name="connsiteX27" fmla="*/ 920750 w 972819"/>
              <a:gd name="connsiteY27" fmla="*/ 106612 h 279332"/>
              <a:gd name="connsiteX28" fmla="*/ 920115 w 972819"/>
              <a:gd name="connsiteY28" fmla="*/ 105977 h 279332"/>
              <a:gd name="connsiteX29" fmla="*/ 919480 w 972819"/>
              <a:gd name="connsiteY29" fmla="*/ 105977 h 279332"/>
              <a:gd name="connsiteX30" fmla="*/ 880110 w 972819"/>
              <a:gd name="connsiteY30" fmla="*/ 106612 h 279332"/>
              <a:gd name="connsiteX31" fmla="*/ 879475 w 972819"/>
              <a:gd name="connsiteY31" fmla="*/ 106612 h 279332"/>
              <a:gd name="connsiteX32" fmla="*/ 878840 w 972819"/>
              <a:gd name="connsiteY32" fmla="*/ 105977 h 279332"/>
              <a:gd name="connsiteX33" fmla="*/ 878840 w 972819"/>
              <a:gd name="connsiteY33" fmla="*/ 105342 h 279332"/>
              <a:gd name="connsiteX34" fmla="*/ 878840 w 972819"/>
              <a:gd name="connsiteY34" fmla="*/ 104707 h 279332"/>
              <a:gd name="connsiteX35" fmla="*/ 898525 w 972819"/>
              <a:gd name="connsiteY35" fmla="*/ 71052 h 279332"/>
              <a:gd name="connsiteX36" fmla="*/ 898525 w 972819"/>
              <a:gd name="connsiteY36" fmla="*/ 70417 h 279332"/>
              <a:gd name="connsiteX37" fmla="*/ 898525 w 972819"/>
              <a:gd name="connsiteY37" fmla="*/ 69782 h 279332"/>
              <a:gd name="connsiteX38" fmla="*/ 897890 w 972819"/>
              <a:gd name="connsiteY38" fmla="*/ 69147 h 279332"/>
              <a:gd name="connsiteX39" fmla="*/ 897255 w 972819"/>
              <a:gd name="connsiteY39" fmla="*/ 69147 h 279332"/>
              <a:gd name="connsiteX40" fmla="*/ 871855 w 972819"/>
              <a:gd name="connsiteY40" fmla="*/ 69147 h 279332"/>
              <a:gd name="connsiteX41" fmla="*/ 870585 w 972819"/>
              <a:gd name="connsiteY41" fmla="*/ 69782 h 279332"/>
              <a:gd name="connsiteX42" fmla="*/ 869950 w 972819"/>
              <a:gd name="connsiteY42" fmla="*/ 70417 h 279332"/>
              <a:gd name="connsiteX43" fmla="*/ 850265 w 972819"/>
              <a:gd name="connsiteY43" fmla="*/ 105342 h 279332"/>
              <a:gd name="connsiteX44" fmla="*/ 849630 w 972819"/>
              <a:gd name="connsiteY44" fmla="*/ 105977 h 279332"/>
              <a:gd name="connsiteX45" fmla="*/ 848360 w 972819"/>
              <a:gd name="connsiteY45" fmla="*/ 105977 h 279332"/>
              <a:gd name="connsiteX46" fmla="*/ 810895 w 972819"/>
              <a:gd name="connsiteY46" fmla="*/ 105977 h 279332"/>
              <a:gd name="connsiteX47" fmla="*/ 809625 w 972819"/>
              <a:gd name="connsiteY47" fmla="*/ 106612 h 279332"/>
              <a:gd name="connsiteX48" fmla="*/ 808355 w 972819"/>
              <a:gd name="connsiteY48" fmla="*/ 107247 h 279332"/>
              <a:gd name="connsiteX49" fmla="*/ 791210 w 972819"/>
              <a:gd name="connsiteY49" fmla="*/ 140267 h 279332"/>
              <a:gd name="connsiteX50" fmla="*/ 791210 w 972819"/>
              <a:gd name="connsiteY50" fmla="*/ 140902 h 279332"/>
              <a:gd name="connsiteX51" fmla="*/ 791210 w 972819"/>
              <a:gd name="connsiteY51" fmla="*/ 141537 h 279332"/>
              <a:gd name="connsiteX52" fmla="*/ 791845 w 972819"/>
              <a:gd name="connsiteY52" fmla="*/ 142172 h 279332"/>
              <a:gd name="connsiteX53" fmla="*/ 792480 w 972819"/>
              <a:gd name="connsiteY53" fmla="*/ 142172 h 279332"/>
              <a:gd name="connsiteX54" fmla="*/ 824230 w 972819"/>
              <a:gd name="connsiteY54" fmla="*/ 141537 h 279332"/>
              <a:gd name="connsiteX55" fmla="*/ 825500 w 972819"/>
              <a:gd name="connsiteY55" fmla="*/ 141537 h 279332"/>
              <a:gd name="connsiteX56" fmla="*/ 826135 w 972819"/>
              <a:gd name="connsiteY56" fmla="*/ 142172 h 279332"/>
              <a:gd name="connsiteX57" fmla="*/ 826135 w 972819"/>
              <a:gd name="connsiteY57" fmla="*/ 143442 h 279332"/>
              <a:gd name="connsiteX58" fmla="*/ 825500 w 972819"/>
              <a:gd name="connsiteY58" fmla="*/ 144712 h 279332"/>
              <a:gd name="connsiteX59" fmla="*/ 814070 w 972819"/>
              <a:gd name="connsiteY59" fmla="*/ 159952 h 279332"/>
              <a:gd name="connsiteX60" fmla="*/ 738505 w 972819"/>
              <a:gd name="connsiteY60" fmla="*/ 221547 h 279332"/>
              <a:gd name="connsiteX61" fmla="*/ 758190 w 972819"/>
              <a:gd name="connsiteY61" fmla="*/ 147252 h 279332"/>
              <a:gd name="connsiteX62" fmla="*/ 758190 w 972819"/>
              <a:gd name="connsiteY62" fmla="*/ 146617 h 279332"/>
              <a:gd name="connsiteX63" fmla="*/ 758190 w 972819"/>
              <a:gd name="connsiteY63" fmla="*/ 145982 h 279332"/>
              <a:gd name="connsiteX64" fmla="*/ 757555 w 972819"/>
              <a:gd name="connsiteY64" fmla="*/ 145347 h 279332"/>
              <a:gd name="connsiteX65" fmla="*/ 756920 w 972819"/>
              <a:gd name="connsiteY65" fmla="*/ 145347 h 279332"/>
              <a:gd name="connsiteX66" fmla="*/ 732155 w 972819"/>
              <a:gd name="connsiteY66" fmla="*/ 145347 h 279332"/>
              <a:gd name="connsiteX67" fmla="*/ 730250 w 972819"/>
              <a:gd name="connsiteY67" fmla="*/ 145982 h 279332"/>
              <a:gd name="connsiteX68" fmla="*/ 728980 w 972819"/>
              <a:gd name="connsiteY68" fmla="*/ 147252 h 279332"/>
              <a:gd name="connsiteX69" fmla="*/ 658495 w 972819"/>
              <a:gd name="connsiteY69" fmla="*/ 217102 h 279332"/>
              <a:gd name="connsiteX70" fmla="*/ 651510 w 972819"/>
              <a:gd name="connsiteY70" fmla="*/ 208212 h 279332"/>
              <a:gd name="connsiteX71" fmla="*/ 681355 w 972819"/>
              <a:gd name="connsiteY71" fmla="*/ 149157 h 279332"/>
              <a:gd name="connsiteX72" fmla="*/ 681355 w 972819"/>
              <a:gd name="connsiteY72" fmla="*/ 148522 h 279332"/>
              <a:gd name="connsiteX73" fmla="*/ 681355 w 972819"/>
              <a:gd name="connsiteY73" fmla="*/ 147887 h 279332"/>
              <a:gd name="connsiteX74" fmla="*/ 680720 w 972819"/>
              <a:gd name="connsiteY74" fmla="*/ 147252 h 279332"/>
              <a:gd name="connsiteX75" fmla="*/ 680085 w 972819"/>
              <a:gd name="connsiteY75" fmla="*/ 147252 h 279332"/>
              <a:gd name="connsiteX76" fmla="*/ 664845 w 972819"/>
              <a:gd name="connsiteY76" fmla="*/ 141537 h 279332"/>
              <a:gd name="connsiteX77" fmla="*/ 662305 w 972819"/>
              <a:gd name="connsiteY77" fmla="*/ 141537 h 279332"/>
              <a:gd name="connsiteX78" fmla="*/ 574675 w 972819"/>
              <a:gd name="connsiteY78" fmla="*/ 135187 h 279332"/>
              <a:gd name="connsiteX79" fmla="*/ 573405 w 972819"/>
              <a:gd name="connsiteY79" fmla="*/ 134552 h 279332"/>
              <a:gd name="connsiteX80" fmla="*/ 572135 w 972819"/>
              <a:gd name="connsiteY80" fmla="*/ 135187 h 279332"/>
              <a:gd name="connsiteX81" fmla="*/ 567690 w 972819"/>
              <a:gd name="connsiteY81" fmla="*/ 139632 h 279332"/>
              <a:gd name="connsiteX82" fmla="*/ 567055 w 972819"/>
              <a:gd name="connsiteY82" fmla="*/ 140267 h 279332"/>
              <a:gd name="connsiteX83" fmla="*/ 565785 w 972819"/>
              <a:gd name="connsiteY83" fmla="*/ 140267 h 279332"/>
              <a:gd name="connsiteX84" fmla="*/ 560070 w 972819"/>
              <a:gd name="connsiteY84" fmla="*/ 139632 h 279332"/>
              <a:gd name="connsiteX85" fmla="*/ 484505 w 972819"/>
              <a:gd name="connsiteY85" fmla="*/ 194242 h 279332"/>
              <a:gd name="connsiteX86" fmla="*/ 404495 w 972819"/>
              <a:gd name="connsiteY86" fmla="*/ 208847 h 279332"/>
              <a:gd name="connsiteX87" fmla="*/ 474345 w 972819"/>
              <a:gd name="connsiteY87" fmla="*/ 160587 h 279332"/>
              <a:gd name="connsiteX88" fmla="*/ 474980 w 972819"/>
              <a:gd name="connsiteY88" fmla="*/ 160587 h 279332"/>
              <a:gd name="connsiteX89" fmla="*/ 475615 w 972819"/>
              <a:gd name="connsiteY89" fmla="*/ 160587 h 279332"/>
              <a:gd name="connsiteX90" fmla="*/ 476250 w 972819"/>
              <a:gd name="connsiteY90" fmla="*/ 159952 h 279332"/>
              <a:gd name="connsiteX91" fmla="*/ 476885 w 972819"/>
              <a:gd name="connsiteY91" fmla="*/ 159317 h 279332"/>
              <a:gd name="connsiteX92" fmla="*/ 485140 w 972819"/>
              <a:gd name="connsiteY92" fmla="*/ 142807 h 279332"/>
              <a:gd name="connsiteX93" fmla="*/ 485140 w 972819"/>
              <a:gd name="connsiteY93" fmla="*/ 142172 h 279332"/>
              <a:gd name="connsiteX94" fmla="*/ 485140 w 972819"/>
              <a:gd name="connsiteY94" fmla="*/ 141537 h 279332"/>
              <a:gd name="connsiteX95" fmla="*/ 484505 w 972819"/>
              <a:gd name="connsiteY95" fmla="*/ 140902 h 279332"/>
              <a:gd name="connsiteX96" fmla="*/ 483870 w 972819"/>
              <a:gd name="connsiteY96" fmla="*/ 140267 h 279332"/>
              <a:gd name="connsiteX97" fmla="*/ 331470 w 972819"/>
              <a:gd name="connsiteY97" fmla="*/ 145982 h 279332"/>
              <a:gd name="connsiteX98" fmla="*/ 330200 w 972819"/>
              <a:gd name="connsiteY98" fmla="*/ 145982 h 279332"/>
              <a:gd name="connsiteX99" fmla="*/ 328930 w 972819"/>
              <a:gd name="connsiteY99" fmla="*/ 145347 h 279332"/>
              <a:gd name="connsiteX100" fmla="*/ 271780 w 972819"/>
              <a:gd name="connsiteY100" fmla="*/ 112962 h 279332"/>
              <a:gd name="connsiteX101" fmla="*/ 210185 w 972819"/>
              <a:gd name="connsiteY101" fmla="*/ 72957 h 279332"/>
              <a:gd name="connsiteX102" fmla="*/ 403225 w 972819"/>
              <a:gd name="connsiteY102" fmla="*/ 31047 h 279332"/>
              <a:gd name="connsiteX103" fmla="*/ 404495 w 972819"/>
              <a:gd name="connsiteY103" fmla="*/ 31047 h 279332"/>
              <a:gd name="connsiteX104" fmla="*/ 405130 w 972819"/>
              <a:gd name="connsiteY104" fmla="*/ 29777 h 279332"/>
              <a:gd name="connsiteX105" fmla="*/ 411480 w 972819"/>
              <a:gd name="connsiteY105" fmla="*/ 8187 h 279332"/>
              <a:gd name="connsiteX106" fmla="*/ 411480 w 972819"/>
              <a:gd name="connsiteY106" fmla="*/ 7552 h 279332"/>
              <a:gd name="connsiteX107" fmla="*/ 411480 w 972819"/>
              <a:gd name="connsiteY107" fmla="*/ 6917 h 279332"/>
              <a:gd name="connsiteX108" fmla="*/ 410845 w 972819"/>
              <a:gd name="connsiteY108" fmla="*/ 6282 h 279332"/>
              <a:gd name="connsiteX109" fmla="*/ 410210 w 972819"/>
              <a:gd name="connsiteY109" fmla="*/ 6282 h 279332"/>
              <a:gd name="connsiteX110" fmla="*/ 141605 w 972819"/>
              <a:gd name="connsiteY110" fmla="*/ 67242 h 279332"/>
              <a:gd name="connsiteX111" fmla="*/ 216535 w 972819"/>
              <a:gd name="connsiteY111" fmla="*/ 129472 h 279332"/>
              <a:gd name="connsiteX112" fmla="*/ 267335 w 972819"/>
              <a:gd name="connsiteY112" fmla="*/ 152332 h 279332"/>
              <a:gd name="connsiteX113" fmla="*/ 267970 w 972819"/>
              <a:gd name="connsiteY113" fmla="*/ 152967 h 279332"/>
              <a:gd name="connsiteX114" fmla="*/ 267970 w 972819"/>
              <a:gd name="connsiteY114" fmla="*/ 154237 h 279332"/>
              <a:gd name="connsiteX115" fmla="*/ 267335 w 972819"/>
              <a:gd name="connsiteY115" fmla="*/ 154872 h 279332"/>
              <a:gd name="connsiteX116" fmla="*/ 266700 w 972819"/>
              <a:gd name="connsiteY116" fmla="*/ 155507 h 279332"/>
              <a:gd name="connsiteX117" fmla="*/ 234950 w 972819"/>
              <a:gd name="connsiteY117" fmla="*/ 159952 h 279332"/>
              <a:gd name="connsiteX118" fmla="*/ 0 w 972819"/>
              <a:gd name="connsiteY118" fmla="*/ 239962 h 279332"/>
              <a:gd name="connsiteX119" fmla="*/ 150495 w 972819"/>
              <a:gd name="connsiteY119" fmla="*/ 279332 h 279332"/>
              <a:gd name="connsiteX120" fmla="*/ 346710 w 972819"/>
              <a:gd name="connsiteY120" fmla="*/ 182177 h 279332"/>
              <a:gd name="connsiteX121" fmla="*/ 344805 w 972819"/>
              <a:gd name="connsiteY121" fmla="*/ 168842 h 279332"/>
              <a:gd name="connsiteX122" fmla="*/ 344805 w 972819"/>
              <a:gd name="connsiteY122" fmla="*/ 168207 h 279332"/>
              <a:gd name="connsiteX123" fmla="*/ 344805 w 972819"/>
              <a:gd name="connsiteY123" fmla="*/ 167572 h 279332"/>
              <a:gd name="connsiteX124" fmla="*/ 344805 w 972819"/>
              <a:gd name="connsiteY124" fmla="*/ 167572 h 279332"/>
              <a:gd name="connsiteX125" fmla="*/ 345440 w 972819"/>
              <a:gd name="connsiteY125" fmla="*/ 167572 h 279332"/>
              <a:gd name="connsiteX126" fmla="*/ 398145 w 972819"/>
              <a:gd name="connsiteY126" fmla="*/ 161222 h 279332"/>
              <a:gd name="connsiteX127" fmla="*/ 398780 w 972819"/>
              <a:gd name="connsiteY127" fmla="*/ 161222 h 279332"/>
              <a:gd name="connsiteX128" fmla="*/ 399415 w 972819"/>
              <a:gd name="connsiteY128" fmla="*/ 161857 h 279332"/>
              <a:gd name="connsiteX129" fmla="*/ 399415 w 972819"/>
              <a:gd name="connsiteY129" fmla="*/ 162492 h 279332"/>
              <a:gd name="connsiteX130" fmla="*/ 398780 w 972819"/>
              <a:gd name="connsiteY130" fmla="*/ 163127 h 279332"/>
              <a:gd name="connsiteX131" fmla="*/ 355600 w 972819"/>
              <a:gd name="connsiteY131" fmla="*/ 231707 h 279332"/>
              <a:gd name="connsiteX132" fmla="*/ 393700 w 972819"/>
              <a:gd name="connsiteY132" fmla="*/ 267267 h 279332"/>
              <a:gd name="connsiteX133" fmla="*/ 474980 w 972819"/>
              <a:gd name="connsiteY133" fmla="*/ 227897 h 279332"/>
              <a:gd name="connsiteX134" fmla="*/ 475615 w 972819"/>
              <a:gd name="connsiteY134" fmla="*/ 227897 h 279332"/>
              <a:gd name="connsiteX135" fmla="*/ 476250 w 972819"/>
              <a:gd name="connsiteY135" fmla="*/ 227897 h 279332"/>
              <a:gd name="connsiteX136" fmla="*/ 476885 w 972819"/>
              <a:gd name="connsiteY136" fmla="*/ 228532 h 279332"/>
              <a:gd name="connsiteX137" fmla="*/ 476885 w 972819"/>
              <a:gd name="connsiteY137" fmla="*/ 229167 h 279332"/>
              <a:gd name="connsiteX138" fmla="*/ 513715 w 972819"/>
              <a:gd name="connsiteY138" fmla="*/ 265362 h 279332"/>
              <a:gd name="connsiteX139" fmla="*/ 594995 w 972819"/>
              <a:gd name="connsiteY139" fmla="*/ 181542 h 279332"/>
              <a:gd name="connsiteX140" fmla="*/ 594995 w 972819"/>
              <a:gd name="connsiteY140" fmla="*/ 177732 h 279332"/>
              <a:gd name="connsiteX141" fmla="*/ 594995 w 972819"/>
              <a:gd name="connsiteY141" fmla="*/ 177097 h 279332"/>
              <a:gd name="connsiteX142" fmla="*/ 595630 w 972819"/>
              <a:gd name="connsiteY142" fmla="*/ 176462 h 279332"/>
              <a:gd name="connsiteX143" fmla="*/ 596265 w 972819"/>
              <a:gd name="connsiteY143" fmla="*/ 175827 h 279332"/>
              <a:gd name="connsiteX144" fmla="*/ 596900 w 972819"/>
              <a:gd name="connsiteY144" fmla="*/ 175827 h 279332"/>
              <a:gd name="connsiteX145" fmla="*/ 635635 w 972819"/>
              <a:gd name="connsiteY145" fmla="*/ 169477 h 279332"/>
              <a:gd name="connsiteX146" fmla="*/ 636905 w 972819"/>
              <a:gd name="connsiteY146" fmla="*/ 169477 h 279332"/>
              <a:gd name="connsiteX147" fmla="*/ 637540 w 972819"/>
              <a:gd name="connsiteY147" fmla="*/ 170112 h 279332"/>
              <a:gd name="connsiteX148" fmla="*/ 638175 w 972819"/>
              <a:gd name="connsiteY148" fmla="*/ 171382 h 279332"/>
              <a:gd name="connsiteX149" fmla="*/ 637540 w 972819"/>
              <a:gd name="connsiteY149" fmla="*/ 172652 h 279332"/>
              <a:gd name="connsiteX150" fmla="*/ 608965 w 972819"/>
              <a:gd name="connsiteY150" fmla="*/ 237422 h 279332"/>
              <a:gd name="connsiteX151" fmla="*/ 633095 w 972819"/>
              <a:gd name="connsiteY151" fmla="*/ 264727 h 279332"/>
              <a:gd name="connsiteX152" fmla="*/ 692150 w 972819"/>
              <a:gd name="connsiteY152" fmla="*/ 231072 h 279332"/>
              <a:gd name="connsiteX153" fmla="*/ 693420 w 972819"/>
              <a:gd name="connsiteY153" fmla="*/ 230437 h 279332"/>
              <a:gd name="connsiteX154" fmla="*/ 694690 w 972819"/>
              <a:gd name="connsiteY154" fmla="*/ 230437 h 279332"/>
              <a:gd name="connsiteX155" fmla="*/ 695960 w 972819"/>
              <a:gd name="connsiteY155" fmla="*/ 231072 h 279332"/>
              <a:gd name="connsiteX156" fmla="*/ 696595 w 972819"/>
              <a:gd name="connsiteY156" fmla="*/ 232342 h 279332"/>
              <a:gd name="connsiteX157" fmla="*/ 725170 w 972819"/>
              <a:gd name="connsiteY157" fmla="*/ 263457 h 279332"/>
              <a:gd name="connsiteX158" fmla="*/ 802640 w 972819"/>
              <a:gd name="connsiteY158" fmla="*/ 212657 h 279332"/>
              <a:gd name="connsiteX159" fmla="*/ 803275 w 972819"/>
              <a:gd name="connsiteY159" fmla="*/ 212657 h 279332"/>
              <a:gd name="connsiteX160" fmla="*/ 803910 w 972819"/>
              <a:gd name="connsiteY160" fmla="*/ 212657 h 279332"/>
              <a:gd name="connsiteX161" fmla="*/ 804545 w 972819"/>
              <a:gd name="connsiteY161" fmla="*/ 213292 h 279332"/>
              <a:gd name="connsiteX162" fmla="*/ 804545 w 972819"/>
              <a:gd name="connsiteY162" fmla="*/ 213927 h 279332"/>
              <a:gd name="connsiteX163" fmla="*/ 850900 w 972819"/>
              <a:gd name="connsiteY163" fmla="*/ 265997 h 279332"/>
              <a:gd name="connsiteX164" fmla="*/ 966470 w 972819"/>
              <a:gd name="connsiteY164" fmla="*/ 227897 h 279332"/>
              <a:gd name="connsiteX165" fmla="*/ 967740 w 972819"/>
              <a:gd name="connsiteY165" fmla="*/ 225992 h 279332"/>
              <a:gd name="connsiteX166" fmla="*/ 972820 w 972819"/>
              <a:gd name="connsiteY166" fmla="*/ 206307 h 279332"/>
              <a:gd name="connsiteX167" fmla="*/ 972820 w 972819"/>
              <a:gd name="connsiteY167" fmla="*/ 205672 h 279332"/>
              <a:gd name="connsiteX168" fmla="*/ 972185 w 972819"/>
              <a:gd name="connsiteY168" fmla="*/ 205037 h 279332"/>
              <a:gd name="connsiteX169" fmla="*/ 971550 w 972819"/>
              <a:gd name="connsiteY169" fmla="*/ 205037 h 279332"/>
              <a:gd name="connsiteX170" fmla="*/ 970915 w 972819"/>
              <a:gd name="connsiteY170" fmla="*/ 205037 h 279332"/>
              <a:gd name="connsiteX171" fmla="*/ 874395 w 972819"/>
              <a:gd name="connsiteY171" fmla="*/ 223452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972819" h="279332">
                <a:moveTo>
                  <a:pt x="530225" y="220277"/>
                </a:moveTo>
                <a:cubicBezTo>
                  <a:pt x="523875" y="220277"/>
                  <a:pt x="518795" y="216467"/>
                  <a:pt x="518795" y="208847"/>
                </a:cubicBezTo>
                <a:cubicBezTo>
                  <a:pt x="518795" y="187892"/>
                  <a:pt x="548005" y="158047"/>
                  <a:pt x="563245" y="155507"/>
                </a:cubicBezTo>
                <a:cubicBezTo>
                  <a:pt x="563880" y="155507"/>
                  <a:pt x="564515" y="155507"/>
                  <a:pt x="564515" y="156142"/>
                </a:cubicBezTo>
                <a:cubicBezTo>
                  <a:pt x="565150" y="156142"/>
                  <a:pt x="565150" y="156777"/>
                  <a:pt x="565150" y="157412"/>
                </a:cubicBezTo>
                <a:cubicBezTo>
                  <a:pt x="566420" y="162492"/>
                  <a:pt x="568960" y="166937"/>
                  <a:pt x="573405" y="170112"/>
                </a:cubicBezTo>
                <a:cubicBezTo>
                  <a:pt x="573405" y="170112"/>
                  <a:pt x="574040" y="170112"/>
                  <a:pt x="574040" y="170747"/>
                </a:cubicBezTo>
                <a:cubicBezTo>
                  <a:pt x="574040" y="170747"/>
                  <a:pt x="574040" y="171382"/>
                  <a:pt x="574040" y="171382"/>
                </a:cubicBezTo>
                <a:cubicBezTo>
                  <a:pt x="569595" y="189797"/>
                  <a:pt x="549275" y="220277"/>
                  <a:pt x="530225" y="220277"/>
                </a:cubicBezTo>
                <a:close/>
                <a:moveTo>
                  <a:pt x="123825" y="248217"/>
                </a:moveTo>
                <a:cubicBezTo>
                  <a:pt x="88265" y="248217"/>
                  <a:pt x="74930" y="246312"/>
                  <a:pt x="74930" y="243137"/>
                </a:cubicBezTo>
                <a:cubicBezTo>
                  <a:pt x="74930" y="233612"/>
                  <a:pt x="181610" y="200592"/>
                  <a:pt x="281305" y="179002"/>
                </a:cubicBezTo>
                <a:cubicBezTo>
                  <a:pt x="281305" y="179002"/>
                  <a:pt x="281940" y="179002"/>
                  <a:pt x="281940" y="179002"/>
                </a:cubicBezTo>
                <a:cubicBezTo>
                  <a:pt x="281940" y="179002"/>
                  <a:pt x="282575" y="179002"/>
                  <a:pt x="282575" y="179637"/>
                </a:cubicBezTo>
                <a:cubicBezTo>
                  <a:pt x="282575" y="179637"/>
                  <a:pt x="283210" y="180272"/>
                  <a:pt x="283210" y="180272"/>
                </a:cubicBezTo>
                <a:cubicBezTo>
                  <a:pt x="283210" y="180272"/>
                  <a:pt x="283210" y="180907"/>
                  <a:pt x="283210" y="180907"/>
                </a:cubicBezTo>
                <a:cubicBezTo>
                  <a:pt x="281305" y="219007"/>
                  <a:pt x="207645" y="248217"/>
                  <a:pt x="123825" y="248217"/>
                </a:cubicBezTo>
                <a:close/>
                <a:moveTo>
                  <a:pt x="874395" y="223452"/>
                </a:moveTo>
                <a:cubicBezTo>
                  <a:pt x="841375" y="223452"/>
                  <a:pt x="826135" y="203132"/>
                  <a:pt x="852805" y="156142"/>
                </a:cubicBezTo>
                <a:cubicBezTo>
                  <a:pt x="854710" y="152967"/>
                  <a:pt x="856615" y="149157"/>
                  <a:pt x="859155" y="144712"/>
                </a:cubicBezTo>
                <a:cubicBezTo>
                  <a:pt x="859790" y="143442"/>
                  <a:pt x="861060" y="142172"/>
                  <a:pt x="862330" y="141537"/>
                </a:cubicBezTo>
                <a:cubicBezTo>
                  <a:pt x="863600" y="140902"/>
                  <a:pt x="864870" y="140267"/>
                  <a:pt x="866140" y="140267"/>
                </a:cubicBezTo>
                <a:cubicBezTo>
                  <a:pt x="883285" y="139632"/>
                  <a:pt x="898525" y="139632"/>
                  <a:pt x="905510" y="138997"/>
                </a:cubicBezTo>
                <a:cubicBezTo>
                  <a:pt x="906145" y="138997"/>
                  <a:pt x="906780" y="138997"/>
                  <a:pt x="906780" y="138362"/>
                </a:cubicBezTo>
                <a:cubicBezTo>
                  <a:pt x="907415" y="137727"/>
                  <a:pt x="907415" y="137727"/>
                  <a:pt x="907415" y="137092"/>
                </a:cubicBezTo>
                <a:cubicBezTo>
                  <a:pt x="911225" y="126932"/>
                  <a:pt x="915670" y="117407"/>
                  <a:pt x="920750" y="107882"/>
                </a:cubicBezTo>
                <a:cubicBezTo>
                  <a:pt x="920750" y="107882"/>
                  <a:pt x="920750" y="107247"/>
                  <a:pt x="920750" y="107247"/>
                </a:cubicBezTo>
                <a:cubicBezTo>
                  <a:pt x="920750" y="107247"/>
                  <a:pt x="920750" y="106612"/>
                  <a:pt x="920750" y="106612"/>
                </a:cubicBezTo>
                <a:cubicBezTo>
                  <a:pt x="920750" y="106612"/>
                  <a:pt x="920115" y="105977"/>
                  <a:pt x="920115" y="105977"/>
                </a:cubicBezTo>
                <a:cubicBezTo>
                  <a:pt x="920115" y="105977"/>
                  <a:pt x="919480" y="105977"/>
                  <a:pt x="919480" y="105977"/>
                </a:cubicBezTo>
                <a:cubicBezTo>
                  <a:pt x="911860" y="105977"/>
                  <a:pt x="896620" y="106612"/>
                  <a:pt x="880110" y="106612"/>
                </a:cubicBezTo>
                <a:cubicBezTo>
                  <a:pt x="880110" y="106612"/>
                  <a:pt x="879475" y="106612"/>
                  <a:pt x="879475" y="106612"/>
                </a:cubicBezTo>
                <a:cubicBezTo>
                  <a:pt x="879475" y="106612"/>
                  <a:pt x="879475" y="106612"/>
                  <a:pt x="878840" y="105977"/>
                </a:cubicBezTo>
                <a:cubicBezTo>
                  <a:pt x="878840" y="105977"/>
                  <a:pt x="878840" y="105342"/>
                  <a:pt x="878840" y="105342"/>
                </a:cubicBezTo>
                <a:cubicBezTo>
                  <a:pt x="878840" y="105342"/>
                  <a:pt x="878840" y="104707"/>
                  <a:pt x="878840" y="104707"/>
                </a:cubicBezTo>
                <a:cubicBezTo>
                  <a:pt x="885825" y="92007"/>
                  <a:pt x="892810" y="79942"/>
                  <a:pt x="898525" y="71052"/>
                </a:cubicBezTo>
                <a:cubicBezTo>
                  <a:pt x="898525" y="71052"/>
                  <a:pt x="898525" y="70417"/>
                  <a:pt x="898525" y="70417"/>
                </a:cubicBezTo>
                <a:cubicBezTo>
                  <a:pt x="898525" y="70417"/>
                  <a:pt x="898525" y="69782"/>
                  <a:pt x="898525" y="69782"/>
                </a:cubicBezTo>
                <a:cubicBezTo>
                  <a:pt x="898525" y="69782"/>
                  <a:pt x="898525" y="69147"/>
                  <a:pt x="897890" y="69147"/>
                </a:cubicBezTo>
                <a:cubicBezTo>
                  <a:pt x="897890" y="69147"/>
                  <a:pt x="897255" y="69147"/>
                  <a:pt x="897255" y="69147"/>
                </a:cubicBezTo>
                <a:cubicBezTo>
                  <a:pt x="889000" y="69147"/>
                  <a:pt x="878205" y="69147"/>
                  <a:pt x="871855" y="69147"/>
                </a:cubicBezTo>
                <a:cubicBezTo>
                  <a:pt x="871220" y="69147"/>
                  <a:pt x="871220" y="69147"/>
                  <a:pt x="870585" y="69782"/>
                </a:cubicBezTo>
                <a:cubicBezTo>
                  <a:pt x="869950" y="69782"/>
                  <a:pt x="869950" y="70417"/>
                  <a:pt x="869950" y="70417"/>
                </a:cubicBezTo>
                <a:cubicBezTo>
                  <a:pt x="863600" y="81847"/>
                  <a:pt x="857250" y="93277"/>
                  <a:pt x="850265" y="105342"/>
                </a:cubicBezTo>
                <a:cubicBezTo>
                  <a:pt x="850265" y="105342"/>
                  <a:pt x="849630" y="105977"/>
                  <a:pt x="849630" y="105977"/>
                </a:cubicBezTo>
                <a:cubicBezTo>
                  <a:pt x="849630" y="105977"/>
                  <a:pt x="848995" y="105977"/>
                  <a:pt x="848360" y="105977"/>
                </a:cubicBezTo>
                <a:cubicBezTo>
                  <a:pt x="831215" y="105977"/>
                  <a:pt x="816610" y="105977"/>
                  <a:pt x="810895" y="105977"/>
                </a:cubicBezTo>
                <a:cubicBezTo>
                  <a:pt x="810260" y="105977"/>
                  <a:pt x="810260" y="105977"/>
                  <a:pt x="809625" y="106612"/>
                </a:cubicBezTo>
                <a:cubicBezTo>
                  <a:pt x="808990" y="106612"/>
                  <a:pt x="808990" y="107247"/>
                  <a:pt x="808355" y="107247"/>
                </a:cubicBezTo>
                <a:cubicBezTo>
                  <a:pt x="803275" y="116137"/>
                  <a:pt x="796290" y="128837"/>
                  <a:pt x="791210" y="140267"/>
                </a:cubicBezTo>
                <a:cubicBezTo>
                  <a:pt x="791210" y="140267"/>
                  <a:pt x="791210" y="140902"/>
                  <a:pt x="791210" y="140902"/>
                </a:cubicBezTo>
                <a:cubicBezTo>
                  <a:pt x="791210" y="140902"/>
                  <a:pt x="791210" y="141537"/>
                  <a:pt x="791210" y="141537"/>
                </a:cubicBezTo>
                <a:cubicBezTo>
                  <a:pt x="791210" y="141537"/>
                  <a:pt x="791210" y="142172"/>
                  <a:pt x="791845" y="142172"/>
                </a:cubicBezTo>
                <a:cubicBezTo>
                  <a:pt x="791845" y="142172"/>
                  <a:pt x="792480" y="142172"/>
                  <a:pt x="792480" y="142172"/>
                </a:cubicBezTo>
                <a:cubicBezTo>
                  <a:pt x="799465" y="142172"/>
                  <a:pt x="810895" y="141537"/>
                  <a:pt x="824230" y="141537"/>
                </a:cubicBezTo>
                <a:cubicBezTo>
                  <a:pt x="824865" y="141537"/>
                  <a:pt x="824865" y="141537"/>
                  <a:pt x="825500" y="141537"/>
                </a:cubicBezTo>
                <a:cubicBezTo>
                  <a:pt x="825500" y="141537"/>
                  <a:pt x="826135" y="142172"/>
                  <a:pt x="826135" y="142172"/>
                </a:cubicBezTo>
                <a:cubicBezTo>
                  <a:pt x="826135" y="142172"/>
                  <a:pt x="826135" y="142807"/>
                  <a:pt x="826135" y="143442"/>
                </a:cubicBezTo>
                <a:cubicBezTo>
                  <a:pt x="826135" y="144077"/>
                  <a:pt x="826135" y="144077"/>
                  <a:pt x="825500" y="144712"/>
                </a:cubicBezTo>
                <a:cubicBezTo>
                  <a:pt x="821690" y="149792"/>
                  <a:pt x="817880" y="154872"/>
                  <a:pt x="814070" y="159952"/>
                </a:cubicBezTo>
                <a:cubicBezTo>
                  <a:pt x="782320" y="199957"/>
                  <a:pt x="755015" y="221547"/>
                  <a:pt x="738505" y="221547"/>
                </a:cubicBezTo>
                <a:cubicBezTo>
                  <a:pt x="721995" y="221547"/>
                  <a:pt x="727710" y="191067"/>
                  <a:pt x="758190" y="147252"/>
                </a:cubicBezTo>
                <a:cubicBezTo>
                  <a:pt x="758190" y="147252"/>
                  <a:pt x="758190" y="146617"/>
                  <a:pt x="758190" y="146617"/>
                </a:cubicBezTo>
                <a:cubicBezTo>
                  <a:pt x="758190" y="146617"/>
                  <a:pt x="758190" y="145982"/>
                  <a:pt x="758190" y="145982"/>
                </a:cubicBezTo>
                <a:cubicBezTo>
                  <a:pt x="758190" y="145982"/>
                  <a:pt x="757555" y="145347"/>
                  <a:pt x="757555" y="145347"/>
                </a:cubicBezTo>
                <a:cubicBezTo>
                  <a:pt x="757555" y="145347"/>
                  <a:pt x="756920" y="145347"/>
                  <a:pt x="756920" y="145347"/>
                </a:cubicBezTo>
                <a:cubicBezTo>
                  <a:pt x="748665" y="145347"/>
                  <a:pt x="739775" y="145347"/>
                  <a:pt x="732155" y="145347"/>
                </a:cubicBezTo>
                <a:cubicBezTo>
                  <a:pt x="731520" y="145347"/>
                  <a:pt x="730885" y="145347"/>
                  <a:pt x="730250" y="145982"/>
                </a:cubicBezTo>
                <a:cubicBezTo>
                  <a:pt x="729615" y="145982"/>
                  <a:pt x="728980" y="146617"/>
                  <a:pt x="728980" y="147252"/>
                </a:cubicBezTo>
                <a:cubicBezTo>
                  <a:pt x="694690" y="193607"/>
                  <a:pt x="673100" y="217102"/>
                  <a:pt x="658495" y="217102"/>
                </a:cubicBezTo>
                <a:cubicBezTo>
                  <a:pt x="654685" y="217102"/>
                  <a:pt x="651510" y="214562"/>
                  <a:pt x="651510" y="208212"/>
                </a:cubicBezTo>
                <a:cubicBezTo>
                  <a:pt x="651510" y="196147"/>
                  <a:pt x="658495" y="180272"/>
                  <a:pt x="681355" y="149157"/>
                </a:cubicBezTo>
                <a:cubicBezTo>
                  <a:pt x="681355" y="149157"/>
                  <a:pt x="681355" y="148522"/>
                  <a:pt x="681355" y="148522"/>
                </a:cubicBezTo>
                <a:cubicBezTo>
                  <a:pt x="681355" y="148522"/>
                  <a:pt x="681355" y="147887"/>
                  <a:pt x="681355" y="147887"/>
                </a:cubicBezTo>
                <a:cubicBezTo>
                  <a:pt x="681355" y="147887"/>
                  <a:pt x="681355" y="147252"/>
                  <a:pt x="680720" y="147252"/>
                </a:cubicBezTo>
                <a:cubicBezTo>
                  <a:pt x="680720" y="147252"/>
                  <a:pt x="680085" y="147252"/>
                  <a:pt x="680085" y="147252"/>
                </a:cubicBezTo>
                <a:cubicBezTo>
                  <a:pt x="675005" y="145982"/>
                  <a:pt x="669290" y="143442"/>
                  <a:pt x="664845" y="141537"/>
                </a:cubicBezTo>
                <a:cubicBezTo>
                  <a:pt x="664210" y="140902"/>
                  <a:pt x="662940" y="140902"/>
                  <a:pt x="662305" y="141537"/>
                </a:cubicBezTo>
                <a:cubicBezTo>
                  <a:pt x="621665" y="152967"/>
                  <a:pt x="588010" y="149792"/>
                  <a:pt x="574675" y="135187"/>
                </a:cubicBezTo>
                <a:cubicBezTo>
                  <a:pt x="574040" y="134552"/>
                  <a:pt x="574040" y="134552"/>
                  <a:pt x="573405" y="134552"/>
                </a:cubicBezTo>
                <a:cubicBezTo>
                  <a:pt x="572770" y="134552"/>
                  <a:pt x="572135" y="134552"/>
                  <a:pt x="572135" y="135187"/>
                </a:cubicBezTo>
                <a:cubicBezTo>
                  <a:pt x="570865" y="136457"/>
                  <a:pt x="568960" y="137727"/>
                  <a:pt x="567690" y="139632"/>
                </a:cubicBezTo>
                <a:cubicBezTo>
                  <a:pt x="567690" y="139632"/>
                  <a:pt x="567055" y="140267"/>
                  <a:pt x="567055" y="140267"/>
                </a:cubicBezTo>
                <a:cubicBezTo>
                  <a:pt x="566420" y="140267"/>
                  <a:pt x="566420" y="140267"/>
                  <a:pt x="565785" y="140267"/>
                </a:cubicBezTo>
                <a:cubicBezTo>
                  <a:pt x="563880" y="140267"/>
                  <a:pt x="561975" y="139632"/>
                  <a:pt x="560070" y="139632"/>
                </a:cubicBezTo>
                <a:cubicBezTo>
                  <a:pt x="531495" y="139632"/>
                  <a:pt x="499745" y="164397"/>
                  <a:pt x="484505" y="194242"/>
                </a:cubicBezTo>
                <a:cubicBezTo>
                  <a:pt x="427355" y="239962"/>
                  <a:pt x="404495" y="224722"/>
                  <a:pt x="404495" y="208847"/>
                </a:cubicBezTo>
                <a:cubicBezTo>
                  <a:pt x="404495" y="172017"/>
                  <a:pt x="456565" y="149157"/>
                  <a:pt x="474345" y="160587"/>
                </a:cubicBezTo>
                <a:cubicBezTo>
                  <a:pt x="474345" y="160587"/>
                  <a:pt x="474980" y="160587"/>
                  <a:pt x="474980" y="160587"/>
                </a:cubicBezTo>
                <a:cubicBezTo>
                  <a:pt x="474980" y="160587"/>
                  <a:pt x="475615" y="160587"/>
                  <a:pt x="475615" y="160587"/>
                </a:cubicBezTo>
                <a:cubicBezTo>
                  <a:pt x="475615" y="160587"/>
                  <a:pt x="476250" y="160587"/>
                  <a:pt x="476250" y="159952"/>
                </a:cubicBezTo>
                <a:cubicBezTo>
                  <a:pt x="476250" y="159952"/>
                  <a:pt x="476885" y="159317"/>
                  <a:pt x="476885" y="159317"/>
                </a:cubicBezTo>
                <a:lnTo>
                  <a:pt x="485140" y="142807"/>
                </a:lnTo>
                <a:cubicBezTo>
                  <a:pt x="485140" y="142807"/>
                  <a:pt x="485140" y="142172"/>
                  <a:pt x="485140" y="142172"/>
                </a:cubicBezTo>
                <a:cubicBezTo>
                  <a:pt x="485140" y="141537"/>
                  <a:pt x="485140" y="141537"/>
                  <a:pt x="485140" y="141537"/>
                </a:cubicBezTo>
                <a:cubicBezTo>
                  <a:pt x="485140" y="141537"/>
                  <a:pt x="484505" y="140902"/>
                  <a:pt x="484505" y="140902"/>
                </a:cubicBezTo>
                <a:cubicBezTo>
                  <a:pt x="484505" y="140902"/>
                  <a:pt x="483870" y="140902"/>
                  <a:pt x="483870" y="140267"/>
                </a:cubicBezTo>
                <a:cubicBezTo>
                  <a:pt x="448310" y="135187"/>
                  <a:pt x="391795" y="138997"/>
                  <a:pt x="331470" y="145982"/>
                </a:cubicBezTo>
                <a:cubicBezTo>
                  <a:pt x="330835" y="145982"/>
                  <a:pt x="330200" y="145982"/>
                  <a:pt x="330200" y="145982"/>
                </a:cubicBezTo>
                <a:cubicBezTo>
                  <a:pt x="329565" y="145982"/>
                  <a:pt x="329565" y="145347"/>
                  <a:pt x="328930" y="145347"/>
                </a:cubicBezTo>
                <a:cubicBezTo>
                  <a:pt x="312420" y="130107"/>
                  <a:pt x="287655" y="119947"/>
                  <a:pt x="271780" y="112962"/>
                </a:cubicBezTo>
                <a:cubicBezTo>
                  <a:pt x="241935" y="99627"/>
                  <a:pt x="210185" y="89467"/>
                  <a:pt x="210185" y="72957"/>
                </a:cubicBezTo>
                <a:cubicBezTo>
                  <a:pt x="210185" y="45652"/>
                  <a:pt x="324485" y="23427"/>
                  <a:pt x="403225" y="31047"/>
                </a:cubicBezTo>
                <a:cubicBezTo>
                  <a:pt x="403860" y="31047"/>
                  <a:pt x="403860" y="31047"/>
                  <a:pt x="404495" y="31047"/>
                </a:cubicBezTo>
                <a:cubicBezTo>
                  <a:pt x="405130" y="31047"/>
                  <a:pt x="405130" y="30412"/>
                  <a:pt x="405130" y="29777"/>
                </a:cubicBezTo>
                <a:lnTo>
                  <a:pt x="411480" y="8187"/>
                </a:lnTo>
                <a:cubicBezTo>
                  <a:pt x="411480" y="8187"/>
                  <a:pt x="411480" y="7552"/>
                  <a:pt x="411480" y="7552"/>
                </a:cubicBezTo>
                <a:cubicBezTo>
                  <a:pt x="411480" y="7552"/>
                  <a:pt x="411480" y="6917"/>
                  <a:pt x="411480" y="6917"/>
                </a:cubicBezTo>
                <a:cubicBezTo>
                  <a:pt x="411480" y="6917"/>
                  <a:pt x="411480" y="6917"/>
                  <a:pt x="410845" y="6282"/>
                </a:cubicBezTo>
                <a:cubicBezTo>
                  <a:pt x="410845" y="6282"/>
                  <a:pt x="410210" y="6282"/>
                  <a:pt x="410210" y="6282"/>
                </a:cubicBezTo>
                <a:cubicBezTo>
                  <a:pt x="316865" y="-12768"/>
                  <a:pt x="141605" y="12632"/>
                  <a:pt x="141605" y="67242"/>
                </a:cubicBezTo>
                <a:cubicBezTo>
                  <a:pt x="141605" y="95182"/>
                  <a:pt x="179070" y="115502"/>
                  <a:pt x="216535" y="129472"/>
                </a:cubicBezTo>
                <a:cubicBezTo>
                  <a:pt x="240665" y="138362"/>
                  <a:pt x="256540" y="145347"/>
                  <a:pt x="267335" y="152332"/>
                </a:cubicBezTo>
                <a:cubicBezTo>
                  <a:pt x="267335" y="152332"/>
                  <a:pt x="267970" y="152967"/>
                  <a:pt x="267970" y="152967"/>
                </a:cubicBezTo>
                <a:cubicBezTo>
                  <a:pt x="267970" y="153602"/>
                  <a:pt x="267970" y="153602"/>
                  <a:pt x="267970" y="154237"/>
                </a:cubicBezTo>
                <a:cubicBezTo>
                  <a:pt x="267970" y="154872"/>
                  <a:pt x="267970" y="154872"/>
                  <a:pt x="267335" y="154872"/>
                </a:cubicBezTo>
                <a:cubicBezTo>
                  <a:pt x="267335" y="154872"/>
                  <a:pt x="266700" y="155507"/>
                  <a:pt x="266700" y="155507"/>
                </a:cubicBezTo>
                <a:cubicBezTo>
                  <a:pt x="255905" y="156777"/>
                  <a:pt x="245110" y="158682"/>
                  <a:pt x="234950" y="159952"/>
                </a:cubicBezTo>
                <a:cubicBezTo>
                  <a:pt x="86360" y="182177"/>
                  <a:pt x="0" y="229802"/>
                  <a:pt x="0" y="239962"/>
                </a:cubicBezTo>
                <a:cubicBezTo>
                  <a:pt x="0" y="251392"/>
                  <a:pt x="58420" y="279332"/>
                  <a:pt x="150495" y="279332"/>
                </a:cubicBezTo>
                <a:cubicBezTo>
                  <a:pt x="255270" y="279332"/>
                  <a:pt x="347345" y="243137"/>
                  <a:pt x="346710" y="182177"/>
                </a:cubicBezTo>
                <a:cubicBezTo>
                  <a:pt x="346710" y="177732"/>
                  <a:pt x="346075" y="173287"/>
                  <a:pt x="344805" y="168842"/>
                </a:cubicBezTo>
                <a:cubicBezTo>
                  <a:pt x="344805" y="168842"/>
                  <a:pt x="344805" y="168842"/>
                  <a:pt x="344805" y="168207"/>
                </a:cubicBezTo>
                <a:cubicBezTo>
                  <a:pt x="344805" y="168207"/>
                  <a:pt x="344805" y="168207"/>
                  <a:pt x="344805" y="167572"/>
                </a:cubicBezTo>
                <a:cubicBezTo>
                  <a:pt x="344805" y="167572"/>
                  <a:pt x="344805" y="167572"/>
                  <a:pt x="344805" y="167572"/>
                </a:cubicBezTo>
                <a:cubicBezTo>
                  <a:pt x="344805" y="167572"/>
                  <a:pt x="344805" y="167572"/>
                  <a:pt x="345440" y="167572"/>
                </a:cubicBezTo>
                <a:cubicBezTo>
                  <a:pt x="365125" y="164397"/>
                  <a:pt x="382905" y="161857"/>
                  <a:pt x="398145" y="161222"/>
                </a:cubicBezTo>
                <a:cubicBezTo>
                  <a:pt x="398145" y="161222"/>
                  <a:pt x="398780" y="161222"/>
                  <a:pt x="398780" y="161222"/>
                </a:cubicBezTo>
                <a:cubicBezTo>
                  <a:pt x="398780" y="161222"/>
                  <a:pt x="399415" y="161857"/>
                  <a:pt x="399415" y="161857"/>
                </a:cubicBezTo>
                <a:cubicBezTo>
                  <a:pt x="399415" y="161857"/>
                  <a:pt x="399415" y="162492"/>
                  <a:pt x="399415" y="162492"/>
                </a:cubicBezTo>
                <a:cubicBezTo>
                  <a:pt x="399415" y="162492"/>
                  <a:pt x="399415" y="163127"/>
                  <a:pt x="398780" y="163127"/>
                </a:cubicBezTo>
                <a:cubicBezTo>
                  <a:pt x="367030" y="184082"/>
                  <a:pt x="355600" y="206307"/>
                  <a:pt x="355600" y="231707"/>
                </a:cubicBezTo>
                <a:cubicBezTo>
                  <a:pt x="355600" y="250757"/>
                  <a:pt x="368935" y="267267"/>
                  <a:pt x="393700" y="267267"/>
                </a:cubicBezTo>
                <a:cubicBezTo>
                  <a:pt x="416560" y="267267"/>
                  <a:pt x="445135" y="255202"/>
                  <a:pt x="474980" y="227897"/>
                </a:cubicBezTo>
                <a:cubicBezTo>
                  <a:pt x="474980" y="227897"/>
                  <a:pt x="474980" y="227897"/>
                  <a:pt x="475615" y="227897"/>
                </a:cubicBezTo>
                <a:cubicBezTo>
                  <a:pt x="475615" y="227897"/>
                  <a:pt x="476250" y="227897"/>
                  <a:pt x="476250" y="227897"/>
                </a:cubicBezTo>
                <a:cubicBezTo>
                  <a:pt x="476250" y="227897"/>
                  <a:pt x="476250" y="227897"/>
                  <a:pt x="476885" y="228532"/>
                </a:cubicBezTo>
                <a:cubicBezTo>
                  <a:pt x="476885" y="228532"/>
                  <a:pt x="476885" y="229167"/>
                  <a:pt x="476885" y="229167"/>
                </a:cubicBezTo>
                <a:cubicBezTo>
                  <a:pt x="476250" y="252027"/>
                  <a:pt x="494665" y="265362"/>
                  <a:pt x="513715" y="265362"/>
                </a:cubicBezTo>
                <a:cubicBezTo>
                  <a:pt x="562610" y="265362"/>
                  <a:pt x="594995" y="208847"/>
                  <a:pt x="594995" y="181542"/>
                </a:cubicBezTo>
                <a:cubicBezTo>
                  <a:pt x="594995" y="180272"/>
                  <a:pt x="594995" y="179002"/>
                  <a:pt x="594995" y="177732"/>
                </a:cubicBezTo>
                <a:cubicBezTo>
                  <a:pt x="594995" y="177732"/>
                  <a:pt x="594995" y="177097"/>
                  <a:pt x="594995" y="177097"/>
                </a:cubicBezTo>
                <a:cubicBezTo>
                  <a:pt x="594995" y="177097"/>
                  <a:pt x="594995" y="176462"/>
                  <a:pt x="595630" y="176462"/>
                </a:cubicBezTo>
                <a:cubicBezTo>
                  <a:pt x="595630" y="176462"/>
                  <a:pt x="596265" y="175827"/>
                  <a:pt x="596265" y="175827"/>
                </a:cubicBezTo>
                <a:cubicBezTo>
                  <a:pt x="596265" y="175827"/>
                  <a:pt x="596900" y="175827"/>
                  <a:pt x="596900" y="175827"/>
                </a:cubicBezTo>
                <a:cubicBezTo>
                  <a:pt x="610235" y="175192"/>
                  <a:pt x="622935" y="173287"/>
                  <a:pt x="635635" y="169477"/>
                </a:cubicBezTo>
                <a:cubicBezTo>
                  <a:pt x="636270" y="169477"/>
                  <a:pt x="636270" y="169477"/>
                  <a:pt x="636905" y="169477"/>
                </a:cubicBezTo>
                <a:cubicBezTo>
                  <a:pt x="637540" y="169477"/>
                  <a:pt x="637540" y="170112"/>
                  <a:pt x="637540" y="170112"/>
                </a:cubicBezTo>
                <a:cubicBezTo>
                  <a:pt x="637540" y="170112"/>
                  <a:pt x="638175" y="170747"/>
                  <a:pt x="638175" y="171382"/>
                </a:cubicBezTo>
                <a:cubicBezTo>
                  <a:pt x="638175" y="172017"/>
                  <a:pt x="638175" y="172017"/>
                  <a:pt x="637540" y="172652"/>
                </a:cubicBezTo>
                <a:cubicBezTo>
                  <a:pt x="617220" y="199957"/>
                  <a:pt x="609600" y="221547"/>
                  <a:pt x="608965" y="237422"/>
                </a:cubicBezTo>
                <a:cubicBezTo>
                  <a:pt x="608965" y="255202"/>
                  <a:pt x="619125" y="264727"/>
                  <a:pt x="633095" y="264727"/>
                </a:cubicBezTo>
                <a:cubicBezTo>
                  <a:pt x="650240" y="264727"/>
                  <a:pt x="667385" y="255837"/>
                  <a:pt x="692150" y="231072"/>
                </a:cubicBezTo>
                <a:cubicBezTo>
                  <a:pt x="692150" y="231072"/>
                  <a:pt x="692785" y="230437"/>
                  <a:pt x="693420" y="230437"/>
                </a:cubicBezTo>
                <a:cubicBezTo>
                  <a:pt x="694055" y="230437"/>
                  <a:pt x="694055" y="230437"/>
                  <a:pt x="694690" y="230437"/>
                </a:cubicBezTo>
                <a:cubicBezTo>
                  <a:pt x="695325" y="230437"/>
                  <a:pt x="695325" y="231072"/>
                  <a:pt x="695960" y="231072"/>
                </a:cubicBezTo>
                <a:cubicBezTo>
                  <a:pt x="695960" y="231707"/>
                  <a:pt x="696595" y="231707"/>
                  <a:pt x="696595" y="232342"/>
                </a:cubicBezTo>
                <a:cubicBezTo>
                  <a:pt x="695960" y="251392"/>
                  <a:pt x="709295" y="263457"/>
                  <a:pt x="725170" y="263457"/>
                </a:cubicBezTo>
                <a:cubicBezTo>
                  <a:pt x="743585" y="263457"/>
                  <a:pt x="765810" y="252662"/>
                  <a:pt x="802640" y="212657"/>
                </a:cubicBezTo>
                <a:cubicBezTo>
                  <a:pt x="802640" y="212657"/>
                  <a:pt x="803275" y="212657"/>
                  <a:pt x="803275" y="212657"/>
                </a:cubicBezTo>
                <a:cubicBezTo>
                  <a:pt x="803275" y="212657"/>
                  <a:pt x="803910" y="212657"/>
                  <a:pt x="803910" y="212657"/>
                </a:cubicBezTo>
                <a:cubicBezTo>
                  <a:pt x="803910" y="212657"/>
                  <a:pt x="804545" y="212657"/>
                  <a:pt x="804545" y="213292"/>
                </a:cubicBezTo>
                <a:cubicBezTo>
                  <a:pt x="804545" y="213292"/>
                  <a:pt x="804545" y="213927"/>
                  <a:pt x="804545" y="213927"/>
                </a:cubicBezTo>
                <a:cubicBezTo>
                  <a:pt x="797560" y="255202"/>
                  <a:pt x="826770" y="265997"/>
                  <a:pt x="850900" y="265997"/>
                </a:cubicBezTo>
                <a:cubicBezTo>
                  <a:pt x="887095" y="265997"/>
                  <a:pt x="935355" y="248217"/>
                  <a:pt x="966470" y="227897"/>
                </a:cubicBezTo>
                <a:cubicBezTo>
                  <a:pt x="967105" y="227262"/>
                  <a:pt x="967740" y="226627"/>
                  <a:pt x="967740" y="225992"/>
                </a:cubicBezTo>
                <a:cubicBezTo>
                  <a:pt x="969010" y="220277"/>
                  <a:pt x="970915" y="212657"/>
                  <a:pt x="972820" y="206307"/>
                </a:cubicBezTo>
                <a:cubicBezTo>
                  <a:pt x="972820" y="206307"/>
                  <a:pt x="972820" y="205672"/>
                  <a:pt x="972820" y="205672"/>
                </a:cubicBezTo>
                <a:cubicBezTo>
                  <a:pt x="972820" y="205672"/>
                  <a:pt x="972820" y="205037"/>
                  <a:pt x="972185" y="205037"/>
                </a:cubicBezTo>
                <a:cubicBezTo>
                  <a:pt x="972185" y="205037"/>
                  <a:pt x="971550" y="205037"/>
                  <a:pt x="971550" y="205037"/>
                </a:cubicBezTo>
                <a:cubicBezTo>
                  <a:pt x="971550" y="205037"/>
                  <a:pt x="970915" y="205037"/>
                  <a:pt x="970915" y="205037"/>
                </a:cubicBezTo>
                <a:cubicBezTo>
                  <a:pt x="927100" y="217737"/>
                  <a:pt x="900430" y="223452"/>
                  <a:pt x="874395" y="223452"/>
                </a:cubicBezTo>
                <a:close/>
              </a:path>
            </a:pathLst>
          </a:custGeom>
          <a:solidFill>
            <a:srgbClr val="FFFFFF"/>
          </a:solidFill>
          <a:ln w="6350" cap="flat">
            <a:noFill/>
            <a:prstDash val="solid"/>
            <a:miter/>
          </a:ln>
        </p:spPr>
        <p:txBody>
          <a:bodyPr rtlCol="0" anchor="ctr"/>
          <a:lstStyle/>
          <a:p>
            <a:endParaRPr lang="en-GB"/>
          </a:p>
        </p:txBody>
      </p:sp>
      <p:grpSp>
        <p:nvGrpSpPr>
          <p:cNvPr id="161" name="Graphic 79">
            <a:extLst>
              <a:ext uri="{FF2B5EF4-FFF2-40B4-BE49-F238E27FC236}">
                <a16:creationId xmlns:a16="http://schemas.microsoft.com/office/drawing/2014/main" id="{4FA72D8D-D4C0-6349-C04E-843DC39CFA5A}"/>
              </a:ext>
            </a:extLst>
          </p:cNvPr>
          <p:cNvGrpSpPr/>
          <p:nvPr userDrawn="1"/>
        </p:nvGrpSpPr>
        <p:grpSpPr>
          <a:xfrm>
            <a:off x="2448560" y="3166745"/>
            <a:ext cx="943609" cy="524509"/>
            <a:chOff x="-11267440" y="3166745"/>
            <a:chExt cx="943609" cy="524509"/>
          </a:xfrm>
          <a:solidFill>
            <a:srgbClr val="FFFFFF"/>
          </a:solidFill>
        </p:grpSpPr>
        <p:grpSp>
          <p:nvGrpSpPr>
            <p:cNvPr id="162" name="Graphic 79">
              <a:extLst>
                <a:ext uri="{FF2B5EF4-FFF2-40B4-BE49-F238E27FC236}">
                  <a16:creationId xmlns:a16="http://schemas.microsoft.com/office/drawing/2014/main" id="{6FD92F04-1484-E05F-A5EE-C5180186DE0D}"/>
                </a:ext>
              </a:extLst>
            </p:cNvPr>
            <p:cNvGrpSpPr/>
            <p:nvPr/>
          </p:nvGrpSpPr>
          <p:grpSpPr>
            <a:xfrm>
              <a:off x="-11229340" y="3590925"/>
              <a:ext cx="379730" cy="100329"/>
              <a:chOff x="-11229340" y="3590925"/>
              <a:chExt cx="379730" cy="100329"/>
            </a:xfrm>
            <a:solidFill>
              <a:srgbClr val="FFFFFF"/>
            </a:solidFill>
          </p:grpSpPr>
          <p:sp>
            <p:nvSpPr>
              <p:cNvPr id="164" name="Freeform 163">
                <a:extLst>
                  <a:ext uri="{FF2B5EF4-FFF2-40B4-BE49-F238E27FC236}">
                    <a16:creationId xmlns:a16="http://schemas.microsoft.com/office/drawing/2014/main" id="{AA04F2FB-834D-49B0-74A0-B1D6B2D23ED5}"/>
                  </a:ext>
                </a:extLst>
              </p:cNvPr>
              <p:cNvSpPr/>
              <p:nvPr/>
            </p:nvSpPr>
            <p:spPr>
              <a:xfrm>
                <a:off x="-11229340" y="3590925"/>
                <a:ext cx="126365" cy="98425"/>
              </a:xfrm>
              <a:custGeom>
                <a:avLst/>
                <a:gdLst>
                  <a:gd name="connsiteX0" fmla="*/ 52070 w 126365"/>
                  <a:gd name="connsiteY0" fmla="*/ 0 h 98425"/>
                  <a:gd name="connsiteX1" fmla="*/ 74930 w 126365"/>
                  <a:gd name="connsiteY1" fmla="*/ 0 h 98425"/>
                  <a:gd name="connsiteX2" fmla="*/ 126365 w 126365"/>
                  <a:gd name="connsiteY2" fmla="*/ 98425 h 98425"/>
                  <a:gd name="connsiteX3" fmla="*/ 101600 w 126365"/>
                  <a:gd name="connsiteY3" fmla="*/ 98425 h 98425"/>
                  <a:gd name="connsiteX4" fmla="*/ 90805 w 126365"/>
                  <a:gd name="connsiteY4" fmla="*/ 78105 h 98425"/>
                  <a:gd name="connsiteX5" fmla="*/ 34290 w 126365"/>
                  <a:gd name="connsiteY5" fmla="*/ 78105 h 98425"/>
                  <a:gd name="connsiteX6" fmla="*/ 24130 w 126365"/>
                  <a:gd name="connsiteY6" fmla="*/ 98425 h 98425"/>
                  <a:gd name="connsiteX7" fmla="*/ 0 w 126365"/>
                  <a:gd name="connsiteY7" fmla="*/ 98425 h 98425"/>
                  <a:gd name="connsiteX8" fmla="*/ 52070 w 126365"/>
                  <a:gd name="connsiteY8" fmla="*/ 0 h 98425"/>
                  <a:gd name="connsiteX9" fmla="*/ 43180 w 126365"/>
                  <a:gd name="connsiteY9" fmla="*/ 61595 h 98425"/>
                  <a:gd name="connsiteX10" fmla="*/ 83185 w 126365"/>
                  <a:gd name="connsiteY10" fmla="*/ 61595 h 98425"/>
                  <a:gd name="connsiteX11" fmla="*/ 63500 w 126365"/>
                  <a:gd name="connsiteY11" fmla="*/ 21590 h 98425"/>
                  <a:gd name="connsiteX12" fmla="*/ 43180 w 126365"/>
                  <a:gd name="connsiteY12" fmla="*/ 6159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65" h="98425">
                    <a:moveTo>
                      <a:pt x="52070" y="0"/>
                    </a:moveTo>
                    <a:lnTo>
                      <a:pt x="74930" y="0"/>
                    </a:lnTo>
                    <a:lnTo>
                      <a:pt x="126365" y="98425"/>
                    </a:lnTo>
                    <a:lnTo>
                      <a:pt x="101600" y="98425"/>
                    </a:lnTo>
                    <a:lnTo>
                      <a:pt x="90805" y="78105"/>
                    </a:lnTo>
                    <a:lnTo>
                      <a:pt x="34290" y="78105"/>
                    </a:lnTo>
                    <a:lnTo>
                      <a:pt x="24130" y="98425"/>
                    </a:lnTo>
                    <a:lnTo>
                      <a:pt x="0" y="98425"/>
                    </a:lnTo>
                    <a:lnTo>
                      <a:pt x="52070" y="0"/>
                    </a:lnTo>
                    <a:close/>
                    <a:moveTo>
                      <a:pt x="43180" y="61595"/>
                    </a:moveTo>
                    <a:lnTo>
                      <a:pt x="83185" y="61595"/>
                    </a:lnTo>
                    <a:lnTo>
                      <a:pt x="63500" y="21590"/>
                    </a:lnTo>
                    <a:lnTo>
                      <a:pt x="43180" y="61595"/>
                    </a:lnTo>
                    <a:close/>
                  </a:path>
                </a:pathLst>
              </a:custGeom>
              <a:solidFill>
                <a:srgbClr val="FFFFFF"/>
              </a:solidFill>
              <a:ln w="6350" cap="flat">
                <a:noFill/>
                <a:prstDash val="solid"/>
                <a:miter/>
              </a:ln>
            </p:spPr>
            <p:txBody>
              <a:bodyPr rtlCol="0" anchor="ctr"/>
              <a:lstStyle/>
              <a:p>
                <a:endParaRPr lang="en-GB"/>
              </a:p>
            </p:txBody>
          </p:sp>
          <p:sp>
            <p:nvSpPr>
              <p:cNvPr id="165" name="Freeform 164">
                <a:extLst>
                  <a:ext uri="{FF2B5EF4-FFF2-40B4-BE49-F238E27FC236}">
                    <a16:creationId xmlns:a16="http://schemas.microsoft.com/office/drawing/2014/main" id="{4D26B8F2-947B-7513-88EB-8171312D2EA0}"/>
                  </a:ext>
                </a:extLst>
              </p:cNvPr>
              <p:cNvSpPr/>
              <p:nvPr/>
            </p:nvSpPr>
            <p:spPr>
              <a:xfrm>
                <a:off x="-11090909" y="3619500"/>
                <a:ext cx="83819" cy="71754"/>
              </a:xfrm>
              <a:custGeom>
                <a:avLst/>
                <a:gdLst>
                  <a:gd name="connsiteX0" fmla="*/ 62865 w 83819"/>
                  <a:gd name="connsiteY0" fmla="*/ 62865 h 71754"/>
                  <a:gd name="connsiteX1" fmla="*/ 34290 w 83819"/>
                  <a:gd name="connsiteY1" fmla="*/ 71755 h 71754"/>
                  <a:gd name="connsiteX2" fmla="*/ 0 w 83819"/>
                  <a:gd name="connsiteY2" fmla="*/ 40640 h 71754"/>
                  <a:gd name="connsiteX3" fmla="*/ 0 w 83819"/>
                  <a:gd name="connsiteY3" fmla="*/ 0 h 71754"/>
                  <a:gd name="connsiteX4" fmla="*/ 21590 w 83819"/>
                  <a:gd name="connsiteY4" fmla="*/ 0 h 71754"/>
                  <a:gd name="connsiteX5" fmla="*/ 21590 w 83819"/>
                  <a:gd name="connsiteY5" fmla="*/ 38100 h 71754"/>
                  <a:gd name="connsiteX6" fmla="*/ 40005 w 83819"/>
                  <a:gd name="connsiteY6" fmla="*/ 55245 h 71754"/>
                  <a:gd name="connsiteX7" fmla="*/ 62230 w 83819"/>
                  <a:gd name="connsiteY7" fmla="*/ 49530 h 71754"/>
                  <a:gd name="connsiteX8" fmla="*/ 62230 w 83819"/>
                  <a:gd name="connsiteY8" fmla="*/ 0 h 71754"/>
                  <a:gd name="connsiteX9" fmla="*/ 83820 w 83819"/>
                  <a:gd name="connsiteY9" fmla="*/ 0 h 71754"/>
                  <a:gd name="connsiteX10" fmla="*/ 83820 w 83819"/>
                  <a:gd name="connsiteY10" fmla="*/ 69850 h 71754"/>
                  <a:gd name="connsiteX11" fmla="*/ 65405 w 83819"/>
                  <a:gd name="connsiteY11" fmla="*/ 69850 h 71754"/>
                  <a:gd name="connsiteX12" fmla="*/ 62865 w 83819"/>
                  <a:gd name="connsiteY12" fmla="*/ 62865 h 7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19" h="71754">
                    <a:moveTo>
                      <a:pt x="62865" y="62865"/>
                    </a:moveTo>
                    <a:cubicBezTo>
                      <a:pt x="56515" y="67945"/>
                      <a:pt x="45085" y="71755"/>
                      <a:pt x="34290" y="71755"/>
                    </a:cubicBezTo>
                    <a:cubicBezTo>
                      <a:pt x="16510" y="71755"/>
                      <a:pt x="0" y="66040"/>
                      <a:pt x="0" y="40640"/>
                    </a:cubicBezTo>
                    <a:lnTo>
                      <a:pt x="0" y="0"/>
                    </a:lnTo>
                    <a:lnTo>
                      <a:pt x="21590" y="0"/>
                    </a:lnTo>
                    <a:lnTo>
                      <a:pt x="21590" y="38100"/>
                    </a:lnTo>
                    <a:cubicBezTo>
                      <a:pt x="21590" y="49530"/>
                      <a:pt x="26670" y="55245"/>
                      <a:pt x="40005" y="55245"/>
                    </a:cubicBezTo>
                    <a:cubicBezTo>
                      <a:pt x="48895" y="55245"/>
                      <a:pt x="55245" y="52705"/>
                      <a:pt x="62230" y="49530"/>
                    </a:cubicBezTo>
                    <a:lnTo>
                      <a:pt x="62230" y="0"/>
                    </a:lnTo>
                    <a:lnTo>
                      <a:pt x="83820" y="0"/>
                    </a:lnTo>
                    <a:lnTo>
                      <a:pt x="83820" y="69850"/>
                    </a:lnTo>
                    <a:lnTo>
                      <a:pt x="65405" y="69850"/>
                    </a:lnTo>
                    <a:lnTo>
                      <a:pt x="62865" y="62865"/>
                    </a:lnTo>
                    <a:close/>
                  </a:path>
                </a:pathLst>
              </a:custGeom>
              <a:solidFill>
                <a:srgbClr val="FFFFFF"/>
              </a:solidFill>
              <a:ln w="6350" cap="flat">
                <a:noFill/>
                <a:prstDash val="solid"/>
                <a:miter/>
              </a:ln>
            </p:spPr>
            <p:txBody>
              <a:bodyPr rtlCol="0" anchor="ctr"/>
              <a:lstStyle/>
              <a:p>
                <a:endParaRPr lang="en-GB"/>
              </a:p>
            </p:txBody>
          </p:sp>
          <p:sp>
            <p:nvSpPr>
              <p:cNvPr id="166" name="Freeform 165">
                <a:extLst>
                  <a:ext uri="{FF2B5EF4-FFF2-40B4-BE49-F238E27FC236}">
                    <a16:creationId xmlns:a16="http://schemas.microsoft.com/office/drawing/2014/main" id="{EA7BEBDF-C989-2D94-064F-49EDEAF29E2C}"/>
                  </a:ext>
                </a:extLst>
              </p:cNvPr>
              <p:cNvSpPr/>
              <p:nvPr/>
            </p:nvSpPr>
            <p:spPr>
              <a:xfrm>
                <a:off x="-10986769" y="3590925"/>
                <a:ext cx="89534" cy="100329"/>
              </a:xfrm>
              <a:custGeom>
                <a:avLst/>
                <a:gdLst>
                  <a:gd name="connsiteX0" fmla="*/ 0 w 89534"/>
                  <a:gd name="connsiteY0" fmla="*/ 63500 h 100329"/>
                  <a:gd name="connsiteX1" fmla="*/ 41275 w 89534"/>
                  <a:gd name="connsiteY1" fmla="*/ 26670 h 100329"/>
                  <a:gd name="connsiteX2" fmla="*/ 67945 w 89534"/>
                  <a:gd name="connsiteY2" fmla="*/ 33020 h 100329"/>
                  <a:gd name="connsiteX3" fmla="*/ 67945 w 89534"/>
                  <a:gd name="connsiteY3" fmla="*/ 0 h 100329"/>
                  <a:gd name="connsiteX4" fmla="*/ 89535 w 89534"/>
                  <a:gd name="connsiteY4" fmla="*/ 0 h 100329"/>
                  <a:gd name="connsiteX5" fmla="*/ 89535 w 89534"/>
                  <a:gd name="connsiteY5" fmla="*/ 98425 h 100329"/>
                  <a:gd name="connsiteX6" fmla="*/ 71120 w 89534"/>
                  <a:gd name="connsiteY6" fmla="*/ 98425 h 100329"/>
                  <a:gd name="connsiteX7" fmla="*/ 69850 w 89534"/>
                  <a:gd name="connsiteY7" fmla="*/ 90805 h 100329"/>
                  <a:gd name="connsiteX8" fmla="*/ 40639 w 89534"/>
                  <a:gd name="connsiteY8" fmla="*/ 100330 h 100329"/>
                  <a:gd name="connsiteX9" fmla="*/ 0 w 89534"/>
                  <a:gd name="connsiteY9" fmla="*/ 63500 h 100329"/>
                  <a:gd name="connsiteX10" fmla="*/ 67945 w 89534"/>
                  <a:gd name="connsiteY10" fmla="*/ 78740 h 100329"/>
                  <a:gd name="connsiteX11" fmla="*/ 67945 w 89534"/>
                  <a:gd name="connsiteY11" fmla="*/ 48895 h 100329"/>
                  <a:gd name="connsiteX12" fmla="*/ 43814 w 89534"/>
                  <a:gd name="connsiteY12" fmla="*/ 43180 h 100329"/>
                  <a:gd name="connsiteX13" fmla="*/ 21589 w 89534"/>
                  <a:gd name="connsiteY13" fmla="*/ 63500 h 100329"/>
                  <a:gd name="connsiteX14" fmla="*/ 43814 w 89534"/>
                  <a:gd name="connsiteY14" fmla="*/ 84455 h 100329"/>
                  <a:gd name="connsiteX15" fmla="*/ 67945 w 89534"/>
                  <a:gd name="connsiteY15" fmla="*/ 78740 h 10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534" h="100329">
                    <a:moveTo>
                      <a:pt x="0" y="63500"/>
                    </a:moveTo>
                    <a:cubicBezTo>
                      <a:pt x="0" y="40640"/>
                      <a:pt x="14605" y="26670"/>
                      <a:pt x="41275" y="26670"/>
                    </a:cubicBezTo>
                    <a:cubicBezTo>
                      <a:pt x="51435" y="26670"/>
                      <a:pt x="62230" y="29210"/>
                      <a:pt x="67945" y="33020"/>
                    </a:cubicBezTo>
                    <a:lnTo>
                      <a:pt x="67945" y="0"/>
                    </a:lnTo>
                    <a:lnTo>
                      <a:pt x="89535" y="0"/>
                    </a:lnTo>
                    <a:lnTo>
                      <a:pt x="89535" y="98425"/>
                    </a:lnTo>
                    <a:lnTo>
                      <a:pt x="71120" y="98425"/>
                    </a:lnTo>
                    <a:lnTo>
                      <a:pt x="69850" y="90805"/>
                    </a:lnTo>
                    <a:cubicBezTo>
                      <a:pt x="63500" y="96520"/>
                      <a:pt x="52070" y="100330"/>
                      <a:pt x="40639" y="100330"/>
                    </a:cubicBezTo>
                    <a:cubicBezTo>
                      <a:pt x="13970" y="100330"/>
                      <a:pt x="0" y="86995"/>
                      <a:pt x="0" y="63500"/>
                    </a:cubicBezTo>
                    <a:close/>
                    <a:moveTo>
                      <a:pt x="67945" y="78740"/>
                    </a:moveTo>
                    <a:lnTo>
                      <a:pt x="67945" y="48895"/>
                    </a:lnTo>
                    <a:cubicBezTo>
                      <a:pt x="60325" y="45085"/>
                      <a:pt x="53975" y="43180"/>
                      <a:pt x="43814" y="43180"/>
                    </a:cubicBezTo>
                    <a:cubicBezTo>
                      <a:pt x="29210" y="43180"/>
                      <a:pt x="21589" y="50800"/>
                      <a:pt x="21589" y="63500"/>
                    </a:cubicBezTo>
                    <a:cubicBezTo>
                      <a:pt x="21589" y="76200"/>
                      <a:pt x="29210" y="84455"/>
                      <a:pt x="43814" y="84455"/>
                    </a:cubicBezTo>
                    <a:cubicBezTo>
                      <a:pt x="53975" y="84455"/>
                      <a:pt x="60325" y="82550"/>
                      <a:pt x="67945" y="78740"/>
                    </a:cubicBezTo>
                    <a:close/>
                  </a:path>
                </a:pathLst>
              </a:custGeom>
              <a:solidFill>
                <a:srgbClr val="FFFFFF"/>
              </a:solidFill>
              <a:ln w="6350" cap="flat">
                <a:noFill/>
                <a:prstDash val="solid"/>
                <a:miter/>
              </a:ln>
            </p:spPr>
            <p:txBody>
              <a:bodyPr rtlCol="0" anchor="ctr"/>
              <a:lstStyle/>
              <a:p>
                <a:endParaRPr lang="en-GB"/>
              </a:p>
            </p:txBody>
          </p:sp>
          <p:sp>
            <p:nvSpPr>
              <p:cNvPr id="167" name="Freeform 166">
                <a:extLst>
                  <a:ext uri="{FF2B5EF4-FFF2-40B4-BE49-F238E27FC236}">
                    <a16:creationId xmlns:a16="http://schemas.microsoft.com/office/drawing/2014/main" id="{2696E6B1-FFDA-32EC-488B-D1A54FE99590}"/>
                  </a:ext>
                </a:extLst>
              </p:cNvPr>
              <p:cNvSpPr/>
              <p:nvPr/>
            </p:nvSpPr>
            <p:spPr>
              <a:xfrm>
                <a:off x="-10871200" y="3590925"/>
                <a:ext cx="21590" cy="98425"/>
              </a:xfrm>
              <a:custGeom>
                <a:avLst/>
                <a:gdLst>
                  <a:gd name="connsiteX0" fmla="*/ 0 w 21590"/>
                  <a:gd name="connsiteY0" fmla="*/ 0 h 98425"/>
                  <a:gd name="connsiteX1" fmla="*/ 21590 w 21590"/>
                  <a:gd name="connsiteY1" fmla="*/ 0 h 98425"/>
                  <a:gd name="connsiteX2" fmla="*/ 21590 w 21590"/>
                  <a:gd name="connsiteY2" fmla="*/ 18415 h 98425"/>
                  <a:gd name="connsiteX3" fmla="*/ 0 w 21590"/>
                  <a:gd name="connsiteY3" fmla="*/ 18415 h 98425"/>
                  <a:gd name="connsiteX4" fmla="*/ 0 w 21590"/>
                  <a:gd name="connsiteY4" fmla="*/ 0 h 98425"/>
                  <a:gd name="connsiteX5" fmla="*/ 0 w 21590"/>
                  <a:gd name="connsiteY5" fmla="*/ 28575 h 98425"/>
                  <a:gd name="connsiteX6" fmla="*/ 21590 w 21590"/>
                  <a:gd name="connsiteY6" fmla="*/ 28575 h 98425"/>
                  <a:gd name="connsiteX7" fmla="*/ 21590 w 21590"/>
                  <a:gd name="connsiteY7" fmla="*/ 98425 h 98425"/>
                  <a:gd name="connsiteX8" fmla="*/ 0 w 21590"/>
                  <a:gd name="connsiteY8" fmla="*/ 98425 h 98425"/>
                  <a:gd name="connsiteX9" fmla="*/ 0 w 21590"/>
                  <a:gd name="connsiteY9" fmla="*/ 2857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90" h="98425">
                    <a:moveTo>
                      <a:pt x="0" y="0"/>
                    </a:moveTo>
                    <a:lnTo>
                      <a:pt x="21590" y="0"/>
                    </a:lnTo>
                    <a:lnTo>
                      <a:pt x="21590" y="18415"/>
                    </a:lnTo>
                    <a:lnTo>
                      <a:pt x="0" y="18415"/>
                    </a:lnTo>
                    <a:lnTo>
                      <a:pt x="0" y="0"/>
                    </a:lnTo>
                    <a:close/>
                    <a:moveTo>
                      <a:pt x="0" y="28575"/>
                    </a:moveTo>
                    <a:lnTo>
                      <a:pt x="21590" y="28575"/>
                    </a:lnTo>
                    <a:lnTo>
                      <a:pt x="21590" y="98425"/>
                    </a:lnTo>
                    <a:lnTo>
                      <a:pt x="0" y="98425"/>
                    </a:lnTo>
                    <a:lnTo>
                      <a:pt x="0" y="28575"/>
                    </a:lnTo>
                    <a:close/>
                  </a:path>
                </a:pathLst>
              </a:custGeom>
              <a:solidFill>
                <a:srgbClr val="FFFFFF"/>
              </a:solidFill>
              <a:ln w="6350" cap="flat">
                <a:noFill/>
                <a:prstDash val="solid"/>
                <a:miter/>
              </a:ln>
            </p:spPr>
            <p:txBody>
              <a:bodyPr rtlCol="0" anchor="ctr"/>
              <a:lstStyle/>
              <a:p>
                <a:endParaRPr lang="en-GB"/>
              </a:p>
            </p:txBody>
          </p:sp>
        </p:grpSp>
        <p:sp>
          <p:nvSpPr>
            <p:cNvPr id="163" name="Freeform 162">
              <a:extLst>
                <a:ext uri="{FF2B5EF4-FFF2-40B4-BE49-F238E27FC236}">
                  <a16:creationId xmlns:a16="http://schemas.microsoft.com/office/drawing/2014/main" id="{28068304-8CA0-AAFD-A193-D19013B8E1C8}"/>
                </a:ext>
              </a:extLst>
            </p:cNvPr>
            <p:cNvSpPr/>
            <p:nvPr/>
          </p:nvSpPr>
          <p:spPr>
            <a:xfrm>
              <a:off x="-11267440" y="3166745"/>
              <a:ext cx="943609" cy="326389"/>
            </a:xfrm>
            <a:custGeom>
              <a:avLst/>
              <a:gdLst>
                <a:gd name="connsiteX0" fmla="*/ 780415 w 943609"/>
                <a:gd name="connsiteY0" fmla="*/ 0 h 326389"/>
                <a:gd name="connsiteX1" fmla="*/ 677545 w 943609"/>
                <a:gd name="connsiteY1" fmla="*/ 36195 h 326389"/>
                <a:gd name="connsiteX2" fmla="*/ 574675 w 943609"/>
                <a:gd name="connsiteY2" fmla="*/ 0 h 326389"/>
                <a:gd name="connsiteX3" fmla="*/ 471805 w 943609"/>
                <a:gd name="connsiteY3" fmla="*/ 36195 h 326389"/>
                <a:gd name="connsiteX4" fmla="*/ 368935 w 943609"/>
                <a:gd name="connsiteY4" fmla="*/ 0 h 326389"/>
                <a:gd name="connsiteX5" fmla="*/ 266065 w 943609"/>
                <a:gd name="connsiteY5" fmla="*/ 36195 h 326389"/>
                <a:gd name="connsiteX6" fmla="*/ 163195 w 943609"/>
                <a:gd name="connsiteY6" fmla="*/ 0 h 326389"/>
                <a:gd name="connsiteX7" fmla="*/ 0 w 943609"/>
                <a:gd name="connsiteY7" fmla="*/ 163195 h 326389"/>
                <a:gd name="connsiteX8" fmla="*/ 163195 w 943609"/>
                <a:gd name="connsiteY8" fmla="*/ 326390 h 326389"/>
                <a:gd name="connsiteX9" fmla="*/ 266065 w 943609"/>
                <a:gd name="connsiteY9" fmla="*/ 290195 h 326389"/>
                <a:gd name="connsiteX10" fmla="*/ 368935 w 943609"/>
                <a:gd name="connsiteY10" fmla="*/ 326390 h 326389"/>
                <a:gd name="connsiteX11" fmla="*/ 471805 w 943609"/>
                <a:gd name="connsiteY11" fmla="*/ 290195 h 326389"/>
                <a:gd name="connsiteX12" fmla="*/ 574675 w 943609"/>
                <a:gd name="connsiteY12" fmla="*/ 326390 h 326389"/>
                <a:gd name="connsiteX13" fmla="*/ 677545 w 943609"/>
                <a:gd name="connsiteY13" fmla="*/ 290195 h 326389"/>
                <a:gd name="connsiteX14" fmla="*/ 780415 w 943609"/>
                <a:gd name="connsiteY14" fmla="*/ 326390 h 326389"/>
                <a:gd name="connsiteX15" fmla="*/ 943610 w 943609"/>
                <a:gd name="connsiteY15" fmla="*/ 163195 h 326389"/>
                <a:gd name="connsiteX16" fmla="*/ 780415 w 943609"/>
                <a:gd name="connsiteY16" fmla="*/ 0 h 326389"/>
                <a:gd name="connsiteX17" fmla="*/ 677545 w 943609"/>
                <a:gd name="connsiteY17" fmla="*/ 236220 h 326389"/>
                <a:gd name="connsiteX18" fmla="*/ 654050 w 943609"/>
                <a:gd name="connsiteY18" fmla="*/ 163195 h 326389"/>
                <a:gd name="connsiteX19" fmla="*/ 677545 w 943609"/>
                <a:gd name="connsiteY19" fmla="*/ 90170 h 326389"/>
                <a:gd name="connsiteX20" fmla="*/ 701040 w 943609"/>
                <a:gd name="connsiteY20" fmla="*/ 163195 h 326389"/>
                <a:gd name="connsiteX21" fmla="*/ 677545 w 943609"/>
                <a:gd name="connsiteY21" fmla="*/ 236220 h 326389"/>
                <a:gd name="connsiteX22" fmla="*/ 472440 w 943609"/>
                <a:gd name="connsiteY22" fmla="*/ 236220 h 326389"/>
                <a:gd name="connsiteX23" fmla="*/ 448945 w 943609"/>
                <a:gd name="connsiteY23" fmla="*/ 163195 h 326389"/>
                <a:gd name="connsiteX24" fmla="*/ 472440 w 943609"/>
                <a:gd name="connsiteY24" fmla="*/ 90170 h 326389"/>
                <a:gd name="connsiteX25" fmla="*/ 495935 w 943609"/>
                <a:gd name="connsiteY25" fmla="*/ 163195 h 326389"/>
                <a:gd name="connsiteX26" fmla="*/ 472440 w 943609"/>
                <a:gd name="connsiteY26" fmla="*/ 236220 h 326389"/>
                <a:gd name="connsiteX27" fmla="*/ 267335 w 943609"/>
                <a:gd name="connsiteY27" fmla="*/ 236220 h 326389"/>
                <a:gd name="connsiteX28" fmla="*/ 243840 w 943609"/>
                <a:gd name="connsiteY28" fmla="*/ 163195 h 326389"/>
                <a:gd name="connsiteX29" fmla="*/ 267335 w 943609"/>
                <a:gd name="connsiteY29" fmla="*/ 90170 h 326389"/>
                <a:gd name="connsiteX30" fmla="*/ 290830 w 943609"/>
                <a:gd name="connsiteY30" fmla="*/ 163195 h 326389"/>
                <a:gd name="connsiteX31" fmla="*/ 267335 w 943609"/>
                <a:gd name="connsiteY31" fmla="*/ 236220 h 326389"/>
                <a:gd name="connsiteX32" fmla="*/ 38735 w 943609"/>
                <a:gd name="connsiteY32" fmla="*/ 162560 h 326389"/>
                <a:gd name="connsiteX33" fmla="*/ 165100 w 943609"/>
                <a:gd name="connsiteY33" fmla="*/ 36195 h 326389"/>
                <a:gd name="connsiteX34" fmla="*/ 241935 w 943609"/>
                <a:gd name="connsiteY34" fmla="*/ 62230 h 326389"/>
                <a:gd name="connsiteX35" fmla="*/ 207645 w 943609"/>
                <a:gd name="connsiteY35" fmla="*/ 161925 h 326389"/>
                <a:gd name="connsiteX36" fmla="*/ 241935 w 943609"/>
                <a:gd name="connsiteY36" fmla="*/ 261620 h 326389"/>
                <a:gd name="connsiteX37" fmla="*/ 165100 w 943609"/>
                <a:gd name="connsiteY37" fmla="*/ 287655 h 326389"/>
                <a:gd name="connsiteX38" fmla="*/ 38735 w 943609"/>
                <a:gd name="connsiteY38" fmla="*/ 162560 h 326389"/>
                <a:gd name="connsiteX39" fmla="*/ 292735 w 943609"/>
                <a:gd name="connsiteY39" fmla="*/ 262890 h 326389"/>
                <a:gd name="connsiteX40" fmla="*/ 327025 w 943609"/>
                <a:gd name="connsiteY40" fmla="*/ 163195 h 326389"/>
                <a:gd name="connsiteX41" fmla="*/ 292735 w 943609"/>
                <a:gd name="connsiteY41" fmla="*/ 63500 h 326389"/>
                <a:gd name="connsiteX42" fmla="*/ 369570 w 943609"/>
                <a:gd name="connsiteY42" fmla="*/ 37465 h 326389"/>
                <a:gd name="connsiteX43" fmla="*/ 446405 w 943609"/>
                <a:gd name="connsiteY43" fmla="*/ 63500 h 326389"/>
                <a:gd name="connsiteX44" fmla="*/ 412115 w 943609"/>
                <a:gd name="connsiteY44" fmla="*/ 163195 h 326389"/>
                <a:gd name="connsiteX45" fmla="*/ 446405 w 943609"/>
                <a:gd name="connsiteY45" fmla="*/ 262890 h 326389"/>
                <a:gd name="connsiteX46" fmla="*/ 369570 w 943609"/>
                <a:gd name="connsiteY46" fmla="*/ 288925 h 326389"/>
                <a:gd name="connsiteX47" fmla="*/ 292735 w 943609"/>
                <a:gd name="connsiteY47" fmla="*/ 262890 h 326389"/>
                <a:gd name="connsiteX48" fmla="*/ 498475 w 943609"/>
                <a:gd name="connsiteY48" fmla="*/ 262890 h 326389"/>
                <a:gd name="connsiteX49" fmla="*/ 532765 w 943609"/>
                <a:gd name="connsiteY49" fmla="*/ 163195 h 326389"/>
                <a:gd name="connsiteX50" fmla="*/ 498475 w 943609"/>
                <a:gd name="connsiteY50" fmla="*/ 63500 h 326389"/>
                <a:gd name="connsiteX51" fmla="*/ 575310 w 943609"/>
                <a:gd name="connsiteY51" fmla="*/ 37465 h 326389"/>
                <a:gd name="connsiteX52" fmla="*/ 652145 w 943609"/>
                <a:gd name="connsiteY52" fmla="*/ 63500 h 326389"/>
                <a:gd name="connsiteX53" fmla="*/ 617855 w 943609"/>
                <a:gd name="connsiteY53" fmla="*/ 163195 h 326389"/>
                <a:gd name="connsiteX54" fmla="*/ 652145 w 943609"/>
                <a:gd name="connsiteY54" fmla="*/ 262890 h 326389"/>
                <a:gd name="connsiteX55" fmla="*/ 575310 w 943609"/>
                <a:gd name="connsiteY55" fmla="*/ 288925 h 326389"/>
                <a:gd name="connsiteX56" fmla="*/ 498475 w 943609"/>
                <a:gd name="connsiteY56" fmla="*/ 262890 h 326389"/>
                <a:gd name="connsiteX57" fmla="*/ 780415 w 943609"/>
                <a:gd name="connsiteY57" fmla="*/ 288290 h 326389"/>
                <a:gd name="connsiteX58" fmla="*/ 703580 w 943609"/>
                <a:gd name="connsiteY58" fmla="*/ 262255 h 326389"/>
                <a:gd name="connsiteX59" fmla="*/ 737870 w 943609"/>
                <a:gd name="connsiteY59" fmla="*/ 162560 h 326389"/>
                <a:gd name="connsiteX60" fmla="*/ 703580 w 943609"/>
                <a:gd name="connsiteY60" fmla="*/ 62865 h 326389"/>
                <a:gd name="connsiteX61" fmla="*/ 780415 w 943609"/>
                <a:gd name="connsiteY61" fmla="*/ 36830 h 326389"/>
                <a:gd name="connsiteX62" fmla="*/ 906780 w 943609"/>
                <a:gd name="connsiteY62" fmla="*/ 163195 h 326389"/>
                <a:gd name="connsiteX63" fmla="*/ 780415 w 943609"/>
                <a:gd name="connsiteY63" fmla="*/ 288290 h 32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43609" h="326389">
                  <a:moveTo>
                    <a:pt x="780415" y="0"/>
                  </a:moveTo>
                  <a:cubicBezTo>
                    <a:pt x="741680" y="0"/>
                    <a:pt x="705485" y="13970"/>
                    <a:pt x="677545" y="36195"/>
                  </a:cubicBezTo>
                  <a:cubicBezTo>
                    <a:pt x="649605" y="13335"/>
                    <a:pt x="614045" y="0"/>
                    <a:pt x="574675" y="0"/>
                  </a:cubicBezTo>
                  <a:cubicBezTo>
                    <a:pt x="535940" y="0"/>
                    <a:pt x="499745" y="13970"/>
                    <a:pt x="471805" y="36195"/>
                  </a:cubicBezTo>
                  <a:cubicBezTo>
                    <a:pt x="443865" y="13335"/>
                    <a:pt x="408305" y="0"/>
                    <a:pt x="368935" y="0"/>
                  </a:cubicBezTo>
                  <a:cubicBezTo>
                    <a:pt x="330200" y="0"/>
                    <a:pt x="294005" y="13970"/>
                    <a:pt x="266065" y="36195"/>
                  </a:cubicBezTo>
                  <a:cubicBezTo>
                    <a:pt x="238125" y="13335"/>
                    <a:pt x="201930" y="0"/>
                    <a:pt x="163195" y="0"/>
                  </a:cubicBezTo>
                  <a:cubicBezTo>
                    <a:pt x="73025" y="0"/>
                    <a:pt x="0" y="73025"/>
                    <a:pt x="0" y="163195"/>
                  </a:cubicBezTo>
                  <a:cubicBezTo>
                    <a:pt x="0" y="253365"/>
                    <a:pt x="73025" y="326390"/>
                    <a:pt x="163195" y="326390"/>
                  </a:cubicBezTo>
                  <a:cubicBezTo>
                    <a:pt x="201930" y="326390"/>
                    <a:pt x="238125" y="312420"/>
                    <a:pt x="266065" y="290195"/>
                  </a:cubicBezTo>
                  <a:cubicBezTo>
                    <a:pt x="294005" y="313055"/>
                    <a:pt x="329565" y="326390"/>
                    <a:pt x="368935" y="326390"/>
                  </a:cubicBezTo>
                  <a:cubicBezTo>
                    <a:pt x="407670" y="326390"/>
                    <a:pt x="443865" y="312420"/>
                    <a:pt x="471805" y="290195"/>
                  </a:cubicBezTo>
                  <a:cubicBezTo>
                    <a:pt x="499745" y="313055"/>
                    <a:pt x="535305" y="326390"/>
                    <a:pt x="574675" y="326390"/>
                  </a:cubicBezTo>
                  <a:cubicBezTo>
                    <a:pt x="613410" y="326390"/>
                    <a:pt x="649605" y="312420"/>
                    <a:pt x="677545" y="290195"/>
                  </a:cubicBezTo>
                  <a:cubicBezTo>
                    <a:pt x="705485" y="313055"/>
                    <a:pt x="741045" y="326390"/>
                    <a:pt x="780415" y="326390"/>
                  </a:cubicBezTo>
                  <a:cubicBezTo>
                    <a:pt x="870585" y="326390"/>
                    <a:pt x="943610" y="253365"/>
                    <a:pt x="943610" y="163195"/>
                  </a:cubicBezTo>
                  <a:cubicBezTo>
                    <a:pt x="943610" y="72390"/>
                    <a:pt x="870585" y="0"/>
                    <a:pt x="780415" y="0"/>
                  </a:cubicBezTo>
                  <a:close/>
                  <a:moveTo>
                    <a:pt x="677545" y="236220"/>
                  </a:moveTo>
                  <a:cubicBezTo>
                    <a:pt x="662940" y="215265"/>
                    <a:pt x="654050" y="190500"/>
                    <a:pt x="654050" y="163195"/>
                  </a:cubicBezTo>
                  <a:cubicBezTo>
                    <a:pt x="654050" y="135890"/>
                    <a:pt x="662940" y="110490"/>
                    <a:pt x="677545" y="90170"/>
                  </a:cubicBezTo>
                  <a:cubicBezTo>
                    <a:pt x="692150" y="111125"/>
                    <a:pt x="701040" y="135890"/>
                    <a:pt x="701040" y="163195"/>
                  </a:cubicBezTo>
                  <a:cubicBezTo>
                    <a:pt x="701040" y="190500"/>
                    <a:pt x="692785" y="215265"/>
                    <a:pt x="677545" y="236220"/>
                  </a:cubicBezTo>
                  <a:close/>
                  <a:moveTo>
                    <a:pt x="472440" y="236220"/>
                  </a:moveTo>
                  <a:cubicBezTo>
                    <a:pt x="457835" y="215265"/>
                    <a:pt x="448945" y="190500"/>
                    <a:pt x="448945" y="163195"/>
                  </a:cubicBezTo>
                  <a:cubicBezTo>
                    <a:pt x="448945" y="135890"/>
                    <a:pt x="457835" y="110490"/>
                    <a:pt x="472440" y="90170"/>
                  </a:cubicBezTo>
                  <a:cubicBezTo>
                    <a:pt x="487045" y="111125"/>
                    <a:pt x="495935" y="135890"/>
                    <a:pt x="495935" y="163195"/>
                  </a:cubicBezTo>
                  <a:cubicBezTo>
                    <a:pt x="495935" y="190500"/>
                    <a:pt x="487045" y="215265"/>
                    <a:pt x="472440" y="236220"/>
                  </a:cubicBezTo>
                  <a:close/>
                  <a:moveTo>
                    <a:pt x="267335" y="236220"/>
                  </a:moveTo>
                  <a:cubicBezTo>
                    <a:pt x="252730" y="215265"/>
                    <a:pt x="243840" y="190500"/>
                    <a:pt x="243840" y="163195"/>
                  </a:cubicBezTo>
                  <a:cubicBezTo>
                    <a:pt x="243840" y="135890"/>
                    <a:pt x="252730" y="110490"/>
                    <a:pt x="267335" y="90170"/>
                  </a:cubicBezTo>
                  <a:cubicBezTo>
                    <a:pt x="281940" y="111125"/>
                    <a:pt x="290830" y="135890"/>
                    <a:pt x="290830" y="163195"/>
                  </a:cubicBezTo>
                  <a:cubicBezTo>
                    <a:pt x="290830" y="190500"/>
                    <a:pt x="281940" y="215265"/>
                    <a:pt x="267335" y="236220"/>
                  </a:cubicBezTo>
                  <a:close/>
                  <a:moveTo>
                    <a:pt x="38735" y="162560"/>
                  </a:moveTo>
                  <a:cubicBezTo>
                    <a:pt x="38735" y="92710"/>
                    <a:pt x="95250" y="36195"/>
                    <a:pt x="165100" y="36195"/>
                  </a:cubicBezTo>
                  <a:cubicBezTo>
                    <a:pt x="194310" y="36195"/>
                    <a:pt x="220980" y="45720"/>
                    <a:pt x="241935" y="62230"/>
                  </a:cubicBezTo>
                  <a:cubicBezTo>
                    <a:pt x="220345" y="90170"/>
                    <a:pt x="207645" y="124460"/>
                    <a:pt x="207645" y="161925"/>
                  </a:cubicBezTo>
                  <a:cubicBezTo>
                    <a:pt x="207645" y="199390"/>
                    <a:pt x="220345" y="234315"/>
                    <a:pt x="241935" y="261620"/>
                  </a:cubicBezTo>
                  <a:cubicBezTo>
                    <a:pt x="220345" y="278130"/>
                    <a:pt x="193675" y="287655"/>
                    <a:pt x="165100" y="287655"/>
                  </a:cubicBezTo>
                  <a:cubicBezTo>
                    <a:pt x="94615" y="288290"/>
                    <a:pt x="38735" y="232410"/>
                    <a:pt x="38735" y="162560"/>
                  </a:cubicBezTo>
                  <a:close/>
                  <a:moveTo>
                    <a:pt x="292735" y="262890"/>
                  </a:moveTo>
                  <a:cubicBezTo>
                    <a:pt x="314325" y="234950"/>
                    <a:pt x="327025" y="200660"/>
                    <a:pt x="327025" y="163195"/>
                  </a:cubicBezTo>
                  <a:cubicBezTo>
                    <a:pt x="327025" y="125730"/>
                    <a:pt x="314325" y="90805"/>
                    <a:pt x="292735" y="63500"/>
                  </a:cubicBezTo>
                  <a:cubicBezTo>
                    <a:pt x="314325" y="46990"/>
                    <a:pt x="340995" y="37465"/>
                    <a:pt x="369570" y="37465"/>
                  </a:cubicBezTo>
                  <a:cubicBezTo>
                    <a:pt x="398780" y="37465"/>
                    <a:pt x="425450" y="46990"/>
                    <a:pt x="446405" y="63500"/>
                  </a:cubicBezTo>
                  <a:cubicBezTo>
                    <a:pt x="424815" y="91440"/>
                    <a:pt x="412115" y="125730"/>
                    <a:pt x="412115" y="163195"/>
                  </a:cubicBezTo>
                  <a:cubicBezTo>
                    <a:pt x="412115" y="200660"/>
                    <a:pt x="424815" y="235585"/>
                    <a:pt x="446405" y="262890"/>
                  </a:cubicBezTo>
                  <a:cubicBezTo>
                    <a:pt x="424815" y="279400"/>
                    <a:pt x="398145" y="288925"/>
                    <a:pt x="369570" y="288925"/>
                  </a:cubicBezTo>
                  <a:cubicBezTo>
                    <a:pt x="340995" y="288290"/>
                    <a:pt x="314325" y="278765"/>
                    <a:pt x="292735" y="262890"/>
                  </a:cubicBezTo>
                  <a:close/>
                  <a:moveTo>
                    <a:pt x="498475" y="262890"/>
                  </a:moveTo>
                  <a:cubicBezTo>
                    <a:pt x="520065" y="234950"/>
                    <a:pt x="532765" y="200660"/>
                    <a:pt x="532765" y="163195"/>
                  </a:cubicBezTo>
                  <a:cubicBezTo>
                    <a:pt x="532765" y="125730"/>
                    <a:pt x="520065" y="90805"/>
                    <a:pt x="498475" y="63500"/>
                  </a:cubicBezTo>
                  <a:cubicBezTo>
                    <a:pt x="520065" y="46990"/>
                    <a:pt x="546735" y="37465"/>
                    <a:pt x="575310" y="37465"/>
                  </a:cubicBezTo>
                  <a:cubicBezTo>
                    <a:pt x="604520" y="37465"/>
                    <a:pt x="631190" y="46990"/>
                    <a:pt x="652145" y="63500"/>
                  </a:cubicBezTo>
                  <a:cubicBezTo>
                    <a:pt x="630555" y="91440"/>
                    <a:pt x="617855" y="125730"/>
                    <a:pt x="617855" y="163195"/>
                  </a:cubicBezTo>
                  <a:cubicBezTo>
                    <a:pt x="617855" y="200660"/>
                    <a:pt x="630555" y="235585"/>
                    <a:pt x="652145" y="262890"/>
                  </a:cubicBezTo>
                  <a:cubicBezTo>
                    <a:pt x="630555" y="279400"/>
                    <a:pt x="603885" y="288925"/>
                    <a:pt x="575310" y="288925"/>
                  </a:cubicBezTo>
                  <a:cubicBezTo>
                    <a:pt x="546100" y="288290"/>
                    <a:pt x="519430" y="278765"/>
                    <a:pt x="498475" y="262890"/>
                  </a:cubicBezTo>
                  <a:close/>
                  <a:moveTo>
                    <a:pt x="780415" y="288290"/>
                  </a:moveTo>
                  <a:cubicBezTo>
                    <a:pt x="751205" y="288290"/>
                    <a:pt x="724535" y="278765"/>
                    <a:pt x="703580" y="262255"/>
                  </a:cubicBezTo>
                  <a:cubicBezTo>
                    <a:pt x="725170" y="234315"/>
                    <a:pt x="737870" y="200025"/>
                    <a:pt x="737870" y="162560"/>
                  </a:cubicBezTo>
                  <a:cubicBezTo>
                    <a:pt x="737870" y="125095"/>
                    <a:pt x="725170" y="90170"/>
                    <a:pt x="703580" y="62865"/>
                  </a:cubicBezTo>
                  <a:cubicBezTo>
                    <a:pt x="725170" y="46355"/>
                    <a:pt x="751840" y="36830"/>
                    <a:pt x="780415" y="36830"/>
                  </a:cubicBezTo>
                  <a:cubicBezTo>
                    <a:pt x="850265" y="36830"/>
                    <a:pt x="906780" y="93345"/>
                    <a:pt x="906780" y="163195"/>
                  </a:cubicBezTo>
                  <a:cubicBezTo>
                    <a:pt x="906780" y="232410"/>
                    <a:pt x="850265" y="288290"/>
                    <a:pt x="780415" y="288290"/>
                  </a:cubicBezTo>
                  <a:close/>
                </a:path>
              </a:pathLst>
            </a:custGeom>
            <a:solidFill>
              <a:srgbClr val="FFFFFF"/>
            </a:solidFill>
            <a:ln w="6350" cap="flat">
              <a:noFill/>
              <a:prstDash val="solid"/>
              <a:miter/>
            </a:ln>
          </p:spPr>
          <p:txBody>
            <a:bodyPr rtlCol="0" anchor="ctr"/>
            <a:lstStyle/>
            <a:p>
              <a:endParaRPr lang="en-GB"/>
            </a:p>
          </p:txBody>
        </p:sp>
      </p:grpSp>
      <p:grpSp>
        <p:nvGrpSpPr>
          <p:cNvPr id="168" name="Graphic 79">
            <a:extLst>
              <a:ext uri="{FF2B5EF4-FFF2-40B4-BE49-F238E27FC236}">
                <a16:creationId xmlns:a16="http://schemas.microsoft.com/office/drawing/2014/main" id="{1FEFCEC4-3C3A-BCF0-8745-40923345B32D}"/>
              </a:ext>
            </a:extLst>
          </p:cNvPr>
          <p:cNvGrpSpPr/>
          <p:nvPr userDrawn="1"/>
        </p:nvGrpSpPr>
        <p:grpSpPr>
          <a:xfrm>
            <a:off x="8789036" y="4514214"/>
            <a:ext cx="964564" cy="204471"/>
            <a:chOff x="-4926964" y="4514214"/>
            <a:chExt cx="964564" cy="204471"/>
          </a:xfrm>
          <a:solidFill>
            <a:srgbClr val="FFFFFF"/>
          </a:solidFill>
        </p:grpSpPr>
        <p:sp>
          <p:nvSpPr>
            <p:cNvPr id="169" name="Freeform 168">
              <a:extLst>
                <a:ext uri="{FF2B5EF4-FFF2-40B4-BE49-F238E27FC236}">
                  <a16:creationId xmlns:a16="http://schemas.microsoft.com/office/drawing/2014/main" id="{5AA4591C-A5A9-0E45-7786-7FF0EF90578E}"/>
                </a:ext>
              </a:extLst>
            </p:cNvPr>
            <p:cNvSpPr/>
            <p:nvPr/>
          </p:nvSpPr>
          <p:spPr>
            <a:xfrm>
              <a:off x="-4279900" y="4516755"/>
              <a:ext cx="33019" cy="199389"/>
            </a:xfrm>
            <a:custGeom>
              <a:avLst/>
              <a:gdLst>
                <a:gd name="connsiteX0" fmla="*/ 29950 w 33019"/>
                <a:gd name="connsiteY0" fmla="*/ -1566 h 199389"/>
                <a:gd name="connsiteX1" fmla="*/ 29950 w 33019"/>
                <a:gd name="connsiteY1" fmla="*/ -1566 h 199389"/>
                <a:gd name="connsiteX2" fmla="*/ -3070 w 33019"/>
                <a:gd name="connsiteY2" fmla="*/ -1566 h 199389"/>
                <a:gd name="connsiteX3" fmla="*/ -3070 w 33019"/>
                <a:gd name="connsiteY3" fmla="*/ 197823 h 199389"/>
                <a:gd name="connsiteX4" fmla="*/ 29950 w 33019"/>
                <a:gd name="connsiteY4" fmla="*/ 197823 h 199389"/>
                <a:gd name="connsiteX5" fmla="*/ 29950 w 33019"/>
                <a:gd name="connsiteY5" fmla="*/ -1566 h 19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19" h="199389">
                  <a:moveTo>
                    <a:pt x="29950" y="-1566"/>
                  </a:moveTo>
                  <a:lnTo>
                    <a:pt x="29950" y="-1566"/>
                  </a:lnTo>
                  <a:lnTo>
                    <a:pt x="-3070" y="-1566"/>
                  </a:lnTo>
                  <a:lnTo>
                    <a:pt x="-3070" y="197823"/>
                  </a:lnTo>
                  <a:lnTo>
                    <a:pt x="29950" y="197823"/>
                  </a:lnTo>
                  <a:lnTo>
                    <a:pt x="29950" y="-1566"/>
                  </a:lnTo>
                  <a:close/>
                </a:path>
              </a:pathLst>
            </a:custGeom>
            <a:solidFill>
              <a:srgbClr val="FFFFFF"/>
            </a:solidFill>
            <a:ln w="6350" cap="flat">
              <a:noFill/>
              <a:prstDash val="solid"/>
              <a:miter/>
            </a:ln>
          </p:spPr>
          <p:txBody>
            <a:bodyPr rtlCol="0" anchor="ctr"/>
            <a:lstStyle/>
            <a:p>
              <a:endParaRPr lang="en-GB"/>
            </a:p>
          </p:txBody>
        </p:sp>
        <p:sp>
          <p:nvSpPr>
            <p:cNvPr id="170" name="Freeform 169">
              <a:extLst>
                <a:ext uri="{FF2B5EF4-FFF2-40B4-BE49-F238E27FC236}">
                  <a16:creationId xmlns:a16="http://schemas.microsoft.com/office/drawing/2014/main" id="{1BB21A33-D11B-0839-AD51-AED15E8626A6}"/>
                </a:ext>
              </a:extLst>
            </p:cNvPr>
            <p:cNvSpPr/>
            <p:nvPr/>
          </p:nvSpPr>
          <p:spPr>
            <a:xfrm>
              <a:off x="-4592955" y="4514214"/>
              <a:ext cx="204469" cy="204471"/>
            </a:xfrm>
            <a:custGeom>
              <a:avLst/>
              <a:gdLst>
                <a:gd name="connsiteX0" fmla="*/ 99166 w 204469"/>
                <a:gd name="connsiteY0" fmla="*/ 202905 h 204471"/>
                <a:gd name="connsiteX1" fmla="*/ 99166 w 204469"/>
                <a:gd name="connsiteY1" fmla="*/ 202905 h 204471"/>
                <a:gd name="connsiteX2" fmla="*/ 201400 w 204469"/>
                <a:gd name="connsiteY2" fmla="*/ 100670 h 204471"/>
                <a:gd name="connsiteX3" fmla="*/ 99166 w 204469"/>
                <a:gd name="connsiteY3" fmla="*/ -1566 h 204471"/>
                <a:gd name="connsiteX4" fmla="*/ -3070 w 204469"/>
                <a:gd name="connsiteY4" fmla="*/ 100670 h 204471"/>
                <a:gd name="connsiteX5" fmla="*/ 99166 w 204469"/>
                <a:gd name="connsiteY5" fmla="*/ 202905 h 204471"/>
                <a:gd name="connsiteX6" fmla="*/ 99166 w 204469"/>
                <a:gd name="connsiteY6" fmla="*/ 28280 h 204471"/>
                <a:gd name="connsiteX7" fmla="*/ 99166 w 204469"/>
                <a:gd name="connsiteY7" fmla="*/ 28280 h 204471"/>
                <a:gd name="connsiteX8" fmla="*/ 169650 w 204469"/>
                <a:gd name="connsiteY8" fmla="*/ 100670 h 204471"/>
                <a:gd name="connsiteX9" fmla="*/ 99166 w 204469"/>
                <a:gd name="connsiteY9" fmla="*/ 173059 h 204471"/>
                <a:gd name="connsiteX10" fmla="*/ 28680 w 204469"/>
                <a:gd name="connsiteY10" fmla="*/ 100670 h 204471"/>
                <a:gd name="connsiteX11" fmla="*/ 99166 w 204469"/>
                <a:gd name="connsiteY11" fmla="*/ 28280 h 204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69" h="204471">
                  <a:moveTo>
                    <a:pt x="99166" y="202905"/>
                  </a:moveTo>
                  <a:lnTo>
                    <a:pt x="99166" y="202905"/>
                  </a:lnTo>
                  <a:cubicBezTo>
                    <a:pt x="155680" y="202905"/>
                    <a:pt x="201400" y="157184"/>
                    <a:pt x="201400" y="100670"/>
                  </a:cubicBezTo>
                  <a:cubicBezTo>
                    <a:pt x="201400" y="44155"/>
                    <a:pt x="155680" y="-1566"/>
                    <a:pt x="99166" y="-1566"/>
                  </a:cubicBezTo>
                  <a:cubicBezTo>
                    <a:pt x="42650" y="-1566"/>
                    <a:pt x="-3070" y="44155"/>
                    <a:pt x="-3070" y="100670"/>
                  </a:cubicBezTo>
                  <a:cubicBezTo>
                    <a:pt x="-2434" y="157184"/>
                    <a:pt x="43285" y="202905"/>
                    <a:pt x="99166" y="202905"/>
                  </a:cubicBezTo>
                  <a:close/>
                  <a:moveTo>
                    <a:pt x="99166" y="28280"/>
                  </a:moveTo>
                  <a:lnTo>
                    <a:pt x="99166" y="28280"/>
                  </a:lnTo>
                  <a:cubicBezTo>
                    <a:pt x="138535" y="28280"/>
                    <a:pt x="169650" y="60030"/>
                    <a:pt x="169650" y="100670"/>
                  </a:cubicBezTo>
                  <a:cubicBezTo>
                    <a:pt x="169650" y="141309"/>
                    <a:pt x="138535" y="173059"/>
                    <a:pt x="99166" y="173059"/>
                  </a:cubicBezTo>
                  <a:cubicBezTo>
                    <a:pt x="59796" y="173059"/>
                    <a:pt x="28680" y="141309"/>
                    <a:pt x="28680" y="100670"/>
                  </a:cubicBezTo>
                  <a:cubicBezTo>
                    <a:pt x="29316" y="60030"/>
                    <a:pt x="59796" y="28280"/>
                    <a:pt x="99166" y="28280"/>
                  </a:cubicBezTo>
                  <a:close/>
                </a:path>
              </a:pathLst>
            </a:custGeom>
            <a:solidFill>
              <a:srgbClr val="FFFFFF"/>
            </a:solidFill>
            <a:ln w="6350" cap="flat">
              <a:noFill/>
              <a:prstDash val="solid"/>
              <a:miter/>
            </a:ln>
          </p:spPr>
          <p:txBody>
            <a:bodyPr rtlCol="0" anchor="ctr"/>
            <a:lstStyle/>
            <a:p>
              <a:endParaRPr lang="en-GB"/>
            </a:p>
          </p:txBody>
        </p:sp>
        <p:sp>
          <p:nvSpPr>
            <p:cNvPr id="171" name="Freeform 170">
              <a:extLst>
                <a:ext uri="{FF2B5EF4-FFF2-40B4-BE49-F238E27FC236}">
                  <a16:creationId xmlns:a16="http://schemas.microsoft.com/office/drawing/2014/main" id="{4E8340EC-9FC5-A07F-4205-A9630EE197A7}"/>
                </a:ext>
              </a:extLst>
            </p:cNvPr>
            <p:cNvSpPr/>
            <p:nvPr/>
          </p:nvSpPr>
          <p:spPr>
            <a:xfrm>
              <a:off x="-4138294" y="4514214"/>
              <a:ext cx="175894" cy="201930"/>
            </a:xfrm>
            <a:custGeom>
              <a:avLst/>
              <a:gdLst>
                <a:gd name="connsiteX0" fmla="*/ 86464 w 175894"/>
                <a:gd name="connsiteY0" fmla="*/ -295 h 201930"/>
                <a:gd name="connsiteX1" fmla="*/ 86464 w 175894"/>
                <a:gd name="connsiteY1" fmla="*/ -295 h 201930"/>
                <a:gd name="connsiteX2" fmla="*/ 86464 w 175894"/>
                <a:gd name="connsiteY2" fmla="*/ -295 h 201930"/>
                <a:gd name="connsiteX3" fmla="*/ 85194 w 175894"/>
                <a:gd name="connsiteY3" fmla="*/ -1566 h 201930"/>
                <a:gd name="connsiteX4" fmla="*/ 83925 w 175894"/>
                <a:gd name="connsiteY4" fmla="*/ -295 h 201930"/>
                <a:gd name="connsiteX5" fmla="*/ 83925 w 175894"/>
                <a:gd name="connsiteY5" fmla="*/ -295 h 201930"/>
                <a:gd name="connsiteX6" fmla="*/ -3070 w 175894"/>
                <a:gd name="connsiteY6" fmla="*/ 200364 h 201930"/>
                <a:gd name="connsiteX7" fmla="*/ 27410 w 175894"/>
                <a:gd name="connsiteY7" fmla="*/ 200364 h 201930"/>
                <a:gd name="connsiteX8" fmla="*/ 84560 w 175894"/>
                <a:gd name="connsiteY8" fmla="*/ 67014 h 201930"/>
                <a:gd name="connsiteX9" fmla="*/ 142344 w 175894"/>
                <a:gd name="connsiteY9" fmla="*/ 200364 h 201930"/>
                <a:gd name="connsiteX10" fmla="*/ 172825 w 175894"/>
                <a:gd name="connsiteY10" fmla="*/ 200364 h 201930"/>
                <a:gd name="connsiteX11" fmla="*/ 86464 w 175894"/>
                <a:gd name="connsiteY11" fmla="*/ -295 h 20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894" h="201930">
                  <a:moveTo>
                    <a:pt x="86464" y="-295"/>
                  </a:moveTo>
                  <a:lnTo>
                    <a:pt x="86464" y="-295"/>
                  </a:lnTo>
                  <a:lnTo>
                    <a:pt x="86464" y="-295"/>
                  </a:lnTo>
                  <a:cubicBezTo>
                    <a:pt x="86464" y="-930"/>
                    <a:pt x="85830" y="-1566"/>
                    <a:pt x="85194" y="-1566"/>
                  </a:cubicBezTo>
                  <a:cubicBezTo>
                    <a:pt x="84560" y="-1566"/>
                    <a:pt x="83925" y="-930"/>
                    <a:pt x="83925" y="-295"/>
                  </a:cubicBezTo>
                  <a:lnTo>
                    <a:pt x="83925" y="-295"/>
                  </a:lnTo>
                  <a:lnTo>
                    <a:pt x="-3070" y="200364"/>
                  </a:lnTo>
                  <a:lnTo>
                    <a:pt x="27410" y="200364"/>
                  </a:lnTo>
                  <a:lnTo>
                    <a:pt x="84560" y="67014"/>
                  </a:lnTo>
                  <a:lnTo>
                    <a:pt x="142344" y="200364"/>
                  </a:lnTo>
                  <a:lnTo>
                    <a:pt x="172825" y="200364"/>
                  </a:lnTo>
                  <a:lnTo>
                    <a:pt x="86464" y="-295"/>
                  </a:lnTo>
                  <a:close/>
                </a:path>
              </a:pathLst>
            </a:custGeom>
            <a:solidFill>
              <a:srgbClr val="FFFFFF"/>
            </a:solidFill>
            <a:ln w="6350" cap="flat">
              <a:noFill/>
              <a:prstDash val="solid"/>
              <a:miter/>
            </a:ln>
          </p:spPr>
          <p:txBody>
            <a:bodyPr rtlCol="0" anchor="ctr"/>
            <a:lstStyle/>
            <a:p>
              <a:endParaRPr lang="en-GB"/>
            </a:p>
          </p:txBody>
        </p:sp>
        <p:sp>
          <p:nvSpPr>
            <p:cNvPr id="172" name="Freeform 171">
              <a:extLst>
                <a:ext uri="{FF2B5EF4-FFF2-40B4-BE49-F238E27FC236}">
                  <a16:creationId xmlns:a16="http://schemas.microsoft.com/office/drawing/2014/main" id="{DCCC489D-1151-570C-6213-20F6867B6B5D}"/>
                </a:ext>
              </a:extLst>
            </p:cNvPr>
            <p:cNvSpPr/>
            <p:nvPr/>
          </p:nvSpPr>
          <p:spPr>
            <a:xfrm>
              <a:off x="-4926964" y="4514850"/>
              <a:ext cx="267334" cy="201294"/>
            </a:xfrm>
            <a:custGeom>
              <a:avLst/>
              <a:gdLst>
                <a:gd name="connsiteX0" fmla="*/ 181714 w 267334"/>
                <a:gd name="connsiteY0" fmla="*/ -296 h 201294"/>
                <a:gd name="connsiteX1" fmla="*/ 181714 w 267334"/>
                <a:gd name="connsiteY1" fmla="*/ -296 h 201294"/>
                <a:gd name="connsiteX2" fmla="*/ 181714 w 267334"/>
                <a:gd name="connsiteY2" fmla="*/ -296 h 201294"/>
                <a:gd name="connsiteX3" fmla="*/ 179809 w 267334"/>
                <a:gd name="connsiteY3" fmla="*/ -1566 h 201294"/>
                <a:gd name="connsiteX4" fmla="*/ 177905 w 267334"/>
                <a:gd name="connsiteY4" fmla="*/ -296 h 201294"/>
                <a:gd name="connsiteX5" fmla="*/ 177905 w 267334"/>
                <a:gd name="connsiteY5" fmla="*/ -296 h 201294"/>
                <a:gd name="connsiteX6" fmla="*/ 139169 w 267334"/>
                <a:gd name="connsiteY6" fmla="*/ 102573 h 201294"/>
                <a:gd name="connsiteX7" fmla="*/ 130280 w 267334"/>
                <a:gd name="connsiteY7" fmla="*/ 126704 h 201294"/>
                <a:gd name="connsiteX8" fmla="*/ 82655 w 267334"/>
                <a:gd name="connsiteY8" fmla="*/ -296 h 201294"/>
                <a:gd name="connsiteX9" fmla="*/ 80750 w 267334"/>
                <a:gd name="connsiteY9" fmla="*/ -1566 h 201294"/>
                <a:gd name="connsiteX10" fmla="*/ 78844 w 267334"/>
                <a:gd name="connsiteY10" fmla="*/ -296 h 201294"/>
                <a:gd name="connsiteX11" fmla="*/ -3070 w 267334"/>
                <a:gd name="connsiteY11" fmla="*/ 199095 h 201294"/>
                <a:gd name="connsiteX12" fmla="*/ 29950 w 267334"/>
                <a:gd name="connsiteY12" fmla="*/ 199095 h 201294"/>
                <a:gd name="connsiteX13" fmla="*/ 55350 w 267334"/>
                <a:gd name="connsiteY13" fmla="*/ 138134 h 201294"/>
                <a:gd name="connsiteX14" fmla="*/ 80114 w 267334"/>
                <a:gd name="connsiteY14" fmla="*/ 73364 h 201294"/>
                <a:gd name="connsiteX15" fmla="*/ 128375 w 267334"/>
                <a:gd name="connsiteY15" fmla="*/ 198459 h 201294"/>
                <a:gd name="connsiteX16" fmla="*/ 130280 w 267334"/>
                <a:gd name="connsiteY16" fmla="*/ 199729 h 201294"/>
                <a:gd name="connsiteX17" fmla="*/ 132184 w 267334"/>
                <a:gd name="connsiteY17" fmla="*/ 198459 h 201294"/>
                <a:gd name="connsiteX18" fmla="*/ 181080 w 267334"/>
                <a:gd name="connsiteY18" fmla="*/ 73364 h 201294"/>
                <a:gd name="connsiteX19" fmla="*/ 231244 w 267334"/>
                <a:gd name="connsiteY19" fmla="*/ 198459 h 201294"/>
                <a:gd name="connsiteX20" fmla="*/ 264264 w 267334"/>
                <a:gd name="connsiteY20" fmla="*/ 198459 h 201294"/>
                <a:gd name="connsiteX21" fmla="*/ 181714 w 267334"/>
                <a:gd name="connsiteY21" fmla="*/ -296 h 20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7334" h="201294">
                  <a:moveTo>
                    <a:pt x="181714" y="-296"/>
                  </a:moveTo>
                  <a:lnTo>
                    <a:pt x="181714" y="-296"/>
                  </a:lnTo>
                  <a:lnTo>
                    <a:pt x="181714" y="-296"/>
                  </a:lnTo>
                  <a:cubicBezTo>
                    <a:pt x="181080" y="-930"/>
                    <a:pt x="180444" y="-1566"/>
                    <a:pt x="179809" y="-1566"/>
                  </a:cubicBezTo>
                  <a:cubicBezTo>
                    <a:pt x="178539" y="-1566"/>
                    <a:pt x="177905" y="-930"/>
                    <a:pt x="177905" y="-296"/>
                  </a:cubicBezTo>
                  <a:lnTo>
                    <a:pt x="177905" y="-296"/>
                  </a:lnTo>
                  <a:lnTo>
                    <a:pt x="139169" y="102573"/>
                  </a:lnTo>
                  <a:lnTo>
                    <a:pt x="130280" y="126704"/>
                  </a:lnTo>
                  <a:lnTo>
                    <a:pt x="82655" y="-296"/>
                  </a:lnTo>
                  <a:cubicBezTo>
                    <a:pt x="82019" y="-930"/>
                    <a:pt x="81384" y="-1566"/>
                    <a:pt x="80750" y="-1566"/>
                  </a:cubicBezTo>
                  <a:cubicBezTo>
                    <a:pt x="79480" y="-1566"/>
                    <a:pt x="78844" y="-930"/>
                    <a:pt x="78844" y="-296"/>
                  </a:cubicBezTo>
                  <a:lnTo>
                    <a:pt x="-3070" y="199095"/>
                  </a:lnTo>
                  <a:lnTo>
                    <a:pt x="29950" y="199095"/>
                  </a:lnTo>
                  <a:lnTo>
                    <a:pt x="55350" y="138134"/>
                  </a:lnTo>
                  <a:lnTo>
                    <a:pt x="80114" y="73364"/>
                  </a:lnTo>
                  <a:lnTo>
                    <a:pt x="128375" y="198459"/>
                  </a:lnTo>
                  <a:cubicBezTo>
                    <a:pt x="128375" y="199095"/>
                    <a:pt x="129644" y="199729"/>
                    <a:pt x="130280" y="199729"/>
                  </a:cubicBezTo>
                  <a:cubicBezTo>
                    <a:pt x="130914" y="199729"/>
                    <a:pt x="131550" y="199095"/>
                    <a:pt x="132184" y="198459"/>
                  </a:cubicBezTo>
                  <a:lnTo>
                    <a:pt x="181080" y="73364"/>
                  </a:lnTo>
                  <a:lnTo>
                    <a:pt x="231244" y="198459"/>
                  </a:lnTo>
                  <a:lnTo>
                    <a:pt x="264264" y="198459"/>
                  </a:lnTo>
                  <a:lnTo>
                    <a:pt x="181714" y="-296"/>
                  </a:lnTo>
                  <a:close/>
                </a:path>
              </a:pathLst>
            </a:custGeom>
            <a:solidFill>
              <a:srgbClr val="FFFFFF"/>
            </a:solidFill>
            <a:ln w="6350" cap="flat">
              <a:noFill/>
              <a:prstDash val="solid"/>
              <a:miter/>
            </a:ln>
          </p:spPr>
          <p:txBody>
            <a:bodyPr rtlCol="0" anchor="ctr"/>
            <a:lstStyle/>
            <a:p>
              <a:endParaRPr lang="en-GB"/>
            </a:p>
          </p:txBody>
        </p:sp>
      </p:grpSp>
      <p:grpSp>
        <p:nvGrpSpPr>
          <p:cNvPr id="448" name="Graphic 79">
            <a:extLst>
              <a:ext uri="{FF2B5EF4-FFF2-40B4-BE49-F238E27FC236}">
                <a16:creationId xmlns:a16="http://schemas.microsoft.com/office/drawing/2014/main" id="{22B461F7-507B-8740-23A4-73A1C76741B8}"/>
              </a:ext>
            </a:extLst>
          </p:cNvPr>
          <p:cNvGrpSpPr/>
          <p:nvPr userDrawn="1"/>
        </p:nvGrpSpPr>
        <p:grpSpPr>
          <a:xfrm>
            <a:off x="7343775" y="1985010"/>
            <a:ext cx="679450" cy="513079"/>
            <a:chOff x="-6372225" y="1985010"/>
            <a:chExt cx="679450" cy="513079"/>
          </a:xfrm>
          <a:solidFill>
            <a:srgbClr val="FFFFFF"/>
          </a:solidFill>
        </p:grpSpPr>
        <p:sp>
          <p:nvSpPr>
            <p:cNvPr id="449" name="Freeform 448">
              <a:extLst>
                <a:ext uri="{FF2B5EF4-FFF2-40B4-BE49-F238E27FC236}">
                  <a16:creationId xmlns:a16="http://schemas.microsoft.com/office/drawing/2014/main" id="{B98A6169-22D2-3BCD-5501-CF4C68736452}"/>
                </a:ext>
              </a:extLst>
            </p:cNvPr>
            <p:cNvSpPr/>
            <p:nvPr/>
          </p:nvSpPr>
          <p:spPr>
            <a:xfrm>
              <a:off x="-6229984" y="1985010"/>
              <a:ext cx="394334" cy="195579"/>
            </a:xfrm>
            <a:custGeom>
              <a:avLst/>
              <a:gdLst>
                <a:gd name="connsiteX0" fmla="*/ 125095 w 394334"/>
                <a:gd name="connsiteY0" fmla="*/ 90805 h 195579"/>
                <a:gd name="connsiteX1" fmla="*/ 168275 w 394334"/>
                <a:gd name="connsiteY1" fmla="*/ 89535 h 195579"/>
                <a:gd name="connsiteX2" fmla="*/ 313690 w 394334"/>
                <a:gd name="connsiteY2" fmla="*/ 91440 h 195579"/>
                <a:gd name="connsiteX3" fmla="*/ 381000 w 394334"/>
                <a:gd name="connsiteY3" fmla="*/ 94615 h 195579"/>
                <a:gd name="connsiteX4" fmla="*/ 394335 w 394334"/>
                <a:gd name="connsiteY4" fmla="*/ 94615 h 195579"/>
                <a:gd name="connsiteX5" fmla="*/ 393065 w 394334"/>
                <a:gd name="connsiteY5" fmla="*/ 76835 h 195579"/>
                <a:gd name="connsiteX6" fmla="*/ 390525 w 394334"/>
                <a:gd name="connsiteY6" fmla="*/ 26035 h 195579"/>
                <a:gd name="connsiteX7" fmla="*/ 370840 w 394334"/>
                <a:gd name="connsiteY7" fmla="*/ 6350 h 195579"/>
                <a:gd name="connsiteX8" fmla="*/ 331470 w 394334"/>
                <a:gd name="connsiteY8" fmla="*/ 4445 h 195579"/>
                <a:gd name="connsiteX9" fmla="*/ 234950 w 394334"/>
                <a:gd name="connsiteY9" fmla="*/ 635 h 195579"/>
                <a:gd name="connsiteX10" fmla="*/ 227965 w 394334"/>
                <a:gd name="connsiteY10" fmla="*/ 0 h 195579"/>
                <a:gd name="connsiteX11" fmla="*/ 153035 w 394334"/>
                <a:gd name="connsiteY11" fmla="*/ 0 h 195579"/>
                <a:gd name="connsiteX12" fmla="*/ 150495 w 394334"/>
                <a:gd name="connsiteY12" fmla="*/ 635 h 195579"/>
                <a:gd name="connsiteX13" fmla="*/ 85725 w 394334"/>
                <a:gd name="connsiteY13" fmla="*/ 2540 h 195579"/>
                <a:gd name="connsiteX14" fmla="*/ 40640 w 394334"/>
                <a:gd name="connsiteY14" fmla="*/ 6985 h 195579"/>
                <a:gd name="connsiteX15" fmla="*/ 5715 w 394334"/>
                <a:gd name="connsiteY15" fmla="*/ 36830 h 195579"/>
                <a:gd name="connsiteX16" fmla="*/ 1905 w 394334"/>
                <a:gd name="connsiteY16" fmla="*/ 56515 h 195579"/>
                <a:gd name="connsiteX17" fmla="*/ 0 w 394334"/>
                <a:gd name="connsiteY17" fmla="*/ 124460 h 195579"/>
                <a:gd name="connsiteX18" fmla="*/ 0 w 394334"/>
                <a:gd name="connsiteY18" fmla="*/ 127635 h 195579"/>
                <a:gd name="connsiteX19" fmla="*/ 394335 w 394334"/>
                <a:gd name="connsiteY19" fmla="*/ 195580 h 195579"/>
                <a:gd name="connsiteX20" fmla="*/ 394335 w 394334"/>
                <a:gd name="connsiteY20" fmla="*/ 153670 h 195579"/>
                <a:gd name="connsiteX21" fmla="*/ 104775 w 394334"/>
                <a:gd name="connsiteY21" fmla="*/ 99060 h 195579"/>
                <a:gd name="connsiteX22" fmla="*/ 125095 w 394334"/>
                <a:gd name="connsiteY22" fmla="*/ 90805 h 19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4334" h="195579">
                  <a:moveTo>
                    <a:pt x="125095" y="90805"/>
                  </a:moveTo>
                  <a:cubicBezTo>
                    <a:pt x="139065" y="90170"/>
                    <a:pt x="154305" y="89535"/>
                    <a:pt x="168275" y="89535"/>
                  </a:cubicBezTo>
                  <a:cubicBezTo>
                    <a:pt x="216535" y="90170"/>
                    <a:pt x="265430" y="90170"/>
                    <a:pt x="313690" y="91440"/>
                  </a:cubicBezTo>
                  <a:cubicBezTo>
                    <a:pt x="336550" y="92075"/>
                    <a:pt x="358140" y="93345"/>
                    <a:pt x="381000" y="94615"/>
                  </a:cubicBezTo>
                  <a:cubicBezTo>
                    <a:pt x="385445" y="94615"/>
                    <a:pt x="389890" y="94615"/>
                    <a:pt x="394335" y="94615"/>
                  </a:cubicBezTo>
                  <a:cubicBezTo>
                    <a:pt x="393700" y="88900"/>
                    <a:pt x="393700" y="83185"/>
                    <a:pt x="393065" y="76835"/>
                  </a:cubicBezTo>
                  <a:cubicBezTo>
                    <a:pt x="392430" y="59690"/>
                    <a:pt x="391795" y="43180"/>
                    <a:pt x="390525" y="26035"/>
                  </a:cubicBezTo>
                  <a:cubicBezTo>
                    <a:pt x="389255" y="12065"/>
                    <a:pt x="384810" y="7620"/>
                    <a:pt x="370840" y="6350"/>
                  </a:cubicBezTo>
                  <a:cubicBezTo>
                    <a:pt x="357505" y="5080"/>
                    <a:pt x="344170" y="5080"/>
                    <a:pt x="331470" y="4445"/>
                  </a:cubicBezTo>
                  <a:cubicBezTo>
                    <a:pt x="299085" y="2540"/>
                    <a:pt x="266700" y="1905"/>
                    <a:pt x="234950" y="635"/>
                  </a:cubicBezTo>
                  <a:cubicBezTo>
                    <a:pt x="232410" y="635"/>
                    <a:pt x="230505" y="0"/>
                    <a:pt x="227965" y="0"/>
                  </a:cubicBezTo>
                  <a:lnTo>
                    <a:pt x="153035" y="0"/>
                  </a:lnTo>
                  <a:cubicBezTo>
                    <a:pt x="152400" y="0"/>
                    <a:pt x="151130" y="635"/>
                    <a:pt x="150495" y="635"/>
                  </a:cubicBezTo>
                  <a:cubicBezTo>
                    <a:pt x="128905" y="1270"/>
                    <a:pt x="107315" y="1905"/>
                    <a:pt x="85725" y="2540"/>
                  </a:cubicBezTo>
                  <a:cubicBezTo>
                    <a:pt x="71120" y="3810"/>
                    <a:pt x="55245" y="3810"/>
                    <a:pt x="40640" y="6985"/>
                  </a:cubicBezTo>
                  <a:cubicBezTo>
                    <a:pt x="24765" y="10795"/>
                    <a:pt x="10795" y="19050"/>
                    <a:pt x="5715" y="36830"/>
                  </a:cubicBezTo>
                  <a:cubicBezTo>
                    <a:pt x="3810" y="43180"/>
                    <a:pt x="2540" y="49530"/>
                    <a:pt x="1905" y="56515"/>
                  </a:cubicBezTo>
                  <a:cubicBezTo>
                    <a:pt x="1270" y="79375"/>
                    <a:pt x="635" y="101600"/>
                    <a:pt x="0" y="124460"/>
                  </a:cubicBezTo>
                  <a:cubicBezTo>
                    <a:pt x="0" y="125730"/>
                    <a:pt x="0" y="126365"/>
                    <a:pt x="0" y="127635"/>
                  </a:cubicBezTo>
                  <a:cubicBezTo>
                    <a:pt x="132080" y="150495"/>
                    <a:pt x="262890" y="172720"/>
                    <a:pt x="394335" y="195580"/>
                  </a:cubicBezTo>
                  <a:lnTo>
                    <a:pt x="394335" y="153670"/>
                  </a:lnTo>
                  <a:cubicBezTo>
                    <a:pt x="297815" y="135255"/>
                    <a:pt x="201930" y="117475"/>
                    <a:pt x="104775" y="99060"/>
                  </a:cubicBezTo>
                  <a:cubicBezTo>
                    <a:pt x="110490" y="93345"/>
                    <a:pt x="117475" y="90805"/>
                    <a:pt x="125095" y="90805"/>
                  </a:cubicBezTo>
                  <a:close/>
                </a:path>
              </a:pathLst>
            </a:custGeom>
            <a:solidFill>
              <a:srgbClr val="FFFFFF"/>
            </a:solidFill>
            <a:ln w="6350" cap="flat">
              <a:noFill/>
              <a:prstDash val="solid"/>
              <a:miter/>
            </a:ln>
          </p:spPr>
          <p:txBody>
            <a:bodyPr rtlCol="0" anchor="ctr"/>
            <a:lstStyle/>
            <a:p>
              <a:endParaRPr lang="en-GB"/>
            </a:p>
          </p:txBody>
        </p:sp>
        <p:sp>
          <p:nvSpPr>
            <p:cNvPr id="450" name="Freeform 449">
              <a:extLst>
                <a:ext uri="{FF2B5EF4-FFF2-40B4-BE49-F238E27FC236}">
                  <a16:creationId xmlns:a16="http://schemas.microsoft.com/office/drawing/2014/main" id="{8B8525CF-026D-BE07-2356-11EE42A01515}"/>
                </a:ext>
              </a:extLst>
            </p:cNvPr>
            <p:cNvSpPr/>
            <p:nvPr/>
          </p:nvSpPr>
          <p:spPr>
            <a:xfrm>
              <a:off x="-6232525" y="2150745"/>
              <a:ext cx="396218" cy="207009"/>
            </a:xfrm>
            <a:custGeom>
              <a:avLst/>
              <a:gdLst>
                <a:gd name="connsiteX0" fmla="*/ 393065 w 396218"/>
                <a:gd name="connsiteY0" fmla="*/ 74295 h 207009"/>
                <a:gd name="connsiteX1" fmla="*/ 334010 w 396218"/>
                <a:gd name="connsiteY1" fmla="*/ 62865 h 207009"/>
                <a:gd name="connsiteX2" fmla="*/ 229870 w 396218"/>
                <a:gd name="connsiteY2" fmla="*/ 43180 h 207009"/>
                <a:gd name="connsiteX3" fmla="*/ 133985 w 396218"/>
                <a:gd name="connsiteY3" fmla="*/ 24765 h 207009"/>
                <a:gd name="connsiteX4" fmla="*/ 29210 w 396218"/>
                <a:gd name="connsiteY4" fmla="*/ 5080 h 207009"/>
                <a:gd name="connsiteX5" fmla="*/ 0 w 396218"/>
                <a:gd name="connsiteY5" fmla="*/ 0 h 207009"/>
                <a:gd name="connsiteX6" fmla="*/ 0 w 396218"/>
                <a:gd name="connsiteY6" fmla="*/ 48895 h 207009"/>
                <a:gd name="connsiteX7" fmla="*/ 289560 w 396218"/>
                <a:gd name="connsiteY7" fmla="*/ 99060 h 207009"/>
                <a:gd name="connsiteX8" fmla="*/ 283845 w 396218"/>
                <a:gd name="connsiteY8" fmla="*/ 104140 h 207009"/>
                <a:gd name="connsiteX9" fmla="*/ 262890 w 396218"/>
                <a:gd name="connsiteY9" fmla="*/ 109855 h 207009"/>
                <a:gd name="connsiteX10" fmla="*/ 13335 w 396218"/>
                <a:gd name="connsiteY10" fmla="*/ 104775 h 207009"/>
                <a:gd name="connsiteX11" fmla="*/ 635 w 396218"/>
                <a:gd name="connsiteY11" fmla="*/ 104140 h 207009"/>
                <a:gd name="connsiteX12" fmla="*/ 1270 w 396218"/>
                <a:gd name="connsiteY12" fmla="*/ 123190 h 207009"/>
                <a:gd name="connsiteX13" fmla="*/ 5080 w 396218"/>
                <a:gd name="connsiteY13" fmla="*/ 184150 h 207009"/>
                <a:gd name="connsiteX14" fmla="*/ 17780 w 396218"/>
                <a:gd name="connsiteY14" fmla="*/ 199390 h 207009"/>
                <a:gd name="connsiteX15" fmla="*/ 26035 w 396218"/>
                <a:gd name="connsiteY15" fmla="*/ 200660 h 207009"/>
                <a:gd name="connsiteX16" fmla="*/ 74930 w 396218"/>
                <a:gd name="connsiteY16" fmla="*/ 203200 h 207009"/>
                <a:gd name="connsiteX17" fmla="*/ 198120 w 396218"/>
                <a:gd name="connsiteY17" fmla="*/ 207010 h 207009"/>
                <a:gd name="connsiteX18" fmla="*/ 320675 w 396218"/>
                <a:gd name="connsiteY18" fmla="*/ 203835 h 207009"/>
                <a:gd name="connsiteX19" fmla="*/ 353695 w 396218"/>
                <a:gd name="connsiteY19" fmla="*/ 199390 h 207009"/>
                <a:gd name="connsiteX20" fmla="*/ 389255 w 396218"/>
                <a:gd name="connsiteY20" fmla="*/ 168910 h 207009"/>
                <a:gd name="connsiteX21" fmla="*/ 393700 w 396218"/>
                <a:gd name="connsiteY21" fmla="*/ 142875 h 207009"/>
                <a:gd name="connsiteX22" fmla="*/ 395605 w 396218"/>
                <a:gd name="connsiteY22" fmla="*/ 79375 h 207009"/>
                <a:gd name="connsiteX23" fmla="*/ 393065 w 396218"/>
                <a:gd name="connsiteY23" fmla="*/ 74295 h 207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6218" h="207009">
                  <a:moveTo>
                    <a:pt x="393065" y="74295"/>
                  </a:moveTo>
                  <a:cubicBezTo>
                    <a:pt x="373380" y="70485"/>
                    <a:pt x="354330" y="66675"/>
                    <a:pt x="334010" y="62865"/>
                  </a:cubicBezTo>
                  <a:cubicBezTo>
                    <a:pt x="299720" y="56515"/>
                    <a:pt x="264160" y="49530"/>
                    <a:pt x="229870" y="43180"/>
                  </a:cubicBezTo>
                  <a:cubicBezTo>
                    <a:pt x="198120" y="37465"/>
                    <a:pt x="165735" y="30480"/>
                    <a:pt x="133985" y="24765"/>
                  </a:cubicBezTo>
                  <a:cubicBezTo>
                    <a:pt x="99060" y="18415"/>
                    <a:pt x="64135" y="11430"/>
                    <a:pt x="29210" y="5080"/>
                  </a:cubicBezTo>
                  <a:cubicBezTo>
                    <a:pt x="19685" y="3810"/>
                    <a:pt x="10160" y="1905"/>
                    <a:pt x="0" y="0"/>
                  </a:cubicBezTo>
                  <a:lnTo>
                    <a:pt x="0" y="48895"/>
                  </a:lnTo>
                  <a:cubicBezTo>
                    <a:pt x="96520" y="65405"/>
                    <a:pt x="193040" y="81915"/>
                    <a:pt x="289560" y="99060"/>
                  </a:cubicBezTo>
                  <a:cubicBezTo>
                    <a:pt x="287020" y="100965"/>
                    <a:pt x="285750" y="102870"/>
                    <a:pt x="283845" y="104140"/>
                  </a:cubicBezTo>
                  <a:cubicBezTo>
                    <a:pt x="278130" y="108585"/>
                    <a:pt x="270510" y="109855"/>
                    <a:pt x="262890" y="109855"/>
                  </a:cubicBezTo>
                  <a:cubicBezTo>
                    <a:pt x="179705" y="109855"/>
                    <a:pt x="96520" y="109220"/>
                    <a:pt x="13335" y="104775"/>
                  </a:cubicBezTo>
                  <a:cubicBezTo>
                    <a:pt x="9525" y="104140"/>
                    <a:pt x="5080" y="104140"/>
                    <a:pt x="635" y="104140"/>
                  </a:cubicBezTo>
                  <a:cubicBezTo>
                    <a:pt x="635" y="110490"/>
                    <a:pt x="635" y="116840"/>
                    <a:pt x="1270" y="123190"/>
                  </a:cubicBezTo>
                  <a:cubicBezTo>
                    <a:pt x="2540" y="143510"/>
                    <a:pt x="3810" y="163830"/>
                    <a:pt x="5080" y="184150"/>
                  </a:cubicBezTo>
                  <a:cubicBezTo>
                    <a:pt x="5715" y="192405"/>
                    <a:pt x="8890" y="196850"/>
                    <a:pt x="17780" y="199390"/>
                  </a:cubicBezTo>
                  <a:cubicBezTo>
                    <a:pt x="20320" y="200025"/>
                    <a:pt x="23495" y="200025"/>
                    <a:pt x="26035" y="200660"/>
                  </a:cubicBezTo>
                  <a:cubicBezTo>
                    <a:pt x="42545" y="201295"/>
                    <a:pt x="58420" y="202565"/>
                    <a:pt x="74930" y="203200"/>
                  </a:cubicBezTo>
                  <a:cubicBezTo>
                    <a:pt x="115570" y="204470"/>
                    <a:pt x="157480" y="207010"/>
                    <a:pt x="198120" y="207010"/>
                  </a:cubicBezTo>
                  <a:cubicBezTo>
                    <a:pt x="238760" y="207010"/>
                    <a:pt x="280035" y="205105"/>
                    <a:pt x="320675" y="203835"/>
                  </a:cubicBezTo>
                  <a:cubicBezTo>
                    <a:pt x="331470" y="203200"/>
                    <a:pt x="343535" y="201930"/>
                    <a:pt x="353695" y="199390"/>
                  </a:cubicBezTo>
                  <a:cubicBezTo>
                    <a:pt x="371475" y="196215"/>
                    <a:pt x="384175" y="186690"/>
                    <a:pt x="389255" y="168910"/>
                  </a:cubicBezTo>
                  <a:cubicBezTo>
                    <a:pt x="391795" y="160655"/>
                    <a:pt x="393065" y="151765"/>
                    <a:pt x="393700" y="142875"/>
                  </a:cubicBezTo>
                  <a:cubicBezTo>
                    <a:pt x="394970" y="121920"/>
                    <a:pt x="394970" y="100330"/>
                    <a:pt x="395605" y="79375"/>
                  </a:cubicBezTo>
                  <a:cubicBezTo>
                    <a:pt x="396875" y="75565"/>
                    <a:pt x="396240" y="74295"/>
                    <a:pt x="393065" y="74295"/>
                  </a:cubicBezTo>
                  <a:close/>
                </a:path>
              </a:pathLst>
            </a:custGeom>
            <a:solidFill>
              <a:srgbClr val="FFFFFF"/>
            </a:solidFill>
            <a:ln w="6350" cap="flat">
              <a:noFill/>
              <a:prstDash val="solid"/>
              <a:miter/>
            </a:ln>
          </p:spPr>
          <p:txBody>
            <a:bodyPr rtlCol="0" anchor="ctr"/>
            <a:lstStyle/>
            <a:p>
              <a:endParaRPr lang="en-GB"/>
            </a:p>
          </p:txBody>
        </p:sp>
        <p:sp>
          <p:nvSpPr>
            <p:cNvPr id="451" name="Freeform 450">
              <a:extLst>
                <a:ext uri="{FF2B5EF4-FFF2-40B4-BE49-F238E27FC236}">
                  <a16:creationId xmlns:a16="http://schemas.microsoft.com/office/drawing/2014/main" id="{0C57FA61-95E5-8242-C045-69F2247B8708}"/>
                </a:ext>
              </a:extLst>
            </p:cNvPr>
            <p:cNvSpPr/>
            <p:nvPr/>
          </p:nvSpPr>
          <p:spPr>
            <a:xfrm>
              <a:off x="-6190615" y="2402204"/>
              <a:ext cx="146050" cy="94262"/>
            </a:xfrm>
            <a:custGeom>
              <a:avLst/>
              <a:gdLst>
                <a:gd name="connsiteX0" fmla="*/ 0 w 146050"/>
                <a:gd name="connsiteY0" fmla="*/ 3810 h 94262"/>
                <a:gd name="connsiteX1" fmla="*/ 0 w 146050"/>
                <a:gd name="connsiteY1" fmla="*/ 56515 h 94262"/>
                <a:gd name="connsiteX2" fmla="*/ 635 w 146050"/>
                <a:gd name="connsiteY2" fmla="*/ 67945 h 94262"/>
                <a:gd name="connsiteX3" fmla="*/ 19685 w 146050"/>
                <a:gd name="connsiteY3" fmla="*/ 92075 h 94262"/>
                <a:gd name="connsiteX4" fmla="*/ 34925 w 146050"/>
                <a:gd name="connsiteY4" fmla="*/ 93980 h 94262"/>
                <a:gd name="connsiteX5" fmla="*/ 142240 w 146050"/>
                <a:gd name="connsiteY5" fmla="*/ 93980 h 94262"/>
                <a:gd name="connsiteX6" fmla="*/ 145415 w 146050"/>
                <a:gd name="connsiteY6" fmla="*/ 93980 h 94262"/>
                <a:gd name="connsiteX7" fmla="*/ 145415 w 146050"/>
                <a:gd name="connsiteY7" fmla="*/ 75565 h 94262"/>
                <a:gd name="connsiteX8" fmla="*/ 140970 w 146050"/>
                <a:gd name="connsiteY8" fmla="*/ 75565 h 94262"/>
                <a:gd name="connsiteX9" fmla="*/ 43815 w 146050"/>
                <a:gd name="connsiteY9" fmla="*/ 75565 h 94262"/>
                <a:gd name="connsiteX10" fmla="*/ 34925 w 146050"/>
                <a:gd name="connsiteY10" fmla="*/ 74930 h 94262"/>
                <a:gd name="connsiteX11" fmla="*/ 27305 w 146050"/>
                <a:gd name="connsiteY11" fmla="*/ 68580 h 94262"/>
                <a:gd name="connsiteX12" fmla="*/ 25400 w 146050"/>
                <a:gd name="connsiteY12" fmla="*/ 54610 h 94262"/>
                <a:gd name="connsiteX13" fmla="*/ 140970 w 146050"/>
                <a:gd name="connsiteY13" fmla="*/ 54610 h 94262"/>
                <a:gd name="connsiteX14" fmla="*/ 140970 w 146050"/>
                <a:gd name="connsiteY14" fmla="*/ 36830 h 94262"/>
                <a:gd name="connsiteX15" fmla="*/ 26035 w 146050"/>
                <a:gd name="connsiteY15" fmla="*/ 36830 h 94262"/>
                <a:gd name="connsiteX16" fmla="*/ 26035 w 146050"/>
                <a:gd name="connsiteY16" fmla="*/ 17780 h 94262"/>
                <a:gd name="connsiteX17" fmla="*/ 146050 w 146050"/>
                <a:gd name="connsiteY17" fmla="*/ 17780 h 94262"/>
                <a:gd name="connsiteX18" fmla="*/ 146050 w 146050"/>
                <a:gd name="connsiteY18" fmla="*/ 0 h 94262"/>
                <a:gd name="connsiteX19" fmla="*/ 635 w 146050"/>
                <a:gd name="connsiteY19" fmla="*/ 0 h 94262"/>
                <a:gd name="connsiteX20" fmla="*/ 635 w 146050"/>
                <a:gd name="connsiteY20" fmla="*/ 3810 h 9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6050" h="94262">
                  <a:moveTo>
                    <a:pt x="0" y="3810"/>
                  </a:moveTo>
                  <a:cubicBezTo>
                    <a:pt x="0" y="21590"/>
                    <a:pt x="0" y="39370"/>
                    <a:pt x="0" y="56515"/>
                  </a:cubicBezTo>
                  <a:cubicBezTo>
                    <a:pt x="0" y="60325"/>
                    <a:pt x="0" y="64135"/>
                    <a:pt x="635" y="67945"/>
                  </a:cubicBezTo>
                  <a:cubicBezTo>
                    <a:pt x="1905" y="80010"/>
                    <a:pt x="7620" y="88265"/>
                    <a:pt x="19685" y="92075"/>
                  </a:cubicBezTo>
                  <a:cubicBezTo>
                    <a:pt x="24130" y="93345"/>
                    <a:pt x="29210" y="93980"/>
                    <a:pt x="34925" y="93980"/>
                  </a:cubicBezTo>
                  <a:cubicBezTo>
                    <a:pt x="70485" y="94615"/>
                    <a:pt x="106680" y="93980"/>
                    <a:pt x="142240" y="93980"/>
                  </a:cubicBezTo>
                  <a:cubicBezTo>
                    <a:pt x="143510" y="93980"/>
                    <a:pt x="144145" y="93980"/>
                    <a:pt x="145415" y="93980"/>
                  </a:cubicBezTo>
                  <a:lnTo>
                    <a:pt x="145415" y="75565"/>
                  </a:lnTo>
                  <a:lnTo>
                    <a:pt x="140970" y="75565"/>
                  </a:lnTo>
                  <a:cubicBezTo>
                    <a:pt x="108585" y="75565"/>
                    <a:pt x="76200" y="75565"/>
                    <a:pt x="43815" y="75565"/>
                  </a:cubicBezTo>
                  <a:cubicBezTo>
                    <a:pt x="40640" y="75565"/>
                    <a:pt x="38100" y="75565"/>
                    <a:pt x="34925" y="74930"/>
                  </a:cubicBezTo>
                  <a:cubicBezTo>
                    <a:pt x="31115" y="74295"/>
                    <a:pt x="27940" y="72390"/>
                    <a:pt x="27305" y="68580"/>
                  </a:cubicBezTo>
                  <a:cubicBezTo>
                    <a:pt x="26035" y="64135"/>
                    <a:pt x="26035" y="59690"/>
                    <a:pt x="25400" y="54610"/>
                  </a:cubicBezTo>
                  <a:lnTo>
                    <a:pt x="140970" y="54610"/>
                  </a:lnTo>
                  <a:lnTo>
                    <a:pt x="140970" y="36830"/>
                  </a:lnTo>
                  <a:lnTo>
                    <a:pt x="26035" y="36830"/>
                  </a:lnTo>
                  <a:lnTo>
                    <a:pt x="26035" y="17780"/>
                  </a:lnTo>
                  <a:lnTo>
                    <a:pt x="146050" y="17780"/>
                  </a:lnTo>
                  <a:lnTo>
                    <a:pt x="146050" y="0"/>
                  </a:lnTo>
                  <a:lnTo>
                    <a:pt x="635" y="0"/>
                  </a:lnTo>
                  <a:lnTo>
                    <a:pt x="635" y="3810"/>
                  </a:lnTo>
                  <a:close/>
                </a:path>
              </a:pathLst>
            </a:custGeom>
            <a:solidFill>
              <a:srgbClr val="FFFFFF"/>
            </a:solidFill>
            <a:ln w="6350" cap="flat">
              <a:noFill/>
              <a:prstDash val="solid"/>
              <a:miter/>
            </a:ln>
          </p:spPr>
          <p:txBody>
            <a:bodyPr rtlCol="0" anchor="ctr"/>
            <a:lstStyle/>
            <a:p>
              <a:endParaRPr lang="en-GB"/>
            </a:p>
          </p:txBody>
        </p:sp>
        <p:sp>
          <p:nvSpPr>
            <p:cNvPr id="452" name="Freeform 451">
              <a:extLst>
                <a:ext uri="{FF2B5EF4-FFF2-40B4-BE49-F238E27FC236}">
                  <a16:creationId xmlns:a16="http://schemas.microsoft.com/office/drawing/2014/main" id="{BDEB2E5E-4AE2-2D06-2425-555E7EE3896C}"/>
                </a:ext>
              </a:extLst>
            </p:cNvPr>
            <p:cNvSpPr/>
            <p:nvPr/>
          </p:nvSpPr>
          <p:spPr>
            <a:xfrm>
              <a:off x="-6372225" y="2403475"/>
              <a:ext cx="151129" cy="94614"/>
            </a:xfrm>
            <a:custGeom>
              <a:avLst/>
              <a:gdLst>
                <a:gd name="connsiteX0" fmla="*/ 132715 w 151129"/>
                <a:gd name="connsiteY0" fmla="*/ 41910 h 94614"/>
                <a:gd name="connsiteX1" fmla="*/ 90805 w 151129"/>
                <a:gd name="connsiteY1" fmla="*/ 37465 h 94614"/>
                <a:gd name="connsiteX2" fmla="*/ 43180 w 151129"/>
                <a:gd name="connsiteY2" fmla="*/ 33655 h 94614"/>
                <a:gd name="connsiteX3" fmla="*/ 26670 w 151129"/>
                <a:gd name="connsiteY3" fmla="*/ 31750 h 94614"/>
                <a:gd name="connsiteX4" fmla="*/ 22225 w 151129"/>
                <a:gd name="connsiteY4" fmla="*/ 24130 h 94614"/>
                <a:gd name="connsiteX5" fmla="*/ 27940 w 151129"/>
                <a:gd name="connsiteY5" fmla="*/ 18415 h 94614"/>
                <a:gd name="connsiteX6" fmla="*/ 31750 w 151129"/>
                <a:gd name="connsiteY6" fmla="*/ 18415 h 94614"/>
                <a:gd name="connsiteX7" fmla="*/ 139065 w 151129"/>
                <a:gd name="connsiteY7" fmla="*/ 18415 h 94614"/>
                <a:gd name="connsiteX8" fmla="*/ 143510 w 151129"/>
                <a:gd name="connsiteY8" fmla="*/ 18415 h 94614"/>
                <a:gd name="connsiteX9" fmla="*/ 143510 w 151129"/>
                <a:gd name="connsiteY9" fmla="*/ 0 h 94614"/>
                <a:gd name="connsiteX10" fmla="*/ 139065 w 151129"/>
                <a:gd name="connsiteY10" fmla="*/ 0 h 94614"/>
                <a:gd name="connsiteX11" fmla="*/ 28575 w 151129"/>
                <a:gd name="connsiteY11" fmla="*/ 0 h 94614"/>
                <a:gd name="connsiteX12" fmla="*/ 23495 w 151129"/>
                <a:gd name="connsiteY12" fmla="*/ 635 h 94614"/>
                <a:gd name="connsiteX13" fmla="*/ 635 w 151129"/>
                <a:gd name="connsiteY13" fmla="*/ 17780 h 94614"/>
                <a:gd name="connsiteX14" fmla="*/ 0 w 151129"/>
                <a:gd name="connsiteY14" fmla="*/ 30480 h 94614"/>
                <a:gd name="connsiteX15" fmla="*/ 17780 w 151129"/>
                <a:gd name="connsiteY15" fmla="*/ 50800 h 94614"/>
                <a:gd name="connsiteX16" fmla="*/ 37465 w 151129"/>
                <a:gd name="connsiteY16" fmla="*/ 53340 h 94614"/>
                <a:gd name="connsiteX17" fmla="*/ 92710 w 151129"/>
                <a:gd name="connsiteY17" fmla="*/ 57785 h 94614"/>
                <a:gd name="connsiteX18" fmla="*/ 121920 w 151129"/>
                <a:gd name="connsiteY18" fmla="*/ 60325 h 94614"/>
                <a:gd name="connsiteX19" fmla="*/ 128270 w 151129"/>
                <a:gd name="connsiteY19" fmla="*/ 69215 h 94614"/>
                <a:gd name="connsiteX20" fmla="*/ 121285 w 151129"/>
                <a:gd name="connsiteY20" fmla="*/ 76200 h 94614"/>
                <a:gd name="connsiteX21" fmla="*/ 117475 w 151129"/>
                <a:gd name="connsiteY21" fmla="*/ 76200 h 94614"/>
                <a:gd name="connsiteX22" fmla="*/ 9525 w 151129"/>
                <a:gd name="connsiteY22" fmla="*/ 76200 h 94614"/>
                <a:gd name="connsiteX23" fmla="*/ 5080 w 151129"/>
                <a:gd name="connsiteY23" fmla="*/ 76200 h 94614"/>
                <a:gd name="connsiteX24" fmla="*/ 5080 w 151129"/>
                <a:gd name="connsiteY24" fmla="*/ 94615 h 94614"/>
                <a:gd name="connsiteX25" fmla="*/ 7620 w 151129"/>
                <a:gd name="connsiteY25" fmla="*/ 94615 h 94614"/>
                <a:gd name="connsiteX26" fmla="*/ 121285 w 151129"/>
                <a:gd name="connsiteY26" fmla="*/ 94615 h 94614"/>
                <a:gd name="connsiteX27" fmla="*/ 131445 w 151129"/>
                <a:gd name="connsiteY27" fmla="*/ 93980 h 94614"/>
                <a:gd name="connsiteX28" fmla="*/ 150495 w 151129"/>
                <a:gd name="connsiteY28" fmla="*/ 75565 h 94614"/>
                <a:gd name="connsiteX29" fmla="*/ 151130 w 151129"/>
                <a:gd name="connsiteY29" fmla="*/ 64770 h 94614"/>
                <a:gd name="connsiteX30" fmla="*/ 132715 w 151129"/>
                <a:gd name="connsiteY30" fmla="*/ 41910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1129" h="94614">
                  <a:moveTo>
                    <a:pt x="132715" y="41910"/>
                  </a:moveTo>
                  <a:cubicBezTo>
                    <a:pt x="118745" y="39370"/>
                    <a:pt x="105410" y="38735"/>
                    <a:pt x="90805" y="37465"/>
                  </a:cubicBezTo>
                  <a:cubicBezTo>
                    <a:pt x="74930" y="36195"/>
                    <a:pt x="59055" y="34925"/>
                    <a:pt x="43180" y="33655"/>
                  </a:cubicBezTo>
                  <a:cubicBezTo>
                    <a:pt x="38100" y="33020"/>
                    <a:pt x="32385" y="33020"/>
                    <a:pt x="26670" y="31750"/>
                  </a:cubicBezTo>
                  <a:cubicBezTo>
                    <a:pt x="22860" y="31115"/>
                    <a:pt x="21590" y="28575"/>
                    <a:pt x="22225" y="24130"/>
                  </a:cubicBezTo>
                  <a:cubicBezTo>
                    <a:pt x="22225" y="20955"/>
                    <a:pt x="24130" y="19050"/>
                    <a:pt x="27940" y="18415"/>
                  </a:cubicBezTo>
                  <a:cubicBezTo>
                    <a:pt x="29210" y="18415"/>
                    <a:pt x="30480" y="18415"/>
                    <a:pt x="31750" y="18415"/>
                  </a:cubicBezTo>
                  <a:lnTo>
                    <a:pt x="139065" y="18415"/>
                  </a:lnTo>
                  <a:lnTo>
                    <a:pt x="143510" y="18415"/>
                  </a:lnTo>
                  <a:lnTo>
                    <a:pt x="143510" y="0"/>
                  </a:lnTo>
                  <a:lnTo>
                    <a:pt x="139065" y="0"/>
                  </a:lnTo>
                  <a:lnTo>
                    <a:pt x="28575" y="0"/>
                  </a:lnTo>
                  <a:cubicBezTo>
                    <a:pt x="27305" y="0"/>
                    <a:pt x="25400" y="0"/>
                    <a:pt x="23495" y="635"/>
                  </a:cubicBezTo>
                  <a:cubicBezTo>
                    <a:pt x="10160" y="1270"/>
                    <a:pt x="2540" y="6985"/>
                    <a:pt x="635" y="17780"/>
                  </a:cubicBezTo>
                  <a:cubicBezTo>
                    <a:pt x="0" y="21590"/>
                    <a:pt x="0" y="26670"/>
                    <a:pt x="0" y="30480"/>
                  </a:cubicBezTo>
                  <a:cubicBezTo>
                    <a:pt x="635" y="42545"/>
                    <a:pt x="5715" y="48260"/>
                    <a:pt x="17780" y="50800"/>
                  </a:cubicBezTo>
                  <a:cubicBezTo>
                    <a:pt x="24130" y="52070"/>
                    <a:pt x="31115" y="52705"/>
                    <a:pt x="37465" y="53340"/>
                  </a:cubicBezTo>
                  <a:cubicBezTo>
                    <a:pt x="55880" y="54610"/>
                    <a:pt x="74295" y="56515"/>
                    <a:pt x="92710" y="57785"/>
                  </a:cubicBezTo>
                  <a:cubicBezTo>
                    <a:pt x="102235" y="58420"/>
                    <a:pt x="112395" y="59055"/>
                    <a:pt x="121920" y="60325"/>
                  </a:cubicBezTo>
                  <a:cubicBezTo>
                    <a:pt x="127000" y="60960"/>
                    <a:pt x="128905" y="63500"/>
                    <a:pt x="128270" y="69215"/>
                  </a:cubicBezTo>
                  <a:cubicBezTo>
                    <a:pt x="128270" y="73660"/>
                    <a:pt x="126365" y="75565"/>
                    <a:pt x="121285" y="76200"/>
                  </a:cubicBezTo>
                  <a:cubicBezTo>
                    <a:pt x="120015" y="76200"/>
                    <a:pt x="118745" y="76200"/>
                    <a:pt x="117475" y="76200"/>
                  </a:cubicBezTo>
                  <a:lnTo>
                    <a:pt x="9525" y="76200"/>
                  </a:lnTo>
                  <a:lnTo>
                    <a:pt x="5080" y="76200"/>
                  </a:lnTo>
                  <a:lnTo>
                    <a:pt x="5080" y="94615"/>
                  </a:lnTo>
                  <a:lnTo>
                    <a:pt x="7620" y="94615"/>
                  </a:lnTo>
                  <a:cubicBezTo>
                    <a:pt x="45720" y="94615"/>
                    <a:pt x="83820" y="94615"/>
                    <a:pt x="121285" y="94615"/>
                  </a:cubicBezTo>
                  <a:cubicBezTo>
                    <a:pt x="124460" y="94615"/>
                    <a:pt x="128270" y="94615"/>
                    <a:pt x="131445" y="93980"/>
                  </a:cubicBezTo>
                  <a:cubicBezTo>
                    <a:pt x="141605" y="92710"/>
                    <a:pt x="148590" y="86995"/>
                    <a:pt x="150495" y="75565"/>
                  </a:cubicBezTo>
                  <a:cubicBezTo>
                    <a:pt x="151130" y="71755"/>
                    <a:pt x="151130" y="68580"/>
                    <a:pt x="151130" y="64770"/>
                  </a:cubicBezTo>
                  <a:cubicBezTo>
                    <a:pt x="150495" y="50800"/>
                    <a:pt x="145415" y="43815"/>
                    <a:pt x="132715" y="41910"/>
                  </a:cubicBezTo>
                  <a:close/>
                </a:path>
              </a:pathLst>
            </a:custGeom>
            <a:solidFill>
              <a:srgbClr val="FFFFFF"/>
            </a:solidFill>
            <a:ln w="6350" cap="flat">
              <a:noFill/>
              <a:prstDash val="solid"/>
              <a:miter/>
            </a:ln>
          </p:spPr>
          <p:txBody>
            <a:bodyPr rtlCol="0" anchor="ctr"/>
            <a:lstStyle/>
            <a:p>
              <a:endParaRPr lang="en-GB"/>
            </a:p>
          </p:txBody>
        </p:sp>
        <p:sp>
          <p:nvSpPr>
            <p:cNvPr id="453" name="Freeform 452">
              <a:extLst>
                <a:ext uri="{FF2B5EF4-FFF2-40B4-BE49-F238E27FC236}">
                  <a16:creationId xmlns:a16="http://schemas.microsoft.com/office/drawing/2014/main" id="{56CB3517-3AA2-9F18-3A18-1F4451CB6A93}"/>
                </a:ext>
              </a:extLst>
            </p:cNvPr>
            <p:cNvSpPr/>
            <p:nvPr/>
          </p:nvSpPr>
          <p:spPr>
            <a:xfrm>
              <a:off x="-6005829" y="2402204"/>
              <a:ext cx="142875" cy="95250"/>
            </a:xfrm>
            <a:custGeom>
              <a:avLst/>
              <a:gdLst>
                <a:gd name="connsiteX0" fmla="*/ 31750 w 142875"/>
                <a:gd name="connsiteY0" fmla="*/ 635 h 95250"/>
                <a:gd name="connsiteX1" fmla="*/ 635 w 142875"/>
                <a:gd name="connsiteY1" fmla="*/ 24765 h 95250"/>
                <a:gd name="connsiteX2" fmla="*/ 0 w 142875"/>
                <a:gd name="connsiteY2" fmla="*/ 36195 h 95250"/>
                <a:gd name="connsiteX3" fmla="*/ 0 w 142875"/>
                <a:gd name="connsiteY3" fmla="*/ 91440 h 95250"/>
                <a:gd name="connsiteX4" fmla="*/ 0 w 142875"/>
                <a:gd name="connsiteY4" fmla="*/ 94615 h 95250"/>
                <a:gd name="connsiteX5" fmla="*/ 24765 w 142875"/>
                <a:gd name="connsiteY5" fmla="*/ 94615 h 95250"/>
                <a:gd name="connsiteX6" fmla="*/ 24765 w 142875"/>
                <a:gd name="connsiteY6" fmla="*/ 67945 h 95250"/>
                <a:gd name="connsiteX7" fmla="*/ 118110 w 142875"/>
                <a:gd name="connsiteY7" fmla="*/ 67945 h 95250"/>
                <a:gd name="connsiteX8" fmla="*/ 118110 w 142875"/>
                <a:gd name="connsiteY8" fmla="*/ 95250 h 95250"/>
                <a:gd name="connsiteX9" fmla="*/ 142875 w 142875"/>
                <a:gd name="connsiteY9" fmla="*/ 95250 h 95250"/>
                <a:gd name="connsiteX10" fmla="*/ 142875 w 142875"/>
                <a:gd name="connsiteY10" fmla="*/ 635 h 95250"/>
                <a:gd name="connsiteX11" fmla="*/ 141605 w 142875"/>
                <a:gd name="connsiteY11" fmla="*/ 0 h 95250"/>
                <a:gd name="connsiteX12" fmla="*/ 31750 w 142875"/>
                <a:gd name="connsiteY12" fmla="*/ 635 h 95250"/>
                <a:gd name="connsiteX13" fmla="*/ 118110 w 142875"/>
                <a:gd name="connsiteY13" fmla="*/ 48895 h 95250"/>
                <a:gd name="connsiteX14" fmla="*/ 24765 w 142875"/>
                <a:gd name="connsiteY14" fmla="*/ 48895 h 95250"/>
                <a:gd name="connsiteX15" fmla="*/ 26670 w 142875"/>
                <a:gd name="connsiteY15" fmla="*/ 26670 h 95250"/>
                <a:gd name="connsiteX16" fmla="*/ 40005 w 142875"/>
                <a:gd name="connsiteY16" fmla="*/ 19050 h 95250"/>
                <a:gd name="connsiteX17" fmla="*/ 102870 w 142875"/>
                <a:gd name="connsiteY17" fmla="*/ 19050 h 95250"/>
                <a:gd name="connsiteX18" fmla="*/ 117475 w 142875"/>
                <a:gd name="connsiteY18" fmla="*/ 19050 h 95250"/>
                <a:gd name="connsiteX19" fmla="*/ 117475 w 142875"/>
                <a:gd name="connsiteY19" fmla="*/ 4889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2875" h="95250">
                  <a:moveTo>
                    <a:pt x="31750" y="635"/>
                  </a:moveTo>
                  <a:cubicBezTo>
                    <a:pt x="14605" y="635"/>
                    <a:pt x="3810" y="10160"/>
                    <a:pt x="635" y="24765"/>
                  </a:cubicBezTo>
                  <a:cubicBezTo>
                    <a:pt x="0" y="28575"/>
                    <a:pt x="0" y="32385"/>
                    <a:pt x="0" y="36195"/>
                  </a:cubicBezTo>
                  <a:cubicBezTo>
                    <a:pt x="0" y="54610"/>
                    <a:pt x="0" y="73025"/>
                    <a:pt x="0" y="91440"/>
                  </a:cubicBezTo>
                  <a:lnTo>
                    <a:pt x="0" y="94615"/>
                  </a:lnTo>
                  <a:lnTo>
                    <a:pt x="24765" y="94615"/>
                  </a:lnTo>
                  <a:lnTo>
                    <a:pt x="24765" y="67945"/>
                  </a:lnTo>
                  <a:lnTo>
                    <a:pt x="118110" y="67945"/>
                  </a:lnTo>
                  <a:lnTo>
                    <a:pt x="118110" y="95250"/>
                  </a:lnTo>
                  <a:lnTo>
                    <a:pt x="142875" y="95250"/>
                  </a:lnTo>
                  <a:lnTo>
                    <a:pt x="142875" y="635"/>
                  </a:lnTo>
                  <a:lnTo>
                    <a:pt x="141605" y="0"/>
                  </a:lnTo>
                  <a:cubicBezTo>
                    <a:pt x="104775" y="0"/>
                    <a:pt x="67945" y="0"/>
                    <a:pt x="31750" y="635"/>
                  </a:cubicBezTo>
                  <a:close/>
                  <a:moveTo>
                    <a:pt x="118110" y="48895"/>
                  </a:moveTo>
                  <a:lnTo>
                    <a:pt x="24765" y="48895"/>
                  </a:lnTo>
                  <a:cubicBezTo>
                    <a:pt x="24765" y="41275"/>
                    <a:pt x="24130" y="33655"/>
                    <a:pt x="26670" y="26670"/>
                  </a:cubicBezTo>
                  <a:cubicBezTo>
                    <a:pt x="29210" y="20955"/>
                    <a:pt x="34290" y="19050"/>
                    <a:pt x="40005" y="19050"/>
                  </a:cubicBezTo>
                  <a:cubicBezTo>
                    <a:pt x="60960" y="19050"/>
                    <a:pt x="81280" y="19050"/>
                    <a:pt x="102870" y="19050"/>
                  </a:cubicBezTo>
                  <a:lnTo>
                    <a:pt x="117475" y="19050"/>
                  </a:lnTo>
                  <a:lnTo>
                    <a:pt x="117475" y="48895"/>
                  </a:lnTo>
                  <a:close/>
                </a:path>
              </a:pathLst>
            </a:custGeom>
            <a:solidFill>
              <a:srgbClr val="FFFFFF"/>
            </a:solidFill>
            <a:ln w="6350" cap="flat">
              <a:noFill/>
              <a:prstDash val="solid"/>
              <a:miter/>
            </a:ln>
          </p:spPr>
          <p:txBody>
            <a:bodyPr rtlCol="0" anchor="ctr"/>
            <a:lstStyle/>
            <a:p>
              <a:endParaRPr lang="en-GB"/>
            </a:p>
          </p:txBody>
        </p:sp>
        <p:sp>
          <p:nvSpPr>
            <p:cNvPr id="454" name="Freeform 453">
              <a:extLst>
                <a:ext uri="{FF2B5EF4-FFF2-40B4-BE49-F238E27FC236}">
                  <a16:creationId xmlns:a16="http://schemas.microsoft.com/office/drawing/2014/main" id="{A5763CF4-44D5-D556-5B1C-8D0D8956489B}"/>
                </a:ext>
              </a:extLst>
            </p:cNvPr>
            <p:cNvSpPr/>
            <p:nvPr/>
          </p:nvSpPr>
          <p:spPr>
            <a:xfrm>
              <a:off x="-5832475" y="2402204"/>
              <a:ext cx="139700" cy="95250"/>
            </a:xfrm>
            <a:custGeom>
              <a:avLst/>
              <a:gdLst>
                <a:gd name="connsiteX0" fmla="*/ 0 w 139700"/>
                <a:gd name="connsiteY0" fmla="*/ 0 h 95250"/>
                <a:gd name="connsiteX1" fmla="*/ 0 w 139700"/>
                <a:gd name="connsiteY1" fmla="*/ 18415 h 95250"/>
                <a:gd name="connsiteX2" fmla="*/ 58420 w 139700"/>
                <a:gd name="connsiteY2" fmla="*/ 18415 h 95250"/>
                <a:gd name="connsiteX3" fmla="*/ 58420 w 139700"/>
                <a:gd name="connsiteY3" fmla="*/ 95250 h 95250"/>
                <a:gd name="connsiteX4" fmla="*/ 81915 w 139700"/>
                <a:gd name="connsiteY4" fmla="*/ 95250 h 95250"/>
                <a:gd name="connsiteX5" fmla="*/ 81915 w 139700"/>
                <a:gd name="connsiteY5" fmla="*/ 17780 h 95250"/>
                <a:gd name="connsiteX6" fmla="*/ 139700 w 139700"/>
                <a:gd name="connsiteY6" fmla="*/ 17780 h 95250"/>
                <a:gd name="connsiteX7" fmla="*/ 139700 w 139700"/>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700" h="95250">
                  <a:moveTo>
                    <a:pt x="0" y="0"/>
                  </a:moveTo>
                  <a:lnTo>
                    <a:pt x="0" y="18415"/>
                  </a:lnTo>
                  <a:lnTo>
                    <a:pt x="58420" y="18415"/>
                  </a:lnTo>
                  <a:lnTo>
                    <a:pt x="58420" y="95250"/>
                  </a:lnTo>
                  <a:lnTo>
                    <a:pt x="81915" y="95250"/>
                  </a:lnTo>
                  <a:lnTo>
                    <a:pt x="81915" y="17780"/>
                  </a:lnTo>
                  <a:lnTo>
                    <a:pt x="139700" y="17780"/>
                  </a:lnTo>
                  <a:lnTo>
                    <a:pt x="139700" y="0"/>
                  </a:lnTo>
                  <a:close/>
                </a:path>
              </a:pathLst>
            </a:custGeom>
            <a:solidFill>
              <a:srgbClr val="FFFFFF"/>
            </a:solidFill>
            <a:ln w="6350" cap="flat">
              <a:noFill/>
              <a:prstDash val="solid"/>
              <a:miter/>
            </a:ln>
          </p:spPr>
          <p:txBody>
            <a:bodyPr rtlCol="0" anchor="ctr"/>
            <a:lstStyle/>
            <a:p>
              <a:endParaRPr lang="en-GB"/>
            </a:p>
          </p:txBody>
        </p:sp>
      </p:grpSp>
      <p:grpSp>
        <p:nvGrpSpPr>
          <p:cNvPr id="455" name="Graphic 79">
            <a:extLst>
              <a:ext uri="{FF2B5EF4-FFF2-40B4-BE49-F238E27FC236}">
                <a16:creationId xmlns:a16="http://schemas.microsoft.com/office/drawing/2014/main" id="{6A6B1DD1-E7BB-2D41-430A-1005E50D6705}"/>
              </a:ext>
            </a:extLst>
          </p:cNvPr>
          <p:cNvGrpSpPr/>
          <p:nvPr userDrawn="1"/>
        </p:nvGrpSpPr>
        <p:grpSpPr>
          <a:xfrm>
            <a:off x="5645150" y="1931035"/>
            <a:ext cx="901700" cy="622082"/>
            <a:chOff x="-8070850" y="1931035"/>
            <a:chExt cx="901700" cy="622082"/>
          </a:xfrm>
          <a:solidFill>
            <a:srgbClr val="FFFFFF"/>
          </a:solidFill>
        </p:grpSpPr>
        <p:sp>
          <p:nvSpPr>
            <p:cNvPr id="456" name="Freeform 455">
              <a:extLst>
                <a:ext uri="{FF2B5EF4-FFF2-40B4-BE49-F238E27FC236}">
                  <a16:creationId xmlns:a16="http://schemas.microsoft.com/office/drawing/2014/main" id="{517C9C59-6F18-C524-55AA-3D75FF758FA3}"/>
                </a:ext>
              </a:extLst>
            </p:cNvPr>
            <p:cNvSpPr/>
            <p:nvPr/>
          </p:nvSpPr>
          <p:spPr>
            <a:xfrm>
              <a:off x="-7838440" y="1931035"/>
              <a:ext cx="407034" cy="406400"/>
            </a:xfrm>
            <a:custGeom>
              <a:avLst/>
              <a:gdLst>
                <a:gd name="connsiteX0" fmla="*/ 203200 w 407034"/>
                <a:gd name="connsiteY0" fmla="*/ 406400 h 406400"/>
                <a:gd name="connsiteX1" fmla="*/ 407035 w 407034"/>
                <a:gd name="connsiteY1" fmla="*/ 203200 h 406400"/>
                <a:gd name="connsiteX2" fmla="*/ 203835 w 407034"/>
                <a:gd name="connsiteY2" fmla="*/ 0 h 406400"/>
                <a:gd name="connsiteX3" fmla="*/ 0 w 407034"/>
                <a:gd name="connsiteY3" fmla="*/ 203200 h 406400"/>
                <a:gd name="connsiteX4" fmla="*/ 203200 w 407034"/>
                <a:gd name="connsiteY4" fmla="*/ 406400 h 406400"/>
                <a:gd name="connsiteX5" fmla="*/ 204470 w 407034"/>
                <a:gd name="connsiteY5" fmla="*/ 16510 h 406400"/>
                <a:gd name="connsiteX6" fmla="*/ 389890 w 407034"/>
                <a:gd name="connsiteY6" fmla="*/ 203200 h 406400"/>
                <a:gd name="connsiteX7" fmla="*/ 203200 w 407034"/>
                <a:gd name="connsiteY7" fmla="*/ 389255 h 406400"/>
                <a:gd name="connsiteX8" fmla="*/ 17145 w 407034"/>
                <a:gd name="connsiteY8" fmla="*/ 202565 h 406400"/>
                <a:gd name="connsiteX9" fmla="*/ 204470 w 407034"/>
                <a:gd name="connsiteY9" fmla="*/ 1651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034" h="406400">
                  <a:moveTo>
                    <a:pt x="203200" y="406400"/>
                  </a:moveTo>
                  <a:cubicBezTo>
                    <a:pt x="316230" y="406400"/>
                    <a:pt x="407035" y="315595"/>
                    <a:pt x="407035" y="203200"/>
                  </a:cubicBezTo>
                  <a:cubicBezTo>
                    <a:pt x="407035" y="89535"/>
                    <a:pt x="315595" y="0"/>
                    <a:pt x="203835" y="0"/>
                  </a:cubicBezTo>
                  <a:cubicBezTo>
                    <a:pt x="91440" y="0"/>
                    <a:pt x="0" y="90805"/>
                    <a:pt x="0" y="203200"/>
                  </a:cubicBezTo>
                  <a:cubicBezTo>
                    <a:pt x="0" y="315595"/>
                    <a:pt x="90170" y="406400"/>
                    <a:pt x="203200" y="406400"/>
                  </a:cubicBezTo>
                  <a:close/>
                  <a:moveTo>
                    <a:pt x="204470" y="16510"/>
                  </a:moveTo>
                  <a:cubicBezTo>
                    <a:pt x="305435" y="16510"/>
                    <a:pt x="389890" y="99060"/>
                    <a:pt x="389890" y="203200"/>
                  </a:cubicBezTo>
                  <a:cubicBezTo>
                    <a:pt x="389890" y="306705"/>
                    <a:pt x="305435" y="389890"/>
                    <a:pt x="203200" y="389255"/>
                  </a:cubicBezTo>
                  <a:cubicBezTo>
                    <a:pt x="99695" y="388620"/>
                    <a:pt x="17145" y="304800"/>
                    <a:pt x="17145" y="202565"/>
                  </a:cubicBezTo>
                  <a:cubicBezTo>
                    <a:pt x="17780" y="99695"/>
                    <a:pt x="101600" y="16510"/>
                    <a:pt x="204470" y="16510"/>
                  </a:cubicBezTo>
                  <a:close/>
                </a:path>
              </a:pathLst>
            </a:custGeom>
            <a:solidFill>
              <a:srgbClr val="FFFFFF"/>
            </a:solidFill>
            <a:ln w="6350" cap="flat">
              <a:noFill/>
              <a:prstDash val="solid"/>
              <a:miter/>
            </a:ln>
          </p:spPr>
          <p:txBody>
            <a:bodyPr rtlCol="0" anchor="ctr"/>
            <a:lstStyle/>
            <a:p>
              <a:endParaRPr lang="en-GB"/>
            </a:p>
          </p:txBody>
        </p:sp>
        <p:sp>
          <p:nvSpPr>
            <p:cNvPr id="457" name="Freeform 456">
              <a:extLst>
                <a:ext uri="{FF2B5EF4-FFF2-40B4-BE49-F238E27FC236}">
                  <a16:creationId xmlns:a16="http://schemas.microsoft.com/office/drawing/2014/main" id="{F59E783F-4029-451D-0BF8-4887BD27355C}"/>
                </a:ext>
              </a:extLst>
            </p:cNvPr>
            <p:cNvSpPr/>
            <p:nvPr/>
          </p:nvSpPr>
          <p:spPr>
            <a:xfrm>
              <a:off x="-7886065" y="2425700"/>
              <a:ext cx="160655" cy="127417"/>
            </a:xfrm>
            <a:custGeom>
              <a:avLst/>
              <a:gdLst>
                <a:gd name="connsiteX0" fmla="*/ 123190 w 160655"/>
                <a:gd name="connsiteY0" fmla="*/ 0 h 127417"/>
                <a:gd name="connsiteX1" fmla="*/ 118110 w 160655"/>
                <a:gd name="connsiteY1" fmla="*/ 2540 h 127417"/>
                <a:gd name="connsiteX2" fmla="*/ 72390 w 160655"/>
                <a:gd name="connsiteY2" fmla="*/ 46990 h 127417"/>
                <a:gd name="connsiteX3" fmla="*/ 69215 w 160655"/>
                <a:gd name="connsiteY3" fmla="*/ 48895 h 127417"/>
                <a:gd name="connsiteX4" fmla="*/ 31115 w 160655"/>
                <a:gd name="connsiteY4" fmla="*/ 48895 h 127417"/>
                <a:gd name="connsiteX5" fmla="*/ 29210 w 160655"/>
                <a:gd name="connsiteY5" fmla="*/ 48260 h 127417"/>
                <a:gd name="connsiteX6" fmla="*/ 29210 w 160655"/>
                <a:gd name="connsiteY6" fmla="*/ 36830 h 127417"/>
                <a:gd name="connsiteX7" fmla="*/ 29210 w 160655"/>
                <a:gd name="connsiteY7" fmla="*/ 24765 h 127417"/>
                <a:gd name="connsiteX8" fmla="*/ 29210 w 160655"/>
                <a:gd name="connsiteY8" fmla="*/ 12700 h 127417"/>
                <a:gd name="connsiteX9" fmla="*/ 29210 w 160655"/>
                <a:gd name="connsiteY9" fmla="*/ 1270 h 127417"/>
                <a:gd name="connsiteX10" fmla="*/ 0 w 160655"/>
                <a:gd name="connsiteY10" fmla="*/ 1270 h 127417"/>
                <a:gd name="connsiteX11" fmla="*/ 0 w 160655"/>
                <a:gd name="connsiteY11" fmla="*/ 127000 h 127417"/>
                <a:gd name="connsiteX12" fmla="*/ 29210 w 160655"/>
                <a:gd name="connsiteY12" fmla="*/ 126365 h 127417"/>
                <a:gd name="connsiteX13" fmla="*/ 29210 w 160655"/>
                <a:gd name="connsiteY13" fmla="*/ 78105 h 127417"/>
                <a:gd name="connsiteX14" fmla="*/ 32385 w 160655"/>
                <a:gd name="connsiteY14" fmla="*/ 78105 h 127417"/>
                <a:gd name="connsiteX15" fmla="*/ 65405 w 160655"/>
                <a:gd name="connsiteY15" fmla="*/ 78105 h 127417"/>
                <a:gd name="connsiteX16" fmla="*/ 71755 w 160655"/>
                <a:gd name="connsiteY16" fmla="*/ 80645 h 127417"/>
                <a:gd name="connsiteX17" fmla="*/ 117475 w 160655"/>
                <a:gd name="connsiteY17" fmla="*/ 125095 h 127417"/>
                <a:gd name="connsiteX18" fmla="*/ 122555 w 160655"/>
                <a:gd name="connsiteY18" fmla="*/ 127000 h 127417"/>
                <a:gd name="connsiteX19" fmla="*/ 156845 w 160655"/>
                <a:gd name="connsiteY19" fmla="*/ 127000 h 127417"/>
                <a:gd name="connsiteX20" fmla="*/ 159385 w 160655"/>
                <a:gd name="connsiteY20" fmla="*/ 127000 h 127417"/>
                <a:gd name="connsiteX21" fmla="*/ 160020 w 160655"/>
                <a:gd name="connsiteY21" fmla="*/ 126365 h 127417"/>
                <a:gd name="connsiteX22" fmla="*/ 96520 w 160655"/>
                <a:gd name="connsiteY22" fmla="*/ 65405 h 127417"/>
                <a:gd name="connsiteX23" fmla="*/ 160655 w 160655"/>
                <a:gd name="connsiteY23" fmla="*/ 1905 h 127417"/>
                <a:gd name="connsiteX24" fmla="*/ 160655 w 160655"/>
                <a:gd name="connsiteY24" fmla="*/ 0 h 127417"/>
                <a:gd name="connsiteX25" fmla="*/ 157480 w 160655"/>
                <a:gd name="connsiteY25" fmla="*/ 0 h 127417"/>
                <a:gd name="connsiteX26" fmla="*/ 123190 w 160655"/>
                <a:gd name="connsiteY26" fmla="*/ 0 h 12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0655" h="127417">
                  <a:moveTo>
                    <a:pt x="123190" y="0"/>
                  </a:moveTo>
                  <a:cubicBezTo>
                    <a:pt x="121285" y="0"/>
                    <a:pt x="119380" y="635"/>
                    <a:pt x="118110" y="2540"/>
                  </a:cubicBezTo>
                  <a:cubicBezTo>
                    <a:pt x="102870" y="17145"/>
                    <a:pt x="87630" y="32385"/>
                    <a:pt x="72390" y="46990"/>
                  </a:cubicBezTo>
                  <a:cubicBezTo>
                    <a:pt x="71755" y="48260"/>
                    <a:pt x="70485" y="48895"/>
                    <a:pt x="69215" y="48895"/>
                  </a:cubicBezTo>
                  <a:cubicBezTo>
                    <a:pt x="56515" y="48895"/>
                    <a:pt x="43815" y="48895"/>
                    <a:pt x="31115" y="48895"/>
                  </a:cubicBezTo>
                  <a:cubicBezTo>
                    <a:pt x="30480" y="48895"/>
                    <a:pt x="29845" y="48260"/>
                    <a:pt x="29210" y="48260"/>
                  </a:cubicBezTo>
                  <a:lnTo>
                    <a:pt x="29210" y="36830"/>
                  </a:lnTo>
                  <a:cubicBezTo>
                    <a:pt x="29210" y="32385"/>
                    <a:pt x="29210" y="28575"/>
                    <a:pt x="29210" y="24765"/>
                  </a:cubicBezTo>
                  <a:cubicBezTo>
                    <a:pt x="29210" y="20955"/>
                    <a:pt x="29210" y="16510"/>
                    <a:pt x="29210" y="12700"/>
                  </a:cubicBezTo>
                  <a:cubicBezTo>
                    <a:pt x="29210" y="8890"/>
                    <a:pt x="29210" y="5080"/>
                    <a:pt x="29210" y="1270"/>
                  </a:cubicBezTo>
                  <a:lnTo>
                    <a:pt x="0" y="1270"/>
                  </a:lnTo>
                  <a:lnTo>
                    <a:pt x="0" y="127000"/>
                  </a:lnTo>
                  <a:cubicBezTo>
                    <a:pt x="2540" y="127635"/>
                    <a:pt x="26670" y="127635"/>
                    <a:pt x="29210" y="126365"/>
                  </a:cubicBezTo>
                  <a:lnTo>
                    <a:pt x="29210" y="78105"/>
                  </a:lnTo>
                  <a:lnTo>
                    <a:pt x="32385" y="78105"/>
                  </a:lnTo>
                  <a:cubicBezTo>
                    <a:pt x="43180" y="78105"/>
                    <a:pt x="53975" y="78105"/>
                    <a:pt x="65405" y="78105"/>
                  </a:cubicBezTo>
                  <a:cubicBezTo>
                    <a:pt x="67945" y="78105"/>
                    <a:pt x="69850" y="78740"/>
                    <a:pt x="71755" y="80645"/>
                  </a:cubicBezTo>
                  <a:cubicBezTo>
                    <a:pt x="86995" y="95250"/>
                    <a:pt x="102235" y="110490"/>
                    <a:pt x="117475" y="125095"/>
                  </a:cubicBezTo>
                  <a:cubicBezTo>
                    <a:pt x="118745" y="127000"/>
                    <a:pt x="120015" y="127000"/>
                    <a:pt x="122555" y="127000"/>
                  </a:cubicBezTo>
                  <a:cubicBezTo>
                    <a:pt x="133985" y="127000"/>
                    <a:pt x="145415" y="127000"/>
                    <a:pt x="156845" y="127000"/>
                  </a:cubicBezTo>
                  <a:lnTo>
                    <a:pt x="159385" y="127000"/>
                  </a:lnTo>
                  <a:cubicBezTo>
                    <a:pt x="159385" y="127000"/>
                    <a:pt x="159385" y="127000"/>
                    <a:pt x="160020" y="126365"/>
                  </a:cubicBezTo>
                  <a:cubicBezTo>
                    <a:pt x="139065" y="106045"/>
                    <a:pt x="117475" y="85725"/>
                    <a:pt x="96520" y="65405"/>
                  </a:cubicBezTo>
                  <a:cubicBezTo>
                    <a:pt x="118110" y="43815"/>
                    <a:pt x="139700" y="22860"/>
                    <a:pt x="160655" y="1905"/>
                  </a:cubicBezTo>
                  <a:lnTo>
                    <a:pt x="160655" y="0"/>
                  </a:lnTo>
                  <a:lnTo>
                    <a:pt x="157480" y="0"/>
                  </a:lnTo>
                  <a:cubicBezTo>
                    <a:pt x="146050" y="0"/>
                    <a:pt x="134620" y="0"/>
                    <a:pt x="123190" y="0"/>
                  </a:cubicBezTo>
                  <a:close/>
                </a:path>
              </a:pathLst>
            </a:custGeom>
            <a:solidFill>
              <a:srgbClr val="FFFFFF"/>
            </a:solidFill>
            <a:ln w="6350" cap="flat">
              <a:noFill/>
              <a:prstDash val="solid"/>
              <a:miter/>
            </a:ln>
          </p:spPr>
          <p:txBody>
            <a:bodyPr rtlCol="0" anchor="ctr"/>
            <a:lstStyle/>
            <a:p>
              <a:endParaRPr lang="en-GB"/>
            </a:p>
          </p:txBody>
        </p:sp>
        <p:sp>
          <p:nvSpPr>
            <p:cNvPr id="458" name="Freeform 457">
              <a:extLst>
                <a:ext uri="{FF2B5EF4-FFF2-40B4-BE49-F238E27FC236}">
                  <a16:creationId xmlns:a16="http://schemas.microsoft.com/office/drawing/2014/main" id="{EACBEFF0-0939-B258-FA81-61581EDF2B3E}"/>
                </a:ext>
              </a:extLst>
            </p:cNvPr>
            <p:cNvSpPr/>
            <p:nvPr/>
          </p:nvSpPr>
          <p:spPr>
            <a:xfrm>
              <a:off x="-8070850" y="2426309"/>
              <a:ext cx="151606" cy="126390"/>
            </a:xfrm>
            <a:custGeom>
              <a:avLst/>
              <a:gdLst>
                <a:gd name="connsiteX0" fmla="*/ 132715 w 151606"/>
                <a:gd name="connsiteY0" fmla="*/ 49555 h 126390"/>
                <a:gd name="connsiteX1" fmla="*/ 123825 w 151606"/>
                <a:gd name="connsiteY1" fmla="*/ 48285 h 126390"/>
                <a:gd name="connsiteX2" fmla="*/ 41275 w 151606"/>
                <a:gd name="connsiteY2" fmla="*/ 48285 h 126390"/>
                <a:gd name="connsiteX3" fmla="*/ 38735 w 151606"/>
                <a:gd name="connsiteY3" fmla="*/ 48285 h 126390"/>
                <a:gd name="connsiteX4" fmla="*/ 32385 w 151606"/>
                <a:gd name="connsiteY4" fmla="*/ 41935 h 126390"/>
                <a:gd name="connsiteX5" fmla="*/ 32385 w 151606"/>
                <a:gd name="connsiteY5" fmla="*/ 39395 h 126390"/>
                <a:gd name="connsiteX6" fmla="*/ 32385 w 151606"/>
                <a:gd name="connsiteY6" fmla="*/ 3200 h 126390"/>
                <a:gd name="connsiteX7" fmla="*/ 32385 w 151606"/>
                <a:gd name="connsiteY7" fmla="*/ 660 h 126390"/>
                <a:gd name="connsiteX8" fmla="*/ 31750 w 151606"/>
                <a:gd name="connsiteY8" fmla="*/ 25 h 126390"/>
                <a:gd name="connsiteX9" fmla="*/ 3175 w 151606"/>
                <a:gd name="connsiteY9" fmla="*/ 26695 h 126390"/>
                <a:gd name="connsiteX10" fmla="*/ 3175 w 151606"/>
                <a:gd name="connsiteY10" fmla="*/ 50190 h 126390"/>
                <a:gd name="connsiteX11" fmla="*/ 17780 w 151606"/>
                <a:gd name="connsiteY11" fmla="*/ 73050 h 126390"/>
                <a:gd name="connsiteX12" fmla="*/ 31115 w 151606"/>
                <a:gd name="connsiteY12" fmla="*/ 75590 h 126390"/>
                <a:gd name="connsiteX13" fmla="*/ 117475 w 151606"/>
                <a:gd name="connsiteY13" fmla="*/ 75590 h 126390"/>
                <a:gd name="connsiteX14" fmla="*/ 121285 w 151606"/>
                <a:gd name="connsiteY14" fmla="*/ 75590 h 126390"/>
                <a:gd name="connsiteX15" fmla="*/ 121285 w 151606"/>
                <a:gd name="connsiteY15" fmla="*/ 80670 h 126390"/>
                <a:gd name="connsiteX16" fmla="*/ 121285 w 151606"/>
                <a:gd name="connsiteY16" fmla="*/ 93370 h 126390"/>
                <a:gd name="connsiteX17" fmla="*/ 114935 w 151606"/>
                <a:gd name="connsiteY17" fmla="*/ 99720 h 126390"/>
                <a:gd name="connsiteX18" fmla="*/ 112395 w 151606"/>
                <a:gd name="connsiteY18" fmla="*/ 99720 h 126390"/>
                <a:gd name="connsiteX19" fmla="*/ 19685 w 151606"/>
                <a:gd name="connsiteY19" fmla="*/ 99720 h 126390"/>
                <a:gd name="connsiteX20" fmla="*/ 15875 w 151606"/>
                <a:gd name="connsiteY20" fmla="*/ 99720 h 126390"/>
                <a:gd name="connsiteX21" fmla="*/ 0 w 151606"/>
                <a:gd name="connsiteY21" fmla="*/ 126390 h 126390"/>
                <a:gd name="connsiteX22" fmla="*/ 2540 w 151606"/>
                <a:gd name="connsiteY22" fmla="*/ 126390 h 126390"/>
                <a:gd name="connsiteX23" fmla="*/ 123825 w 151606"/>
                <a:gd name="connsiteY23" fmla="*/ 126390 h 126390"/>
                <a:gd name="connsiteX24" fmla="*/ 128905 w 151606"/>
                <a:gd name="connsiteY24" fmla="*/ 126390 h 126390"/>
                <a:gd name="connsiteX25" fmla="*/ 151130 w 151606"/>
                <a:gd name="connsiteY25" fmla="*/ 99720 h 126390"/>
                <a:gd name="connsiteX26" fmla="*/ 151130 w 151606"/>
                <a:gd name="connsiteY26" fmla="*/ 73685 h 126390"/>
                <a:gd name="connsiteX27" fmla="*/ 132715 w 151606"/>
                <a:gd name="connsiteY27" fmla="*/ 49555 h 126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1606" h="126390">
                  <a:moveTo>
                    <a:pt x="132715" y="49555"/>
                  </a:moveTo>
                  <a:cubicBezTo>
                    <a:pt x="130175" y="48920"/>
                    <a:pt x="127000" y="48285"/>
                    <a:pt x="123825" y="48285"/>
                  </a:cubicBezTo>
                  <a:cubicBezTo>
                    <a:pt x="96520" y="48285"/>
                    <a:pt x="69215" y="48285"/>
                    <a:pt x="41275" y="48285"/>
                  </a:cubicBezTo>
                  <a:cubicBezTo>
                    <a:pt x="40640" y="48285"/>
                    <a:pt x="39370" y="48285"/>
                    <a:pt x="38735" y="48285"/>
                  </a:cubicBezTo>
                  <a:cubicBezTo>
                    <a:pt x="35560" y="48285"/>
                    <a:pt x="33020" y="45745"/>
                    <a:pt x="32385" y="41935"/>
                  </a:cubicBezTo>
                  <a:cubicBezTo>
                    <a:pt x="32385" y="41300"/>
                    <a:pt x="32385" y="40665"/>
                    <a:pt x="32385" y="39395"/>
                  </a:cubicBezTo>
                  <a:lnTo>
                    <a:pt x="32385" y="3200"/>
                  </a:lnTo>
                  <a:lnTo>
                    <a:pt x="32385" y="660"/>
                  </a:lnTo>
                  <a:cubicBezTo>
                    <a:pt x="31750" y="25"/>
                    <a:pt x="31750" y="25"/>
                    <a:pt x="31750" y="25"/>
                  </a:cubicBezTo>
                  <a:cubicBezTo>
                    <a:pt x="16510" y="-610"/>
                    <a:pt x="3810" y="10820"/>
                    <a:pt x="3175" y="26695"/>
                  </a:cubicBezTo>
                  <a:cubicBezTo>
                    <a:pt x="2540" y="34315"/>
                    <a:pt x="2540" y="41935"/>
                    <a:pt x="3175" y="50190"/>
                  </a:cubicBezTo>
                  <a:cubicBezTo>
                    <a:pt x="3175" y="60985"/>
                    <a:pt x="8890" y="67970"/>
                    <a:pt x="17780" y="73050"/>
                  </a:cubicBezTo>
                  <a:cubicBezTo>
                    <a:pt x="22225" y="74955"/>
                    <a:pt x="27305" y="75590"/>
                    <a:pt x="31115" y="75590"/>
                  </a:cubicBezTo>
                  <a:cubicBezTo>
                    <a:pt x="60325" y="75590"/>
                    <a:pt x="88265" y="75590"/>
                    <a:pt x="117475" y="75590"/>
                  </a:cubicBezTo>
                  <a:lnTo>
                    <a:pt x="121285" y="75590"/>
                  </a:lnTo>
                  <a:cubicBezTo>
                    <a:pt x="121285" y="77495"/>
                    <a:pt x="121285" y="78765"/>
                    <a:pt x="121285" y="80670"/>
                  </a:cubicBezTo>
                  <a:cubicBezTo>
                    <a:pt x="121285" y="85115"/>
                    <a:pt x="121920" y="89560"/>
                    <a:pt x="121285" y="93370"/>
                  </a:cubicBezTo>
                  <a:cubicBezTo>
                    <a:pt x="121285" y="97180"/>
                    <a:pt x="118745" y="99720"/>
                    <a:pt x="114935" y="99720"/>
                  </a:cubicBezTo>
                  <a:cubicBezTo>
                    <a:pt x="113665" y="99720"/>
                    <a:pt x="113030" y="99720"/>
                    <a:pt x="112395" y="99720"/>
                  </a:cubicBezTo>
                  <a:lnTo>
                    <a:pt x="19685" y="99720"/>
                  </a:lnTo>
                  <a:lnTo>
                    <a:pt x="15875" y="99720"/>
                  </a:lnTo>
                  <a:cubicBezTo>
                    <a:pt x="10160" y="108610"/>
                    <a:pt x="5715" y="116865"/>
                    <a:pt x="0" y="126390"/>
                  </a:cubicBezTo>
                  <a:cubicBezTo>
                    <a:pt x="1270" y="126390"/>
                    <a:pt x="1905" y="126390"/>
                    <a:pt x="2540" y="126390"/>
                  </a:cubicBezTo>
                  <a:cubicBezTo>
                    <a:pt x="43180" y="126390"/>
                    <a:pt x="83185" y="126390"/>
                    <a:pt x="123825" y="126390"/>
                  </a:cubicBezTo>
                  <a:cubicBezTo>
                    <a:pt x="125095" y="126390"/>
                    <a:pt x="127000" y="126390"/>
                    <a:pt x="128905" y="126390"/>
                  </a:cubicBezTo>
                  <a:cubicBezTo>
                    <a:pt x="141605" y="123850"/>
                    <a:pt x="151130" y="113690"/>
                    <a:pt x="151130" y="99720"/>
                  </a:cubicBezTo>
                  <a:cubicBezTo>
                    <a:pt x="151765" y="90830"/>
                    <a:pt x="151765" y="82575"/>
                    <a:pt x="151130" y="73685"/>
                  </a:cubicBezTo>
                  <a:cubicBezTo>
                    <a:pt x="151765" y="60985"/>
                    <a:pt x="144145" y="52095"/>
                    <a:pt x="132715" y="49555"/>
                  </a:cubicBezTo>
                  <a:close/>
                </a:path>
              </a:pathLst>
            </a:custGeom>
            <a:solidFill>
              <a:srgbClr val="FFFFFF"/>
            </a:solidFill>
            <a:ln w="6350" cap="flat">
              <a:noFill/>
              <a:prstDash val="solid"/>
              <a:miter/>
            </a:ln>
          </p:spPr>
          <p:txBody>
            <a:bodyPr rtlCol="0" anchor="ctr"/>
            <a:lstStyle/>
            <a:p>
              <a:endParaRPr lang="en-GB"/>
            </a:p>
          </p:txBody>
        </p:sp>
        <p:sp>
          <p:nvSpPr>
            <p:cNvPr id="459" name="Freeform 458">
              <a:extLst>
                <a:ext uri="{FF2B5EF4-FFF2-40B4-BE49-F238E27FC236}">
                  <a16:creationId xmlns:a16="http://schemas.microsoft.com/office/drawing/2014/main" id="{B9ECE7A3-640A-BF04-D40B-D16B7E8356DD}"/>
                </a:ext>
              </a:extLst>
            </p:cNvPr>
            <p:cNvSpPr/>
            <p:nvPr/>
          </p:nvSpPr>
          <p:spPr>
            <a:xfrm>
              <a:off x="-8025765" y="2425858"/>
              <a:ext cx="101600" cy="24606"/>
            </a:xfrm>
            <a:custGeom>
              <a:avLst/>
              <a:gdLst>
                <a:gd name="connsiteX0" fmla="*/ 85725 w 101600"/>
                <a:gd name="connsiteY0" fmla="*/ 24606 h 24606"/>
                <a:gd name="connsiteX1" fmla="*/ 101600 w 101600"/>
                <a:gd name="connsiteY1" fmla="*/ 476 h 24606"/>
                <a:gd name="connsiteX2" fmla="*/ 0 w 101600"/>
                <a:gd name="connsiteY2" fmla="*/ 476 h 24606"/>
                <a:gd name="connsiteX3" fmla="*/ 15240 w 101600"/>
                <a:gd name="connsiteY3" fmla="*/ 24606 h 24606"/>
                <a:gd name="connsiteX4" fmla="*/ 85725 w 101600"/>
                <a:gd name="connsiteY4" fmla="*/ 24606 h 24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0" h="24606">
                  <a:moveTo>
                    <a:pt x="85725" y="24606"/>
                  </a:moveTo>
                  <a:cubicBezTo>
                    <a:pt x="91440" y="16351"/>
                    <a:pt x="95885" y="8731"/>
                    <a:pt x="101600" y="476"/>
                  </a:cubicBezTo>
                  <a:cubicBezTo>
                    <a:pt x="97155" y="-159"/>
                    <a:pt x="1905" y="-159"/>
                    <a:pt x="0" y="476"/>
                  </a:cubicBezTo>
                  <a:cubicBezTo>
                    <a:pt x="5080" y="8731"/>
                    <a:pt x="10160" y="16986"/>
                    <a:pt x="15240" y="24606"/>
                  </a:cubicBezTo>
                  <a:lnTo>
                    <a:pt x="85725" y="24606"/>
                  </a:lnTo>
                  <a:close/>
                </a:path>
              </a:pathLst>
            </a:custGeom>
            <a:solidFill>
              <a:srgbClr val="FFFFFF"/>
            </a:solidFill>
            <a:ln w="6350" cap="flat">
              <a:noFill/>
              <a:prstDash val="solid"/>
              <a:miter/>
            </a:ln>
          </p:spPr>
          <p:txBody>
            <a:bodyPr rtlCol="0" anchor="ctr"/>
            <a:lstStyle/>
            <a:p>
              <a:endParaRPr lang="en-GB"/>
            </a:p>
          </p:txBody>
        </p:sp>
        <p:sp>
          <p:nvSpPr>
            <p:cNvPr id="460" name="Freeform 459">
              <a:extLst>
                <a:ext uri="{FF2B5EF4-FFF2-40B4-BE49-F238E27FC236}">
                  <a16:creationId xmlns:a16="http://schemas.microsoft.com/office/drawing/2014/main" id="{143CB83D-41F0-69EC-0359-DECE8AEF4B72}"/>
                </a:ext>
              </a:extLst>
            </p:cNvPr>
            <p:cNvSpPr/>
            <p:nvPr/>
          </p:nvSpPr>
          <p:spPr>
            <a:xfrm>
              <a:off x="-7519669" y="2425700"/>
              <a:ext cx="153669" cy="126364"/>
            </a:xfrm>
            <a:custGeom>
              <a:avLst/>
              <a:gdLst>
                <a:gd name="connsiteX0" fmla="*/ 108585 w 153669"/>
                <a:gd name="connsiteY0" fmla="*/ 0 h 126364"/>
                <a:gd name="connsiteX1" fmla="*/ 94614 w 153669"/>
                <a:gd name="connsiteY1" fmla="*/ 0 h 126364"/>
                <a:gd name="connsiteX2" fmla="*/ 3810 w 153669"/>
                <a:gd name="connsiteY2" fmla="*/ 0 h 126364"/>
                <a:gd name="connsiteX3" fmla="*/ 0 w 153669"/>
                <a:gd name="connsiteY3" fmla="*/ 0 h 126364"/>
                <a:gd name="connsiteX4" fmla="*/ 0 w 153669"/>
                <a:gd name="connsiteY4" fmla="*/ 126365 h 126364"/>
                <a:gd name="connsiteX5" fmla="*/ 3175 w 153669"/>
                <a:gd name="connsiteY5" fmla="*/ 126365 h 126364"/>
                <a:gd name="connsiteX6" fmla="*/ 109220 w 153669"/>
                <a:gd name="connsiteY6" fmla="*/ 126365 h 126364"/>
                <a:gd name="connsiteX7" fmla="*/ 118110 w 153669"/>
                <a:gd name="connsiteY7" fmla="*/ 125730 h 126364"/>
                <a:gd name="connsiteX8" fmla="*/ 153670 w 153669"/>
                <a:gd name="connsiteY8" fmla="*/ 81915 h 126364"/>
                <a:gd name="connsiteX9" fmla="*/ 153670 w 153669"/>
                <a:gd name="connsiteY9" fmla="*/ 45085 h 126364"/>
                <a:gd name="connsiteX10" fmla="*/ 140970 w 153669"/>
                <a:gd name="connsiteY10" fmla="*/ 13335 h 126364"/>
                <a:gd name="connsiteX11" fmla="*/ 108585 w 153669"/>
                <a:gd name="connsiteY11" fmla="*/ 0 h 126364"/>
                <a:gd name="connsiteX12" fmla="*/ 123825 w 153669"/>
                <a:gd name="connsiteY12" fmla="*/ 83820 h 126364"/>
                <a:gd name="connsiteX13" fmla="*/ 109220 w 153669"/>
                <a:gd name="connsiteY13" fmla="*/ 98425 h 126364"/>
                <a:gd name="connsiteX14" fmla="*/ 32385 w 153669"/>
                <a:gd name="connsiteY14" fmla="*/ 98425 h 126364"/>
                <a:gd name="connsiteX15" fmla="*/ 29845 w 153669"/>
                <a:gd name="connsiteY15" fmla="*/ 97790 h 126364"/>
                <a:gd name="connsiteX16" fmla="*/ 29845 w 153669"/>
                <a:gd name="connsiteY16" fmla="*/ 28575 h 126364"/>
                <a:gd name="connsiteX17" fmla="*/ 31750 w 153669"/>
                <a:gd name="connsiteY17" fmla="*/ 28575 h 126364"/>
                <a:gd name="connsiteX18" fmla="*/ 109220 w 153669"/>
                <a:gd name="connsiteY18" fmla="*/ 28575 h 126364"/>
                <a:gd name="connsiteX19" fmla="*/ 123825 w 153669"/>
                <a:gd name="connsiteY19" fmla="*/ 42545 h 126364"/>
                <a:gd name="connsiteX20" fmla="*/ 123825 w 153669"/>
                <a:gd name="connsiteY20" fmla="*/ 83820 h 1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3669" h="126364">
                  <a:moveTo>
                    <a:pt x="108585" y="0"/>
                  </a:moveTo>
                  <a:cubicBezTo>
                    <a:pt x="103505" y="0"/>
                    <a:pt x="99695" y="0"/>
                    <a:pt x="94614" y="0"/>
                  </a:cubicBezTo>
                  <a:lnTo>
                    <a:pt x="3810" y="0"/>
                  </a:lnTo>
                  <a:cubicBezTo>
                    <a:pt x="2539" y="0"/>
                    <a:pt x="1270" y="0"/>
                    <a:pt x="0" y="0"/>
                  </a:cubicBezTo>
                  <a:lnTo>
                    <a:pt x="0" y="126365"/>
                  </a:lnTo>
                  <a:cubicBezTo>
                    <a:pt x="1270" y="126365"/>
                    <a:pt x="1905" y="126365"/>
                    <a:pt x="3175" y="126365"/>
                  </a:cubicBezTo>
                  <a:cubicBezTo>
                    <a:pt x="38735" y="126365"/>
                    <a:pt x="74295" y="126365"/>
                    <a:pt x="109220" y="126365"/>
                  </a:cubicBezTo>
                  <a:cubicBezTo>
                    <a:pt x="112395" y="126365"/>
                    <a:pt x="115570" y="126365"/>
                    <a:pt x="118110" y="125730"/>
                  </a:cubicBezTo>
                  <a:cubicBezTo>
                    <a:pt x="139064" y="120650"/>
                    <a:pt x="153035" y="103505"/>
                    <a:pt x="153670" y="81915"/>
                  </a:cubicBezTo>
                  <a:cubicBezTo>
                    <a:pt x="153670" y="69215"/>
                    <a:pt x="153670" y="57785"/>
                    <a:pt x="153670" y="45085"/>
                  </a:cubicBezTo>
                  <a:cubicBezTo>
                    <a:pt x="153670" y="33020"/>
                    <a:pt x="149225" y="22225"/>
                    <a:pt x="140970" y="13335"/>
                  </a:cubicBezTo>
                  <a:cubicBezTo>
                    <a:pt x="132714" y="4445"/>
                    <a:pt x="121920" y="635"/>
                    <a:pt x="108585" y="0"/>
                  </a:cubicBezTo>
                  <a:close/>
                  <a:moveTo>
                    <a:pt x="123825" y="83820"/>
                  </a:moveTo>
                  <a:cubicBezTo>
                    <a:pt x="123825" y="92710"/>
                    <a:pt x="117475" y="98425"/>
                    <a:pt x="109220" y="98425"/>
                  </a:cubicBezTo>
                  <a:cubicBezTo>
                    <a:pt x="83820" y="98425"/>
                    <a:pt x="57785" y="98425"/>
                    <a:pt x="32385" y="98425"/>
                  </a:cubicBezTo>
                  <a:cubicBezTo>
                    <a:pt x="31750" y="98425"/>
                    <a:pt x="31114" y="98425"/>
                    <a:pt x="29845" y="97790"/>
                  </a:cubicBezTo>
                  <a:lnTo>
                    <a:pt x="29845" y="28575"/>
                  </a:lnTo>
                  <a:cubicBezTo>
                    <a:pt x="30480" y="28575"/>
                    <a:pt x="31114" y="28575"/>
                    <a:pt x="31750" y="28575"/>
                  </a:cubicBezTo>
                  <a:cubicBezTo>
                    <a:pt x="57785" y="28575"/>
                    <a:pt x="83820" y="28575"/>
                    <a:pt x="109220" y="28575"/>
                  </a:cubicBezTo>
                  <a:cubicBezTo>
                    <a:pt x="117475" y="28575"/>
                    <a:pt x="123825" y="34925"/>
                    <a:pt x="123825" y="42545"/>
                  </a:cubicBezTo>
                  <a:cubicBezTo>
                    <a:pt x="123825" y="56515"/>
                    <a:pt x="123825" y="69850"/>
                    <a:pt x="123825" y="83820"/>
                  </a:cubicBezTo>
                  <a:close/>
                </a:path>
              </a:pathLst>
            </a:custGeom>
            <a:solidFill>
              <a:srgbClr val="FFFFFF"/>
            </a:solidFill>
            <a:ln w="6350" cap="flat">
              <a:noFill/>
              <a:prstDash val="solid"/>
              <a:miter/>
            </a:ln>
          </p:spPr>
          <p:txBody>
            <a:bodyPr rtlCol="0" anchor="ctr"/>
            <a:lstStyle/>
            <a:p>
              <a:endParaRPr lang="en-GB"/>
            </a:p>
          </p:txBody>
        </p:sp>
        <p:sp>
          <p:nvSpPr>
            <p:cNvPr id="461" name="Freeform 460">
              <a:extLst>
                <a:ext uri="{FF2B5EF4-FFF2-40B4-BE49-F238E27FC236}">
                  <a16:creationId xmlns:a16="http://schemas.microsoft.com/office/drawing/2014/main" id="{CA5A484B-F28C-1450-FD22-6E80941C6C4E}"/>
                </a:ext>
              </a:extLst>
            </p:cNvPr>
            <p:cNvSpPr/>
            <p:nvPr/>
          </p:nvSpPr>
          <p:spPr>
            <a:xfrm>
              <a:off x="-7714615" y="2425700"/>
              <a:ext cx="159384" cy="126012"/>
            </a:xfrm>
            <a:custGeom>
              <a:avLst/>
              <a:gdLst>
                <a:gd name="connsiteX0" fmla="*/ 113665 w 159384"/>
                <a:gd name="connsiteY0" fmla="*/ 0 h 126012"/>
                <a:gd name="connsiteX1" fmla="*/ 45720 w 159384"/>
                <a:gd name="connsiteY1" fmla="*/ 0 h 126012"/>
                <a:gd name="connsiteX2" fmla="*/ 37465 w 159384"/>
                <a:gd name="connsiteY2" fmla="*/ 635 h 126012"/>
                <a:gd name="connsiteX3" fmla="*/ 0 w 159384"/>
                <a:gd name="connsiteY3" fmla="*/ 45085 h 126012"/>
                <a:gd name="connsiteX4" fmla="*/ 0 w 159384"/>
                <a:gd name="connsiteY4" fmla="*/ 81280 h 126012"/>
                <a:gd name="connsiteX5" fmla="*/ 8255 w 159384"/>
                <a:gd name="connsiteY5" fmla="*/ 107950 h 126012"/>
                <a:gd name="connsiteX6" fmla="*/ 43180 w 159384"/>
                <a:gd name="connsiteY6" fmla="*/ 125730 h 126012"/>
                <a:gd name="connsiteX7" fmla="*/ 79375 w 159384"/>
                <a:gd name="connsiteY7" fmla="*/ 125730 h 126012"/>
                <a:gd name="connsiteX8" fmla="*/ 113665 w 159384"/>
                <a:gd name="connsiteY8" fmla="*/ 125730 h 126012"/>
                <a:gd name="connsiteX9" fmla="*/ 122555 w 159384"/>
                <a:gd name="connsiteY9" fmla="*/ 125095 h 126012"/>
                <a:gd name="connsiteX10" fmla="*/ 159385 w 159384"/>
                <a:gd name="connsiteY10" fmla="*/ 81915 h 126012"/>
                <a:gd name="connsiteX11" fmla="*/ 159385 w 159384"/>
                <a:gd name="connsiteY11" fmla="*/ 44450 h 126012"/>
                <a:gd name="connsiteX12" fmla="*/ 152400 w 159384"/>
                <a:gd name="connsiteY12" fmla="*/ 20320 h 126012"/>
                <a:gd name="connsiteX13" fmla="*/ 113665 w 159384"/>
                <a:gd name="connsiteY13" fmla="*/ 0 h 126012"/>
                <a:gd name="connsiteX14" fmla="*/ 129540 w 159384"/>
                <a:gd name="connsiteY14" fmla="*/ 83820 h 126012"/>
                <a:gd name="connsiteX15" fmla="*/ 115570 w 159384"/>
                <a:gd name="connsiteY15" fmla="*/ 97790 h 126012"/>
                <a:gd name="connsiteX16" fmla="*/ 99060 w 159384"/>
                <a:gd name="connsiteY16" fmla="*/ 97790 h 126012"/>
                <a:gd name="connsiteX17" fmla="*/ 80010 w 159384"/>
                <a:gd name="connsiteY17" fmla="*/ 97790 h 126012"/>
                <a:gd name="connsiteX18" fmla="*/ 44450 w 159384"/>
                <a:gd name="connsiteY18" fmla="*/ 97790 h 126012"/>
                <a:gd name="connsiteX19" fmla="*/ 30480 w 159384"/>
                <a:gd name="connsiteY19" fmla="*/ 86995 h 126012"/>
                <a:gd name="connsiteX20" fmla="*/ 29845 w 159384"/>
                <a:gd name="connsiteY20" fmla="*/ 81280 h 126012"/>
                <a:gd name="connsiteX21" fmla="*/ 29845 w 159384"/>
                <a:gd name="connsiteY21" fmla="*/ 43180 h 126012"/>
                <a:gd name="connsiteX22" fmla="*/ 31115 w 159384"/>
                <a:gd name="connsiteY22" fmla="*/ 36195 h 126012"/>
                <a:gd name="connsiteX23" fmla="*/ 43815 w 159384"/>
                <a:gd name="connsiteY23" fmla="*/ 27305 h 126012"/>
                <a:gd name="connsiteX24" fmla="*/ 45085 w 159384"/>
                <a:gd name="connsiteY24" fmla="*/ 27305 h 126012"/>
                <a:gd name="connsiteX25" fmla="*/ 114300 w 159384"/>
                <a:gd name="connsiteY25" fmla="*/ 27305 h 126012"/>
                <a:gd name="connsiteX26" fmla="*/ 121285 w 159384"/>
                <a:gd name="connsiteY26" fmla="*/ 28575 h 126012"/>
                <a:gd name="connsiteX27" fmla="*/ 129540 w 159384"/>
                <a:gd name="connsiteY27" fmla="*/ 41275 h 126012"/>
                <a:gd name="connsiteX28" fmla="*/ 129540 w 159384"/>
                <a:gd name="connsiteY28" fmla="*/ 83820 h 12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9384" h="126012">
                  <a:moveTo>
                    <a:pt x="113665" y="0"/>
                  </a:moveTo>
                  <a:cubicBezTo>
                    <a:pt x="90805" y="0"/>
                    <a:pt x="68580" y="0"/>
                    <a:pt x="45720" y="0"/>
                  </a:cubicBezTo>
                  <a:cubicBezTo>
                    <a:pt x="43180" y="0"/>
                    <a:pt x="40005" y="635"/>
                    <a:pt x="37465" y="635"/>
                  </a:cubicBezTo>
                  <a:cubicBezTo>
                    <a:pt x="15875" y="4445"/>
                    <a:pt x="635" y="22225"/>
                    <a:pt x="0" y="45085"/>
                  </a:cubicBezTo>
                  <a:cubicBezTo>
                    <a:pt x="0" y="56515"/>
                    <a:pt x="0" y="69215"/>
                    <a:pt x="0" y="81280"/>
                  </a:cubicBezTo>
                  <a:cubicBezTo>
                    <a:pt x="0" y="91440"/>
                    <a:pt x="3175" y="99695"/>
                    <a:pt x="8255" y="107950"/>
                  </a:cubicBezTo>
                  <a:cubicBezTo>
                    <a:pt x="16510" y="119380"/>
                    <a:pt x="29210" y="125730"/>
                    <a:pt x="43180" y="125730"/>
                  </a:cubicBezTo>
                  <a:cubicBezTo>
                    <a:pt x="55245" y="126365"/>
                    <a:pt x="67945" y="125730"/>
                    <a:pt x="79375" y="125730"/>
                  </a:cubicBezTo>
                  <a:cubicBezTo>
                    <a:pt x="90805" y="125730"/>
                    <a:pt x="102870" y="125730"/>
                    <a:pt x="113665" y="125730"/>
                  </a:cubicBezTo>
                  <a:cubicBezTo>
                    <a:pt x="116840" y="125730"/>
                    <a:pt x="120015" y="125730"/>
                    <a:pt x="122555" y="125095"/>
                  </a:cubicBezTo>
                  <a:cubicBezTo>
                    <a:pt x="143510" y="121920"/>
                    <a:pt x="159385" y="103505"/>
                    <a:pt x="159385" y="81915"/>
                  </a:cubicBezTo>
                  <a:cubicBezTo>
                    <a:pt x="159385" y="69850"/>
                    <a:pt x="159385" y="56515"/>
                    <a:pt x="159385" y="44450"/>
                  </a:cubicBezTo>
                  <a:cubicBezTo>
                    <a:pt x="159385" y="35560"/>
                    <a:pt x="156845" y="27940"/>
                    <a:pt x="152400" y="20320"/>
                  </a:cubicBezTo>
                  <a:cubicBezTo>
                    <a:pt x="143510" y="6985"/>
                    <a:pt x="130175" y="0"/>
                    <a:pt x="113665" y="0"/>
                  </a:cubicBezTo>
                  <a:close/>
                  <a:moveTo>
                    <a:pt x="129540" y="83820"/>
                  </a:moveTo>
                  <a:cubicBezTo>
                    <a:pt x="129540" y="91440"/>
                    <a:pt x="123190" y="97155"/>
                    <a:pt x="115570" y="97790"/>
                  </a:cubicBezTo>
                  <a:cubicBezTo>
                    <a:pt x="109855" y="97790"/>
                    <a:pt x="104775" y="97790"/>
                    <a:pt x="99060" y="97790"/>
                  </a:cubicBezTo>
                  <a:lnTo>
                    <a:pt x="80010" y="97790"/>
                  </a:lnTo>
                  <a:cubicBezTo>
                    <a:pt x="67945" y="97790"/>
                    <a:pt x="55880" y="97790"/>
                    <a:pt x="44450" y="97790"/>
                  </a:cubicBezTo>
                  <a:cubicBezTo>
                    <a:pt x="37465" y="97790"/>
                    <a:pt x="32385" y="93345"/>
                    <a:pt x="30480" y="86995"/>
                  </a:cubicBezTo>
                  <a:cubicBezTo>
                    <a:pt x="29845" y="85090"/>
                    <a:pt x="29845" y="83185"/>
                    <a:pt x="29845" y="81280"/>
                  </a:cubicBezTo>
                  <a:cubicBezTo>
                    <a:pt x="29845" y="69215"/>
                    <a:pt x="29845" y="55880"/>
                    <a:pt x="29845" y="43180"/>
                  </a:cubicBezTo>
                  <a:cubicBezTo>
                    <a:pt x="29845" y="40640"/>
                    <a:pt x="29845" y="38100"/>
                    <a:pt x="31115" y="36195"/>
                  </a:cubicBezTo>
                  <a:cubicBezTo>
                    <a:pt x="33655" y="30480"/>
                    <a:pt x="38100" y="27940"/>
                    <a:pt x="43815" y="27305"/>
                  </a:cubicBezTo>
                  <a:cubicBezTo>
                    <a:pt x="44450" y="27305"/>
                    <a:pt x="44450" y="27305"/>
                    <a:pt x="45085" y="27305"/>
                  </a:cubicBezTo>
                  <a:cubicBezTo>
                    <a:pt x="68580" y="27305"/>
                    <a:pt x="90805" y="27305"/>
                    <a:pt x="114300" y="27305"/>
                  </a:cubicBezTo>
                  <a:cubicBezTo>
                    <a:pt x="116840" y="27305"/>
                    <a:pt x="119380" y="27305"/>
                    <a:pt x="121285" y="28575"/>
                  </a:cubicBezTo>
                  <a:cubicBezTo>
                    <a:pt x="127000" y="31115"/>
                    <a:pt x="129540" y="35560"/>
                    <a:pt x="129540" y="41275"/>
                  </a:cubicBezTo>
                  <a:cubicBezTo>
                    <a:pt x="130175" y="55880"/>
                    <a:pt x="130175" y="69850"/>
                    <a:pt x="129540" y="83820"/>
                  </a:cubicBezTo>
                  <a:close/>
                </a:path>
              </a:pathLst>
            </a:custGeom>
            <a:solidFill>
              <a:srgbClr val="FFFFFF"/>
            </a:solidFill>
            <a:ln w="6350" cap="flat">
              <a:noFill/>
              <a:prstDash val="solid"/>
              <a:miter/>
            </a:ln>
          </p:spPr>
          <p:txBody>
            <a:bodyPr rtlCol="0" anchor="ctr"/>
            <a:lstStyle/>
            <a:p>
              <a:endParaRPr lang="en-GB"/>
            </a:p>
          </p:txBody>
        </p:sp>
        <p:sp>
          <p:nvSpPr>
            <p:cNvPr id="462" name="Freeform 461">
              <a:extLst>
                <a:ext uri="{FF2B5EF4-FFF2-40B4-BE49-F238E27FC236}">
                  <a16:creationId xmlns:a16="http://schemas.microsoft.com/office/drawing/2014/main" id="{A60FD723-2630-1D76-160B-290F9C4A6908}"/>
                </a:ext>
              </a:extLst>
            </p:cNvPr>
            <p:cNvSpPr/>
            <p:nvPr/>
          </p:nvSpPr>
          <p:spPr>
            <a:xfrm>
              <a:off x="-7352030" y="2425700"/>
              <a:ext cx="182880" cy="125895"/>
            </a:xfrm>
            <a:custGeom>
              <a:avLst/>
              <a:gdLst>
                <a:gd name="connsiteX0" fmla="*/ 180340 w 182880"/>
                <a:gd name="connsiteY0" fmla="*/ 123190 h 125895"/>
                <a:gd name="connsiteX1" fmla="*/ 113030 w 182880"/>
                <a:gd name="connsiteY1" fmla="*/ 2540 h 125895"/>
                <a:gd name="connsiteX2" fmla="*/ 109220 w 182880"/>
                <a:gd name="connsiteY2" fmla="*/ 0 h 125895"/>
                <a:gd name="connsiteX3" fmla="*/ 73025 w 182880"/>
                <a:gd name="connsiteY3" fmla="*/ 0 h 125895"/>
                <a:gd name="connsiteX4" fmla="*/ 68580 w 182880"/>
                <a:gd name="connsiteY4" fmla="*/ 2540 h 125895"/>
                <a:gd name="connsiteX5" fmla="*/ 1270 w 182880"/>
                <a:gd name="connsiteY5" fmla="*/ 123190 h 125895"/>
                <a:gd name="connsiteX6" fmla="*/ 0 w 182880"/>
                <a:gd name="connsiteY6" fmla="*/ 125730 h 125895"/>
                <a:gd name="connsiteX7" fmla="*/ 3175 w 182880"/>
                <a:gd name="connsiteY7" fmla="*/ 125730 h 125895"/>
                <a:gd name="connsiteX8" fmla="*/ 30480 w 182880"/>
                <a:gd name="connsiteY8" fmla="*/ 125730 h 125895"/>
                <a:gd name="connsiteX9" fmla="*/ 34925 w 182880"/>
                <a:gd name="connsiteY9" fmla="*/ 123190 h 125895"/>
                <a:gd name="connsiteX10" fmla="*/ 58420 w 182880"/>
                <a:gd name="connsiteY10" fmla="*/ 81280 h 125895"/>
                <a:gd name="connsiteX11" fmla="*/ 60325 w 182880"/>
                <a:gd name="connsiteY11" fmla="*/ 78740 h 125895"/>
                <a:gd name="connsiteX12" fmla="*/ 62230 w 182880"/>
                <a:gd name="connsiteY12" fmla="*/ 81280 h 125895"/>
                <a:gd name="connsiteX13" fmla="*/ 74930 w 182880"/>
                <a:gd name="connsiteY13" fmla="*/ 101600 h 125895"/>
                <a:gd name="connsiteX14" fmla="*/ 78105 w 182880"/>
                <a:gd name="connsiteY14" fmla="*/ 103505 h 125895"/>
                <a:gd name="connsiteX15" fmla="*/ 80011 w 182880"/>
                <a:gd name="connsiteY15" fmla="*/ 103505 h 125895"/>
                <a:gd name="connsiteX16" fmla="*/ 132080 w 182880"/>
                <a:gd name="connsiteY16" fmla="*/ 102870 h 125895"/>
                <a:gd name="connsiteX17" fmla="*/ 137795 w 182880"/>
                <a:gd name="connsiteY17" fmla="*/ 106680 h 125895"/>
                <a:gd name="connsiteX18" fmla="*/ 146686 w 182880"/>
                <a:gd name="connsiteY18" fmla="*/ 121920 h 125895"/>
                <a:gd name="connsiteX19" fmla="*/ 149225 w 182880"/>
                <a:gd name="connsiteY19" fmla="*/ 125730 h 125895"/>
                <a:gd name="connsiteX20" fmla="*/ 182880 w 182880"/>
                <a:gd name="connsiteY20" fmla="*/ 125730 h 125895"/>
                <a:gd name="connsiteX21" fmla="*/ 180340 w 182880"/>
                <a:gd name="connsiteY21" fmla="*/ 123190 h 125895"/>
                <a:gd name="connsiteX22" fmla="*/ 60325 w 182880"/>
                <a:gd name="connsiteY22" fmla="*/ 76835 h 125895"/>
                <a:gd name="connsiteX23" fmla="*/ 90170 w 182880"/>
                <a:gd name="connsiteY23" fmla="*/ 22860 h 125895"/>
                <a:gd name="connsiteX24" fmla="*/ 120015 w 182880"/>
                <a:gd name="connsiteY24" fmla="*/ 76835 h 125895"/>
                <a:gd name="connsiteX25" fmla="*/ 60325 w 182880"/>
                <a:gd name="connsiteY25" fmla="*/ 76835 h 12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2880" h="125895">
                  <a:moveTo>
                    <a:pt x="180340" y="123190"/>
                  </a:moveTo>
                  <a:cubicBezTo>
                    <a:pt x="157480" y="83185"/>
                    <a:pt x="135255" y="42545"/>
                    <a:pt x="113030" y="2540"/>
                  </a:cubicBezTo>
                  <a:cubicBezTo>
                    <a:pt x="111761" y="635"/>
                    <a:pt x="111125" y="0"/>
                    <a:pt x="109220" y="0"/>
                  </a:cubicBezTo>
                  <a:cubicBezTo>
                    <a:pt x="97155" y="0"/>
                    <a:pt x="84455" y="0"/>
                    <a:pt x="73025" y="0"/>
                  </a:cubicBezTo>
                  <a:cubicBezTo>
                    <a:pt x="70486" y="0"/>
                    <a:pt x="69850" y="635"/>
                    <a:pt x="68580" y="2540"/>
                  </a:cubicBezTo>
                  <a:cubicBezTo>
                    <a:pt x="45720" y="43180"/>
                    <a:pt x="24130" y="83185"/>
                    <a:pt x="1270" y="123190"/>
                  </a:cubicBezTo>
                  <a:cubicBezTo>
                    <a:pt x="636" y="123825"/>
                    <a:pt x="636" y="125095"/>
                    <a:pt x="0" y="125730"/>
                  </a:cubicBezTo>
                  <a:cubicBezTo>
                    <a:pt x="1270" y="125730"/>
                    <a:pt x="1905" y="125730"/>
                    <a:pt x="3175" y="125730"/>
                  </a:cubicBezTo>
                  <a:cubicBezTo>
                    <a:pt x="12700" y="125730"/>
                    <a:pt x="20955" y="125730"/>
                    <a:pt x="30480" y="125730"/>
                  </a:cubicBezTo>
                  <a:cubicBezTo>
                    <a:pt x="33020" y="126365"/>
                    <a:pt x="34290" y="125095"/>
                    <a:pt x="34925" y="123190"/>
                  </a:cubicBezTo>
                  <a:cubicBezTo>
                    <a:pt x="43180" y="109855"/>
                    <a:pt x="50800" y="95250"/>
                    <a:pt x="58420" y="81280"/>
                  </a:cubicBezTo>
                  <a:cubicBezTo>
                    <a:pt x="59055" y="80645"/>
                    <a:pt x="59690" y="79375"/>
                    <a:pt x="60325" y="78740"/>
                  </a:cubicBezTo>
                  <a:cubicBezTo>
                    <a:pt x="60961" y="80010"/>
                    <a:pt x="61595" y="80645"/>
                    <a:pt x="62230" y="81280"/>
                  </a:cubicBezTo>
                  <a:cubicBezTo>
                    <a:pt x="66675" y="88265"/>
                    <a:pt x="71120" y="94615"/>
                    <a:pt x="74930" y="101600"/>
                  </a:cubicBezTo>
                  <a:cubicBezTo>
                    <a:pt x="75565" y="102870"/>
                    <a:pt x="76200" y="103505"/>
                    <a:pt x="78105" y="103505"/>
                  </a:cubicBezTo>
                  <a:cubicBezTo>
                    <a:pt x="78740" y="102870"/>
                    <a:pt x="79375" y="103505"/>
                    <a:pt x="80011" y="103505"/>
                  </a:cubicBezTo>
                  <a:cubicBezTo>
                    <a:pt x="97155" y="103505"/>
                    <a:pt x="114936" y="103505"/>
                    <a:pt x="132080" y="102870"/>
                  </a:cubicBezTo>
                  <a:cubicBezTo>
                    <a:pt x="135255" y="102870"/>
                    <a:pt x="136525" y="104140"/>
                    <a:pt x="137795" y="106680"/>
                  </a:cubicBezTo>
                  <a:cubicBezTo>
                    <a:pt x="140970" y="111760"/>
                    <a:pt x="143511" y="117475"/>
                    <a:pt x="146686" y="121920"/>
                  </a:cubicBezTo>
                  <a:cubicBezTo>
                    <a:pt x="147320" y="123190"/>
                    <a:pt x="148590" y="124460"/>
                    <a:pt x="149225" y="125730"/>
                  </a:cubicBezTo>
                  <a:lnTo>
                    <a:pt x="182880" y="125730"/>
                  </a:lnTo>
                  <a:cubicBezTo>
                    <a:pt x="180975" y="124460"/>
                    <a:pt x="180975" y="123825"/>
                    <a:pt x="180340" y="123190"/>
                  </a:cubicBezTo>
                  <a:close/>
                  <a:moveTo>
                    <a:pt x="60325" y="76835"/>
                  </a:moveTo>
                  <a:cubicBezTo>
                    <a:pt x="70486" y="59055"/>
                    <a:pt x="80645" y="41275"/>
                    <a:pt x="90170" y="22860"/>
                  </a:cubicBezTo>
                  <a:cubicBezTo>
                    <a:pt x="100330" y="40640"/>
                    <a:pt x="110490" y="58420"/>
                    <a:pt x="120015" y="76835"/>
                  </a:cubicBezTo>
                  <a:cubicBezTo>
                    <a:pt x="118111" y="77470"/>
                    <a:pt x="65405" y="77470"/>
                    <a:pt x="60325" y="76835"/>
                  </a:cubicBezTo>
                  <a:close/>
                </a:path>
              </a:pathLst>
            </a:custGeom>
            <a:solidFill>
              <a:srgbClr val="FFFFFF"/>
            </a:solidFill>
            <a:ln w="6350" cap="flat">
              <a:noFill/>
              <a:prstDash val="solid"/>
              <a:miter/>
            </a:ln>
          </p:spPr>
          <p:txBody>
            <a:bodyPr rtlCol="0" anchor="ctr"/>
            <a:lstStyle/>
            <a:p>
              <a:endParaRPr lang="en-GB"/>
            </a:p>
          </p:txBody>
        </p:sp>
        <p:sp>
          <p:nvSpPr>
            <p:cNvPr id="463" name="Freeform 462">
              <a:extLst>
                <a:ext uri="{FF2B5EF4-FFF2-40B4-BE49-F238E27FC236}">
                  <a16:creationId xmlns:a16="http://schemas.microsoft.com/office/drawing/2014/main" id="{E48A8E29-FE2D-D114-5260-803083F32EA9}"/>
                </a:ext>
              </a:extLst>
            </p:cNvPr>
            <p:cNvSpPr/>
            <p:nvPr/>
          </p:nvSpPr>
          <p:spPr>
            <a:xfrm>
              <a:off x="-7794625" y="1972151"/>
              <a:ext cx="294640" cy="274478"/>
            </a:xfrm>
            <a:custGeom>
              <a:avLst/>
              <a:gdLst>
                <a:gd name="connsiteX0" fmla="*/ 92710 w 294640"/>
                <a:gd name="connsiteY0" fmla="*/ 237649 h 274478"/>
                <a:gd name="connsiteX1" fmla="*/ 87630 w 294640"/>
                <a:gd name="connsiteY1" fmla="*/ 236379 h 274478"/>
                <a:gd name="connsiteX2" fmla="*/ 64770 w 294640"/>
                <a:gd name="connsiteY2" fmla="*/ 226219 h 274478"/>
                <a:gd name="connsiteX3" fmla="*/ 58420 w 294640"/>
                <a:gd name="connsiteY3" fmla="*/ 224949 h 274478"/>
                <a:gd name="connsiteX4" fmla="*/ 13335 w 294640"/>
                <a:gd name="connsiteY4" fmla="*/ 224949 h 274478"/>
                <a:gd name="connsiteX5" fmla="*/ 11430 w 294640"/>
                <a:gd name="connsiteY5" fmla="*/ 224949 h 274478"/>
                <a:gd name="connsiteX6" fmla="*/ 11430 w 294640"/>
                <a:gd name="connsiteY6" fmla="*/ 226854 h 274478"/>
                <a:gd name="connsiteX7" fmla="*/ 41910 w 294640"/>
                <a:gd name="connsiteY7" fmla="*/ 273209 h 274478"/>
                <a:gd name="connsiteX8" fmla="*/ 45085 w 294640"/>
                <a:gd name="connsiteY8" fmla="*/ 274479 h 274478"/>
                <a:gd name="connsiteX9" fmla="*/ 62230 w 294640"/>
                <a:gd name="connsiteY9" fmla="*/ 274479 h 274478"/>
                <a:gd name="connsiteX10" fmla="*/ 70485 w 294640"/>
                <a:gd name="connsiteY10" fmla="*/ 272574 h 274478"/>
                <a:gd name="connsiteX11" fmla="*/ 87630 w 294640"/>
                <a:gd name="connsiteY11" fmla="*/ 263684 h 274478"/>
                <a:gd name="connsiteX12" fmla="*/ 92710 w 294640"/>
                <a:gd name="connsiteY12" fmla="*/ 261779 h 274478"/>
                <a:gd name="connsiteX13" fmla="*/ 237490 w 294640"/>
                <a:gd name="connsiteY13" fmla="*/ 261779 h 274478"/>
                <a:gd name="connsiteX14" fmla="*/ 240665 w 294640"/>
                <a:gd name="connsiteY14" fmla="*/ 261779 h 274478"/>
                <a:gd name="connsiteX15" fmla="*/ 245745 w 294640"/>
                <a:gd name="connsiteY15" fmla="*/ 273844 h 274478"/>
                <a:gd name="connsiteX16" fmla="*/ 294640 w 294640"/>
                <a:gd name="connsiteY16" fmla="*/ 249079 h 274478"/>
                <a:gd name="connsiteX17" fmla="*/ 245745 w 294640"/>
                <a:gd name="connsiteY17" fmla="*/ 224314 h 274478"/>
                <a:gd name="connsiteX18" fmla="*/ 241935 w 294640"/>
                <a:gd name="connsiteY18" fmla="*/ 235109 h 274478"/>
                <a:gd name="connsiteX19" fmla="*/ 238760 w 294640"/>
                <a:gd name="connsiteY19" fmla="*/ 237014 h 274478"/>
                <a:gd name="connsiteX20" fmla="*/ 226695 w 294640"/>
                <a:gd name="connsiteY20" fmla="*/ 237014 h 274478"/>
                <a:gd name="connsiteX21" fmla="*/ 224790 w 294640"/>
                <a:gd name="connsiteY21" fmla="*/ 236379 h 274478"/>
                <a:gd name="connsiteX22" fmla="*/ 226060 w 294640"/>
                <a:gd name="connsiteY22" fmla="*/ 233839 h 274478"/>
                <a:gd name="connsiteX23" fmla="*/ 242570 w 294640"/>
                <a:gd name="connsiteY23" fmla="*/ 150019 h 274478"/>
                <a:gd name="connsiteX24" fmla="*/ 240665 w 294640"/>
                <a:gd name="connsiteY24" fmla="*/ 115729 h 274478"/>
                <a:gd name="connsiteX25" fmla="*/ 226695 w 294640"/>
                <a:gd name="connsiteY25" fmla="*/ 66834 h 274478"/>
                <a:gd name="connsiteX26" fmla="*/ 179705 w 294640"/>
                <a:gd name="connsiteY26" fmla="*/ 3969 h 274478"/>
                <a:gd name="connsiteX27" fmla="*/ 169545 w 294640"/>
                <a:gd name="connsiteY27" fmla="*/ 159 h 274478"/>
                <a:gd name="connsiteX28" fmla="*/ 123825 w 294640"/>
                <a:gd name="connsiteY28" fmla="*/ 3969 h 274478"/>
                <a:gd name="connsiteX29" fmla="*/ 109855 w 294640"/>
                <a:gd name="connsiteY29" fmla="*/ 8414 h 274478"/>
                <a:gd name="connsiteX30" fmla="*/ 109855 w 294640"/>
                <a:gd name="connsiteY30" fmla="*/ 9049 h 274478"/>
                <a:gd name="connsiteX31" fmla="*/ 111125 w 294640"/>
                <a:gd name="connsiteY31" fmla="*/ 10319 h 274478"/>
                <a:gd name="connsiteX32" fmla="*/ 140970 w 294640"/>
                <a:gd name="connsiteY32" fmla="*/ 40164 h 274478"/>
                <a:gd name="connsiteX33" fmla="*/ 166370 w 294640"/>
                <a:gd name="connsiteY33" fmla="*/ 78264 h 274478"/>
                <a:gd name="connsiteX34" fmla="*/ 168275 w 294640"/>
                <a:gd name="connsiteY34" fmla="*/ 81439 h 274478"/>
                <a:gd name="connsiteX35" fmla="*/ 160020 w 294640"/>
                <a:gd name="connsiteY35" fmla="*/ 80169 h 274478"/>
                <a:gd name="connsiteX36" fmla="*/ 159385 w 294640"/>
                <a:gd name="connsiteY36" fmla="*/ 79534 h 274478"/>
                <a:gd name="connsiteX37" fmla="*/ 119380 w 294640"/>
                <a:gd name="connsiteY37" fmla="*/ 41434 h 274478"/>
                <a:gd name="connsiteX38" fmla="*/ 86360 w 294640"/>
                <a:gd name="connsiteY38" fmla="*/ 21114 h 274478"/>
                <a:gd name="connsiteX39" fmla="*/ 81280 w 294640"/>
                <a:gd name="connsiteY39" fmla="*/ 21749 h 274478"/>
                <a:gd name="connsiteX40" fmla="*/ 40640 w 294640"/>
                <a:gd name="connsiteY40" fmla="*/ 54769 h 274478"/>
                <a:gd name="connsiteX41" fmla="*/ 36195 w 294640"/>
                <a:gd name="connsiteY41" fmla="*/ 59849 h 274478"/>
                <a:gd name="connsiteX42" fmla="*/ 38735 w 294640"/>
                <a:gd name="connsiteY42" fmla="*/ 61754 h 274478"/>
                <a:gd name="connsiteX43" fmla="*/ 83185 w 294640"/>
                <a:gd name="connsiteY43" fmla="*/ 90964 h 274478"/>
                <a:gd name="connsiteX44" fmla="*/ 106045 w 294640"/>
                <a:gd name="connsiteY44" fmla="*/ 110649 h 274478"/>
                <a:gd name="connsiteX45" fmla="*/ 108585 w 294640"/>
                <a:gd name="connsiteY45" fmla="*/ 113824 h 274478"/>
                <a:gd name="connsiteX46" fmla="*/ 101600 w 294640"/>
                <a:gd name="connsiteY46" fmla="*/ 113824 h 274478"/>
                <a:gd name="connsiteX47" fmla="*/ 86360 w 294640"/>
                <a:gd name="connsiteY47" fmla="*/ 104299 h 274478"/>
                <a:gd name="connsiteX48" fmla="*/ 29845 w 294640"/>
                <a:gd name="connsiteY48" fmla="*/ 83344 h 274478"/>
                <a:gd name="connsiteX49" fmla="*/ 20955 w 294640"/>
                <a:gd name="connsiteY49" fmla="*/ 81439 h 274478"/>
                <a:gd name="connsiteX50" fmla="*/ 19685 w 294640"/>
                <a:gd name="connsiteY50" fmla="*/ 83344 h 274478"/>
                <a:gd name="connsiteX51" fmla="*/ 0 w 294640"/>
                <a:gd name="connsiteY51" fmla="*/ 139859 h 274478"/>
                <a:gd name="connsiteX52" fmla="*/ 0 w 294640"/>
                <a:gd name="connsiteY52" fmla="*/ 142399 h 274478"/>
                <a:gd name="connsiteX53" fmla="*/ 22225 w 294640"/>
                <a:gd name="connsiteY53" fmla="*/ 148114 h 274478"/>
                <a:gd name="connsiteX54" fmla="*/ 63500 w 294640"/>
                <a:gd name="connsiteY54" fmla="*/ 166529 h 274478"/>
                <a:gd name="connsiteX55" fmla="*/ 95250 w 294640"/>
                <a:gd name="connsiteY55" fmla="*/ 202089 h 274478"/>
                <a:gd name="connsiteX56" fmla="*/ 103505 w 294640"/>
                <a:gd name="connsiteY56" fmla="*/ 231934 h 274478"/>
                <a:gd name="connsiteX57" fmla="*/ 104775 w 294640"/>
                <a:gd name="connsiteY57" fmla="*/ 238919 h 274478"/>
                <a:gd name="connsiteX58" fmla="*/ 101600 w 294640"/>
                <a:gd name="connsiteY58" fmla="*/ 238919 h 274478"/>
                <a:gd name="connsiteX59" fmla="*/ 92710 w 294640"/>
                <a:gd name="connsiteY59" fmla="*/ 237649 h 274478"/>
                <a:gd name="connsiteX60" fmla="*/ 187325 w 294640"/>
                <a:gd name="connsiteY60" fmla="*/ 179229 h 274478"/>
                <a:gd name="connsiteX61" fmla="*/ 207010 w 294640"/>
                <a:gd name="connsiteY61" fmla="*/ 198914 h 274478"/>
                <a:gd name="connsiteX62" fmla="*/ 187325 w 294640"/>
                <a:gd name="connsiteY62" fmla="*/ 219234 h 274478"/>
                <a:gd name="connsiteX63" fmla="*/ 167005 w 294640"/>
                <a:gd name="connsiteY63" fmla="*/ 198914 h 274478"/>
                <a:gd name="connsiteX64" fmla="*/ 187325 w 294640"/>
                <a:gd name="connsiteY64" fmla="*/ 179229 h 27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94640" h="274478">
                  <a:moveTo>
                    <a:pt x="92710" y="237649"/>
                  </a:moveTo>
                  <a:cubicBezTo>
                    <a:pt x="90805" y="237649"/>
                    <a:pt x="89535" y="237649"/>
                    <a:pt x="87630" y="236379"/>
                  </a:cubicBezTo>
                  <a:cubicBezTo>
                    <a:pt x="80010" y="233204"/>
                    <a:pt x="72390" y="230029"/>
                    <a:pt x="64770" y="226219"/>
                  </a:cubicBezTo>
                  <a:cubicBezTo>
                    <a:pt x="62865" y="225584"/>
                    <a:pt x="60960" y="224949"/>
                    <a:pt x="58420" y="224949"/>
                  </a:cubicBezTo>
                  <a:cubicBezTo>
                    <a:pt x="43815" y="224949"/>
                    <a:pt x="28575" y="224949"/>
                    <a:pt x="13335" y="224949"/>
                  </a:cubicBezTo>
                  <a:cubicBezTo>
                    <a:pt x="12700" y="224949"/>
                    <a:pt x="12065" y="224949"/>
                    <a:pt x="11430" y="224949"/>
                  </a:cubicBezTo>
                  <a:cubicBezTo>
                    <a:pt x="11430" y="225584"/>
                    <a:pt x="11430" y="226219"/>
                    <a:pt x="11430" y="226854"/>
                  </a:cubicBezTo>
                  <a:cubicBezTo>
                    <a:pt x="19685" y="243364"/>
                    <a:pt x="29845" y="259239"/>
                    <a:pt x="41910" y="273209"/>
                  </a:cubicBezTo>
                  <a:cubicBezTo>
                    <a:pt x="43180" y="273844"/>
                    <a:pt x="43815" y="274479"/>
                    <a:pt x="45085" y="274479"/>
                  </a:cubicBezTo>
                  <a:cubicBezTo>
                    <a:pt x="51435" y="274479"/>
                    <a:pt x="56515" y="274479"/>
                    <a:pt x="62230" y="274479"/>
                  </a:cubicBezTo>
                  <a:cubicBezTo>
                    <a:pt x="65405" y="274479"/>
                    <a:pt x="67945" y="273844"/>
                    <a:pt x="70485" y="272574"/>
                  </a:cubicBezTo>
                  <a:cubicBezTo>
                    <a:pt x="76200" y="269399"/>
                    <a:pt x="81280" y="266224"/>
                    <a:pt x="87630" y="263684"/>
                  </a:cubicBezTo>
                  <a:cubicBezTo>
                    <a:pt x="88900" y="262414"/>
                    <a:pt x="90805" y="261779"/>
                    <a:pt x="92710" y="261779"/>
                  </a:cubicBezTo>
                  <a:cubicBezTo>
                    <a:pt x="140970" y="261779"/>
                    <a:pt x="189865" y="261779"/>
                    <a:pt x="237490" y="261779"/>
                  </a:cubicBezTo>
                  <a:lnTo>
                    <a:pt x="240665" y="261779"/>
                  </a:lnTo>
                  <a:cubicBezTo>
                    <a:pt x="242570" y="266224"/>
                    <a:pt x="243840" y="270669"/>
                    <a:pt x="245745" y="273844"/>
                  </a:cubicBezTo>
                  <a:cubicBezTo>
                    <a:pt x="264795" y="271304"/>
                    <a:pt x="281305" y="263049"/>
                    <a:pt x="294640" y="249079"/>
                  </a:cubicBezTo>
                  <a:cubicBezTo>
                    <a:pt x="281305" y="235744"/>
                    <a:pt x="264795" y="226854"/>
                    <a:pt x="245745" y="224314"/>
                  </a:cubicBezTo>
                  <a:cubicBezTo>
                    <a:pt x="244475" y="228124"/>
                    <a:pt x="243205" y="231299"/>
                    <a:pt x="241935" y="235109"/>
                  </a:cubicBezTo>
                  <a:cubicBezTo>
                    <a:pt x="241300" y="236379"/>
                    <a:pt x="240665" y="237014"/>
                    <a:pt x="238760" y="237014"/>
                  </a:cubicBezTo>
                  <a:cubicBezTo>
                    <a:pt x="234315" y="237014"/>
                    <a:pt x="230505" y="237014"/>
                    <a:pt x="226695" y="237014"/>
                  </a:cubicBezTo>
                  <a:cubicBezTo>
                    <a:pt x="226060" y="237014"/>
                    <a:pt x="225425" y="237014"/>
                    <a:pt x="224790" y="236379"/>
                  </a:cubicBezTo>
                  <a:cubicBezTo>
                    <a:pt x="225425" y="235744"/>
                    <a:pt x="225425" y="234474"/>
                    <a:pt x="226060" y="233839"/>
                  </a:cubicBezTo>
                  <a:cubicBezTo>
                    <a:pt x="236220" y="206534"/>
                    <a:pt x="241935" y="178594"/>
                    <a:pt x="242570" y="150019"/>
                  </a:cubicBezTo>
                  <a:cubicBezTo>
                    <a:pt x="243205" y="138589"/>
                    <a:pt x="242570" y="126524"/>
                    <a:pt x="240665" y="115729"/>
                  </a:cubicBezTo>
                  <a:cubicBezTo>
                    <a:pt x="238125" y="98584"/>
                    <a:pt x="233680" y="82074"/>
                    <a:pt x="226695" y="66834"/>
                  </a:cubicBezTo>
                  <a:cubicBezTo>
                    <a:pt x="215900" y="42069"/>
                    <a:pt x="200025" y="21749"/>
                    <a:pt x="179705" y="3969"/>
                  </a:cubicBezTo>
                  <a:cubicBezTo>
                    <a:pt x="176530" y="1429"/>
                    <a:pt x="173355" y="159"/>
                    <a:pt x="169545" y="159"/>
                  </a:cubicBezTo>
                  <a:cubicBezTo>
                    <a:pt x="154305" y="-476"/>
                    <a:pt x="139065" y="794"/>
                    <a:pt x="123825" y="3969"/>
                  </a:cubicBezTo>
                  <a:cubicBezTo>
                    <a:pt x="118745" y="5239"/>
                    <a:pt x="114935" y="7144"/>
                    <a:pt x="109855" y="8414"/>
                  </a:cubicBezTo>
                  <a:lnTo>
                    <a:pt x="109855" y="9049"/>
                  </a:lnTo>
                  <a:cubicBezTo>
                    <a:pt x="110490" y="9684"/>
                    <a:pt x="111125" y="9684"/>
                    <a:pt x="111125" y="10319"/>
                  </a:cubicBezTo>
                  <a:cubicBezTo>
                    <a:pt x="121920" y="19844"/>
                    <a:pt x="132080" y="29369"/>
                    <a:pt x="140970" y="40164"/>
                  </a:cubicBezTo>
                  <a:cubicBezTo>
                    <a:pt x="150495" y="51594"/>
                    <a:pt x="159385" y="64294"/>
                    <a:pt x="166370" y="78264"/>
                  </a:cubicBezTo>
                  <a:cubicBezTo>
                    <a:pt x="167005" y="78899"/>
                    <a:pt x="167640" y="80169"/>
                    <a:pt x="168275" y="81439"/>
                  </a:cubicBezTo>
                  <a:cubicBezTo>
                    <a:pt x="163830" y="83979"/>
                    <a:pt x="163195" y="83344"/>
                    <a:pt x="160020" y="80169"/>
                  </a:cubicBezTo>
                  <a:lnTo>
                    <a:pt x="159385" y="79534"/>
                  </a:lnTo>
                  <a:cubicBezTo>
                    <a:pt x="147320" y="66199"/>
                    <a:pt x="133350" y="52229"/>
                    <a:pt x="119380" y="41434"/>
                  </a:cubicBezTo>
                  <a:cubicBezTo>
                    <a:pt x="109220" y="33179"/>
                    <a:pt x="98425" y="26194"/>
                    <a:pt x="86360" y="21114"/>
                  </a:cubicBezTo>
                  <a:cubicBezTo>
                    <a:pt x="84455" y="20479"/>
                    <a:pt x="83185" y="20479"/>
                    <a:pt x="81280" y="21749"/>
                  </a:cubicBezTo>
                  <a:cubicBezTo>
                    <a:pt x="66040" y="30639"/>
                    <a:pt x="52705" y="41434"/>
                    <a:pt x="40640" y="54769"/>
                  </a:cubicBezTo>
                  <a:cubicBezTo>
                    <a:pt x="39370" y="56039"/>
                    <a:pt x="37465" y="57944"/>
                    <a:pt x="36195" y="59849"/>
                  </a:cubicBezTo>
                  <a:cubicBezTo>
                    <a:pt x="36830" y="60484"/>
                    <a:pt x="38100" y="61119"/>
                    <a:pt x="38735" y="61754"/>
                  </a:cubicBezTo>
                  <a:cubicBezTo>
                    <a:pt x="53975" y="70644"/>
                    <a:pt x="68580" y="79534"/>
                    <a:pt x="83185" y="90964"/>
                  </a:cubicBezTo>
                  <a:cubicBezTo>
                    <a:pt x="91440" y="97314"/>
                    <a:pt x="99060" y="103029"/>
                    <a:pt x="106045" y="110649"/>
                  </a:cubicBezTo>
                  <a:cubicBezTo>
                    <a:pt x="107315" y="111919"/>
                    <a:pt x="107950" y="112554"/>
                    <a:pt x="108585" y="113824"/>
                  </a:cubicBezTo>
                  <a:cubicBezTo>
                    <a:pt x="104775" y="116364"/>
                    <a:pt x="104775" y="115729"/>
                    <a:pt x="101600" y="113824"/>
                  </a:cubicBezTo>
                  <a:cubicBezTo>
                    <a:pt x="96520" y="110649"/>
                    <a:pt x="92075" y="107474"/>
                    <a:pt x="86360" y="104299"/>
                  </a:cubicBezTo>
                  <a:cubicBezTo>
                    <a:pt x="68580" y="94774"/>
                    <a:pt x="49530" y="89059"/>
                    <a:pt x="29845" y="83344"/>
                  </a:cubicBezTo>
                  <a:cubicBezTo>
                    <a:pt x="26670" y="82709"/>
                    <a:pt x="23495" y="82074"/>
                    <a:pt x="20955" y="81439"/>
                  </a:cubicBezTo>
                  <a:cubicBezTo>
                    <a:pt x="20320" y="82074"/>
                    <a:pt x="19685" y="82709"/>
                    <a:pt x="19685" y="83344"/>
                  </a:cubicBezTo>
                  <a:cubicBezTo>
                    <a:pt x="10160" y="100489"/>
                    <a:pt x="3175" y="119539"/>
                    <a:pt x="0" y="139859"/>
                  </a:cubicBezTo>
                  <a:cubicBezTo>
                    <a:pt x="0" y="141129"/>
                    <a:pt x="0" y="141764"/>
                    <a:pt x="0" y="142399"/>
                  </a:cubicBezTo>
                  <a:cubicBezTo>
                    <a:pt x="7620" y="144304"/>
                    <a:pt x="14605" y="146209"/>
                    <a:pt x="22225" y="148114"/>
                  </a:cubicBezTo>
                  <a:cubicBezTo>
                    <a:pt x="36195" y="152559"/>
                    <a:pt x="50165" y="158274"/>
                    <a:pt x="63500" y="166529"/>
                  </a:cubicBezTo>
                  <a:cubicBezTo>
                    <a:pt x="77470" y="175419"/>
                    <a:pt x="88900" y="186849"/>
                    <a:pt x="95250" y="202089"/>
                  </a:cubicBezTo>
                  <a:cubicBezTo>
                    <a:pt x="99695" y="211614"/>
                    <a:pt x="102235" y="221774"/>
                    <a:pt x="103505" y="231934"/>
                  </a:cubicBezTo>
                  <a:cubicBezTo>
                    <a:pt x="104140" y="234474"/>
                    <a:pt x="104140" y="236379"/>
                    <a:pt x="104775" y="238919"/>
                  </a:cubicBezTo>
                  <a:cubicBezTo>
                    <a:pt x="103505" y="238919"/>
                    <a:pt x="102235" y="238919"/>
                    <a:pt x="101600" y="238919"/>
                  </a:cubicBezTo>
                  <a:cubicBezTo>
                    <a:pt x="97790" y="237649"/>
                    <a:pt x="95885" y="237649"/>
                    <a:pt x="92710" y="237649"/>
                  </a:cubicBezTo>
                  <a:close/>
                  <a:moveTo>
                    <a:pt x="187325" y="179229"/>
                  </a:moveTo>
                  <a:cubicBezTo>
                    <a:pt x="198120" y="179229"/>
                    <a:pt x="207010" y="188119"/>
                    <a:pt x="207010" y="198914"/>
                  </a:cubicBezTo>
                  <a:cubicBezTo>
                    <a:pt x="207010" y="210344"/>
                    <a:pt x="198120" y="219234"/>
                    <a:pt x="187325" y="219234"/>
                  </a:cubicBezTo>
                  <a:cubicBezTo>
                    <a:pt x="176530" y="219234"/>
                    <a:pt x="167005" y="209709"/>
                    <a:pt x="167005" y="198914"/>
                  </a:cubicBezTo>
                  <a:cubicBezTo>
                    <a:pt x="167640" y="187484"/>
                    <a:pt x="176530" y="179229"/>
                    <a:pt x="187325" y="179229"/>
                  </a:cubicBezTo>
                  <a:close/>
                </a:path>
              </a:pathLst>
            </a:custGeom>
            <a:solidFill>
              <a:srgbClr val="FFFFFF"/>
            </a:solidFill>
            <a:ln w="6350" cap="flat">
              <a:noFill/>
              <a:prstDash val="solid"/>
              <a:miter/>
            </a:ln>
          </p:spPr>
          <p:txBody>
            <a:bodyPr rtlCol="0" anchor="ctr"/>
            <a:lstStyle/>
            <a:p>
              <a:endParaRPr lang="en-GB"/>
            </a:p>
          </p:txBody>
        </p:sp>
      </p:grpSp>
      <p:sp>
        <p:nvSpPr>
          <p:cNvPr id="464" name="Freeform 463">
            <a:extLst>
              <a:ext uri="{FF2B5EF4-FFF2-40B4-BE49-F238E27FC236}">
                <a16:creationId xmlns:a16="http://schemas.microsoft.com/office/drawing/2014/main" id="{3DA6057E-380B-2CAC-2320-4D43F2EEEA08}"/>
              </a:ext>
            </a:extLst>
          </p:cNvPr>
          <p:cNvSpPr/>
          <p:nvPr userDrawn="1"/>
        </p:nvSpPr>
        <p:spPr>
          <a:xfrm>
            <a:off x="2628900" y="1950720"/>
            <a:ext cx="584200" cy="581659"/>
          </a:xfrm>
          <a:custGeom>
            <a:avLst/>
            <a:gdLst>
              <a:gd name="connsiteX0" fmla="*/ 291465 w 584200"/>
              <a:gd name="connsiteY0" fmla="*/ 0 h 581659"/>
              <a:gd name="connsiteX1" fmla="*/ 0 w 584200"/>
              <a:gd name="connsiteY1" fmla="*/ 290830 h 581659"/>
              <a:gd name="connsiteX2" fmla="*/ 291465 w 584200"/>
              <a:gd name="connsiteY2" fmla="*/ 581660 h 581659"/>
              <a:gd name="connsiteX3" fmla="*/ 584200 w 584200"/>
              <a:gd name="connsiteY3" fmla="*/ 290830 h 581659"/>
              <a:gd name="connsiteX4" fmla="*/ 291465 w 584200"/>
              <a:gd name="connsiteY4" fmla="*/ 0 h 581659"/>
              <a:gd name="connsiteX5" fmla="*/ 378460 w 584200"/>
              <a:gd name="connsiteY5" fmla="*/ 40005 h 581659"/>
              <a:gd name="connsiteX6" fmla="*/ 377825 w 584200"/>
              <a:gd name="connsiteY6" fmla="*/ 42545 h 581659"/>
              <a:gd name="connsiteX7" fmla="*/ 296545 w 584200"/>
              <a:gd name="connsiteY7" fmla="*/ 225425 h 581659"/>
              <a:gd name="connsiteX8" fmla="*/ 294005 w 584200"/>
              <a:gd name="connsiteY8" fmla="*/ 228600 h 581659"/>
              <a:gd name="connsiteX9" fmla="*/ 290195 w 584200"/>
              <a:gd name="connsiteY9" fmla="*/ 228600 h 581659"/>
              <a:gd name="connsiteX10" fmla="*/ 288290 w 584200"/>
              <a:gd name="connsiteY10" fmla="*/ 225425 h 581659"/>
              <a:gd name="connsiteX11" fmla="*/ 206375 w 584200"/>
              <a:gd name="connsiteY11" fmla="*/ 42545 h 581659"/>
              <a:gd name="connsiteX12" fmla="*/ 205740 w 584200"/>
              <a:gd name="connsiteY12" fmla="*/ 40005 h 581659"/>
              <a:gd name="connsiteX13" fmla="*/ 378460 w 584200"/>
              <a:gd name="connsiteY13" fmla="*/ 40005 h 581659"/>
              <a:gd name="connsiteX14" fmla="*/ 70485 w 584200"/>
              <a:gd name="connsiteY14" fmla="*/ 145415 h 581659"/>
              <a:gd name="connsiteX15" fmla="*/ 162560 w 584200"/>
              <a:gd name="connsiteY15" fmla="*/ 59690 h 581659"/>
              <a:gd name="connsiteX16" fmla="*/ 165100 w 584200"/>
              <a:gd name="connsiteY16" fmla="*/ 59055 h 581659"/>
              <a:gd name="connsiteX17" fmla="*/ 170815 w 584200"/>
              <a:gd name="connsiteY17" fmla="*/ 71120 h 581659"/>
              <a:gd name="connsiteX18" fmla="*/ 261620 w 584200"/>
              <a:gd name="connsiteY18" fmla="*/ 273685 h 581659"/>
              <a:gd name="connsiteX19" fmla="*/ 267970 w 584200"/>
              <a:gd name="connsiteY19" fmla="*/ 277495 h 581659"/>
              <a:gd name="connsiteX20" fmla="*/ 316230 w 584200"/>
              <a:gd name="connsiteY20" fmla="*/ 277495 h 581659"/>
              <a:gd name="connsiteX21" fmla="*/ 322580 w 584200"/>
              <a:gd name="connsiteY21" fmla="*/ 272415 h 581659"/>
              <a:gd name="connsiteX22" fmla="*/ 350520 w 584200"/>
              <a:gd name="connsiteY22" fmla="*/ 211455 h 581659"/>
              <a:gd name="connsiteX23" fmla="*/ 418465 w 584200"/>
              <a:gd name="connsiteY23" fmla="*/ 59690 h 581659"/>
              <a:gd name="connsiteX24" fmla="*/ 419100 w 584200"/>
              <a:gd name="connsiteY24" fmla="*/ 57785 h 581659"/>
              <a:gd name="connsiteX25" fmla="*/ 433070 w 584200"/>
              <a:gd name="connsiteY25" fmla="*/ 66040 h 581659"/>
              <a:gd name="connsiteX26" fmla="*/ 513080 w 584200"/>
              <a:gd name="connsiteY26" fmla="*/ 145415 h 581659"/>
              <a:gd name="connsiteX27" fmla="*/ 513080 w 584200"/>
              <a:gd name="connsiteY27" fmla="*/ 149225 h 581659"/>
              <a:gd name="connsiteX28" fmla="*/ 379730 w 584200"/>
              <a:gd name="connsiteY28" fmla="*/ 415290 h 581659"/>
              <a:gd name="connsiteX29" fmla="*/ 377190 w 584200"/>
              <a:gd name="connsiteY29" fmla="*/ 418465 h 581659"/>
              <a:gd name="connsiteX30" fmla="*/ 372745 w 584200"/>
              <a:gd name="connsiteY30" fmla="*/ 418465 h 581659"/>
              <a:gd name="connsiteX31" fmla="*/ 370205 w 584200"/>
              <a:gd name="connsiteY31" fmla="*/ 415290 h 581659"/>
              <a:gd name="connsiteX32" fmla="*/ 321310 w 584200"/>
              <a:gd name="connsiteY32" fmla="*/ 303530 h 581659"/>
              <a:gd name="connsiteX33" fmla="*/ 311150 w 584200"/>
              <a:gd name="connsiteY33" fmla="*/ 297180 h 581659"/>
              <a:gd name="connsiteX34" fmla="*/ 266700 w 584200"/>
              <a:gd name="connsiteY34" fmla="*/ 297180 h 581659"/>
              <a:gd name="connsiteX35" fmla="*/ 257810 w 584200"/>
              <a:gd name="connsiteY35" fmla="*/ 303530 h 581659"/>
              <a:gd name="connsiteX36" fmla="*/ 209550 w 584200"/>
              <a:gd name="connsiteY36" fmla="*/ 415290 h 581659"/>
              <a:gd name="connsiteX37" fmla="*/ 208915 w 584200"/>
              <a:gd name="connsiteY37" fmla="*/ 418465 h 581659"/>
              <a:gd name="connsiteX38" fmla="*/ 203200 w 584200"/>
              <a:gd name="connsiteY38" fmla="*/ 418465 h 581659"/>
              <a:gd name="connsiteX39" fmla="*/ 198120 w 584200"/>
              <a:gd name="connsiteY39" fmla="*/ 408305 h 581659"/>
              <a:gd name="connsiteX40" fmla="*/ 69215 w 584200"/>
              <a:gd name="connsiteY40" fmla="*/ 148590 h 581659"/>
              <a:gd name="connsiteX41" fmla="*/ 70485 w 584200"/>
              <a:gd name="connsiteY41" fmla="*/ 145415 h 581659"/>
              <a:gd name="connsiteX42" fmla="*/ 445135 w 584200"/>
              <a:gd name="connsiteY42" fmla="*/ 504825 h 581659"/>
              <a:gd name="connsiteX43" fmla="*/ 117475 w 584200"/>
              <a:gd name="connsiteY43" fmla="*/ 488315 h 581659"/>
              <a:gd name="connsiteX44" fmla="*/ 43815 w 584200"/>
              <a:gd name="connsiteY44" fmla="*/ 197485 h 581659"/>
              <a:gd name="connsiteX45" fmla="*/ 45720 w 584200"/>
              <a:gd name="connsiteY45" fmla="*/ 200660 h 581659"/>
              <a:gd name="connsiteX46" fmla="*/ 199390 w 584200"/>
              <a:gd name="connsiteY46" fmla="*/ 508000 h 581659"/>
              <a:gd name="connsiteX47" fmla="*/ 207010 w 584200"/>
              <a:gd name="connsiteY47" fmla="*/ 515620 h 581659"/>
              <a:gd name="connsiteX48" fmla="*/ 215900 w 584200"/>
              <a:gd name="connsiteY48" fmla="*/ 509905 h 581659"/>
              <a:gd name="connsiteX49" fmla="*/ 220980 w 584200"/>
              <a:gd name="connsiteY49" fmla="*/ 501015 h 581659"/>
              <a:gd name="connsiteX50" fmla="*/ 288925 w 584200"/>
              <a:gd name="connsiteY50" fmla="*/ 348615 h 581659"/>
              <a:gd name="connsiteX51" fmla="*/ 290830 w 584200"/>
              <a:gd name="connsiteY51" fmla="*/ 346710 h 581659"/>
              <a:gd name="connsiteX52" fmla="*/ 294640 w 584200"/>
              <a:gd name="connsiteY52" fmla="*/ 346710 h 581659"/>
              <a:gd name="connsiteX53" fmla="*/ 297180 w 584200"/>
              <a:gd name="connsiteY53" fmla="*/ 350520 h 581659"/>
              <a:gd name="connsiteX54" fmla="*/ 366395 w 584200"/>
              <a:gd name="connsiteY54" fmla="*/ 506095 h 581659"/>
              <a:gd name="connsiteX55" fmla="*/ 369570 w 584200"/>
              <a:gd name="connsiteY55" fmla="*/ 511175 h 581659"/>
              <a:gd name="connsiteX56" fmla="*/ 382905 w 584200"/>
              <a:gd name="connsiteY56" fmla="*/ 511175 h 581659"/>
              <a:gd name="connsiteX57" fmla="*/ 385445 w 584200"/>
              <a:gd name="connsiteY57" fmla="*/ 508000 h 581659"/>
              <a:gd name="connsiteX58" fmla="*/ 539115 w 584200"/>
              <a:gd name="connsiteY58" fmla="*/ 200660 h 581659"/>
              <a:gd name="connsiteX59" fmla="*/ 541020 w 584200"/>
              <a:gd name="connsiteY59" fmla="*/ 197485 h 581659"/>
              <a:gd name="connsiteX60" fmla="*/ 445135 w 584200"/>
              <a:gd name="connsiteY60" fmla="*/ 504825 h 581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84200" h="581659">
                <a:moveTo>
                  <a:pt x="291465" y="0"/>
                </a:moveTo>
                <a:cubicBezTo>
                  <a:pt x="130175" y="0"/>
                  <a:pt x="0" y="129540"/>
                  <a:pt x="0" y="290830"/>
                </a:cubicBezTo>
                <a:cubicBezTo>
                  <a:pt x="0" y="451485"/>
                  <a:pt x="130175" y="581025"/>
                  <a:pt x="291465" y="581660"/>
                </a:cubicBezTo>
                <a:cubicBezTo>
                  <a:pt x="453390" y="581660"/>
                  <a:pt x="584200" y="451485"/>
                  <a:pt x="584200" y="290830"/>
                </a:cubicBezTo>
                <a:cubicBezTo>
                  <a:pt x="584200" y="129540"/>
                  <a:pt x="453390" y="0"/>
                  <a:pt x="291465" y="0"/>
                </a:cubicBezTo>
                <a:close/>
                <a:moveTo>
                  <a:pt x="378460" y="40005"/>
                </a:moveTo>
                <a:lnTo>
                  <a:pt x="377825" y="42545"/>
                </a:lnTo>
                <a:cubicBezTo>
                  <a:pt x="350520" y="103505"/>
                  <a:pt x="323215" y="164465"/>
                  <a:pt x="296545" y="225425"/>
                </a:cubicBezTo>
                <a:cubicBezTo>
                  <a:pt x="295910" y="226060"/>
                  <a:pt x="294640" y="227965"/>
                  <a:pt x="294005" y="228600"/>
                </a:cubicBezTo>
                <a:cubicBezTo>
                  <a:pt x="293370" y="230505"/>
                  <a:pt x="291465" y="230505"/>
                  <a:pt x="290195" y="228600"/>
                </a:cubicBezTo>
                <a:cubicBezTo>
                  <a:pt x="289560" y="227965"/>
                  <a:pt x="288290" y="226060"/>
                  <a:pt x="288290" y="225425"/>
                </a:cubicBezTo>
                <a:cubicBezTo>
                  <a:pt x="260985" y="164465"/>
                  <a:pt x="233680" y="103505"/>
                  <a:pt x="206375" y="42545"/>
                </a:cubicBezTo>
                <a:lnTo>
                  <a:pt x="205740" y="40005"/>
                </a:lnTo>
                <a:cubicBezTo>
                  <a:pt x="262890" y="20320"/>
                  <a:pt x="320040" y="20320"/>
                  <a:pt x="378460" y="40005"/>
                </a:cubicBezTo>
                <a:close/>
                <a:moveTo>
                  <a:pt x="70485" y="145415"/>
                </a:moveTo>
                <a:cubicBezTo>
                  <a:pt x="94615" y="109855"/>
                  <a:pt x="125095" y="81280"/>
                  <a:pt x="162560" y="59690"/>
                </a:cubicBezTo>
                <a:lnTo>
                  <a:pt x="165100" y="59055"/>
                </a:lnTo>
                <a:cubicBezTo>
                  <a:pt x="167005" y="62865"/>
                  <a:pt x="168275" y="67310"/>
                  <a:pt x="170815" y="71120"/>
                </a:cubicBezTo>
                <a:cubicBezTo>
                  <a:pt x="200660" y="138430"/>
                  <a:pt x="231140" y="206375"/>
                  <a:pt x="261620" y="273685"/>
                </a:cubicBezTo>
                <a:cubicBezTo>
                  <a:pt x="263525" y="276225"/>
                  <a:pt x="264795" y="277495"/>
                  <a:pt x="267970" y="277495"/>
                </a:cubicBezTo>
                <a:cubicBezTo>
                  <a:pt x="283845" y="277495"/>
                  <a:pt x="300355" y="277495"/>
                  <a:pt x="316230" y="277495"/>
                </a:cubicBezTo>
                <a:cubicBezTo>
                  <a:pt x="319405" y="277495"/>
                  <a:pt x="321945" y="275590"/>
                  <a:pt x="322580" y="272415"/>
                </a:cubicBezTo>
                <a:cubicBezTo>
                  <a:pt x="331470" y="252095"/>
                  <a:pt x="341630" y="231140"/>
                  <a:pt x="350520" y="211455"/>
                </a:cubicBezTo>
                <a:cubicBezTo>
                  <a:pt x="372745" y="161290"/>
                  <a:pt x="396240" y="111125"/>
                  <a:pt x="418465" y="59690"/>
                </a:cubicBezTo>
                <a:lnTo>
                  <a:pt x="419100" y="57785"/>
                </a:lnTo>
                <a:cubicBezTo>
                  <a:pt x="424180" y="60325"/>
                  <a:pt x="429260" y="62865"/>
                  <a:pt x="433070" y="66040"/>
                </a:cubicBezTo>
                <a:cubicBezTo>
                  <a:pt x="465455" y="86360"/>
                  <a:pt x="492760" y="113030"/>
                  <a:pt x="513080" y="145415"/>
                </a:cubicBezTo>
                <a:cubicBezTo>
                  <a:pt x="514985" y="147320"/>
                  <a:pt x="513715" y="147955"/>
                  <a:pt x="513080" y="149225"/>
                </a:cubicBezTo>
                <a:cubicBezTo>
                  <a:pt x="468630" y="237490"/>
                  <a:pt x="423545" y="326390"/>
                  <a:pt x="379730" y="415290"/>
                </a:cubicBezTo>
                <a:cubicBezTo>
                  <a:pt x="379095" y="415925"/>
                  <a:pt x="377825" y="417830"/>
                  <a:pt x="377190" y="418465"/>
                </a:cubicBezTo>
                <a:cubicBezTo>
                  <a:pt x="376555" y="421005"/>
                  <a:pt x="374015" y="421005"/>
                  <a:pt x="372745" y="418465"/>
                </a:cubicBezTo>
                <a:cubicBezTo>
                  <a:pt x="372110" y="417830"/>
                  <a:pt x="370840" y="415925"/>
                  <a:pt x="370205" y="415290"/>
                </a:cubicBezTo>
                <a:cubicBezTo>
                  <a:pt x="353695" y="378460"/>
                  <a:pt x="337185" y="340360"/>
                  <a:pt x="321310" y="303530"/>
                </a:cubicBezTo>
                <a:cubicBezTo>
                  <a:pt x="318770" y="298450"/>
                  <a:pt x="316230" y="297180"/>
                  <a:pt x="311150" y="297180"/>
                </a:cubicBezTo>
                <a:cubicBezTo>
                  <a:pt x="296545" y="297815"/>
                  <a:pt x="281305" y="297180"/>
                  <a:pt x="266700" y="297180"/>
                </a:cubicBezTo>
                <a:cubicBezTo>
                  <a:pt x="261620" y="297180"/>
                  <a:pt x="259080" y="299085"/>
                  <a:pt x="257810" y="303530"/>
                </a:cubicBezTo>
                <a:cubicBezTo>
                  <a:pt x="241935" y="340360"/>
                  <a:pt x="226060" y="378460"/>
                  <a:pt x="209550" y="415290"/>
                </a:cubicBezTo>
                <a:lnTo>
                  <a:pt x="208915" y="418465"/>
                </a:lnTo>
                <a:cubicBezTo>
                  <a:pt x="207010" y="421005"/>
                  <a:pt x="204470" y="421005"/>
                  <a:pt x="203200" y="418465"/>
                </a:cubicBezTo>
                <a:cubicBezTo>
                  <a:pt x="201295" y="415290"/>
                  <a:pt x="200025" y="412115"/>
                  <a:pt x="198120" y="408305"/>
                </a:cubicBezTo>
                <a:cubicBezTo>
                  <a:pt x="154940" y="321945"/>
                  <a:pt x="111760" y="235585"/>
                  <a:pt x="69215" y="148590"/>
                </a:cubicBezTo>
                <a:cubicBezTo>
                  <a:pt x="69215" y="149225"/>
                  <a:pt x="69215" y="147320"/>
                  <a:pt x="70485" y="145415"/>
                </a:cubicBezTo>
                <a:close/>
                <a:moveTo>
                  <a:pt x="445135" y="504825"/>
                </a:moveTo>
                <a:cubicBezTo>
                  <a:pt x="344805" y="577215"/>
                  <a:pt x="210185" y="569595"/>
                  <a:pt x="117475" y="488315"/>
                </a:cubicBezTo>
                <a:cubicBezTo>
                  <a:pt x="19685" y="402590"/>
                  <a:pt x="11430" y="278765"/>
                  <a:pt x="43815" y="197485"/>
                </a:cubicBezTo>
                <a:cubicBezTo>
                  <a:pt x="44450" y="199390"/>
                  <a:pt x="45720" y="200025"/>
                  <a:pt x="45720" y="200660"/>
                </a:cubicBezTo>
                <a:cubicBezTo>
                  <a:pt x="97155" y="303530"/>
                  <a:pt x="148590" y="405765"/>
                  <a:pt x="199390" y="508000"/>
                </a:cubicBezTo>
                <a:cubicBezTo>
                  <a:pt x="201295" y="511175"/>
                  <a:pt x="202565" y="514350"/>
                  <a:pt x="207010" y="515620"/>
                </a:cubicBezTo>
                <a:cubicBezTo>
                  <a:pt x="211455" y="515620"/>
                  <a:pt x="214630" y="513715"/>
                  <a:pt x="215900" y="509905"/>
                </a:cubicBezTo>
                <a:cubicBezTo>
                  <a:pt x="217805" y="507365"/>
                  <a:pt x="219075" y="504190"/>
                  <a:pt x="220980" y="501015"/>
                </a:cubicBezTo>
                <a:cubicBezTo>
                  <a:pt x="243205" y="450215"/>
                  <a:pt x="266700" y="399415"/>
                  <a:pt x="288925" y="348615"/>
                </a:cubicBezTo>
                <a:lnTo>
                  <a:pt x="290830" y="346710"/>
                </a:lnTo>
                <a:cubicBezTo>
                  <a:pt x="291465" y="344805"/>
                  <a:pt x="293370" y="344805"/>
                  <a:pt x="294640" y="346710"/>
                </a:cubicBezTo>
                <a:cubicBezTo>
                  <a:pt x="295275" y="348615"/>
                  <a:pt x="296545" y="349885"/>
                  <a:pt x="297180" y="350520"/>
                </a:cubicBezTo>
                <a:cubicBezTo>
                  <a:pt x="320675" y="402590"/>
                  <a:pt x="343535" y="454025"/>
                  <a:pt x="366395" y="506095"/>
                </a:cubicBezTo>
                <a:cubicBezTo>
                  <a:pt x="367030" y="508000"/>
                  <a:pt x="368300" y="509905"/>
                  <a:pt x="369570" y="511175"/>
                </a:cubicBezTo>
                <a:cubicBezTo>
                  <a:pt x="372745" y="516255"/>
                  <a:pt x="379730" y="516255"/>
                  <a:pt x="382905" y="511175"/>
                </a:cubicBezTo>
                <a:cubicBezTo>
                  <a:pt x="383540" y="510540"/>
                  <a:pt x="384810" y="509270"/>
                  <a:pt x="385445" y="508000"/>
                </a:cubicBezTo>
                <a:cubicBezTo>
                  <a:pt x="436880" y="405765"/>
                  <a:pt x="488315" y="302895"/>
                  <a:pt x="539115" y="200660"/>
                </a:cubicBezTo>
                <a:cubicBezTo>
                  <a:pt x="539115" y="200025"/>
                  <a:pt x="539750" y="198755"/>
                  <a:pt x="541020" y="197485"/>
                </a:cubicBezTo>
                <a:cubicBezTo>
                  <a:pt x="581025" y="301625"/>
                  <a:pt x="548640" y="430530"/>
                  <a:pt x="445135" y="504825"/>
                </a:cubicBezTo>
                <a:close/>
              </a:path>
            </a:pathLst>
          </a:custGeom>
          <a:solidFill>
            <a:srgbClr val="FFFFFF"/>
          </a:solidFill>
          <a:ln w="6350" cap="flat">
            <a:noFill/>
            <a:prstDash val="solid"/>
            <a:miter/>
          </a:ln>
        </p:spPr>
        <p:txBody>
          <a:bodyPr rtlCol="0" anchor="ctr"/>
          <a:lstStyle/>
          <a:p>
            <a:endParaRPr lang="en-GB"/>
          </a:p>
        </p:txBody>
      </p:sp>
      <p:grpSp>
        <p:nvGrpSpPr>
          <p:cNvPr id="465" name="Graphic 79">
            <a:extLst>
              <a:ext uri="{FF2B5EF4-FFF2-40B4-BE49-F238E27FC236}">
                <a16:creationId xmlns:a16="http://schemas.microsoft.com/office/drawing/2014/main" id="{71BAF50E-DF53-304B-2398-395A33897264}"/>
              </a:ext>
            </a:extLst>
          </p:cNvPr>
          <p:cNvGrpSpPr/>
          <p:nvPr userDrawn="1"/>
        </p:nvGrpSpPr>
        <p:grpSpPr>
          <a:xfrm>
            <a:off x="4093210" y="1875154"/>
            <a:ext cx="830580" cy="732790"/>
            <a:chOff x="-9622790" y="1875154"/>
            <a:chExt cx="830580" cy="732790"/>
          </a:xfrm>
          <a:solidFill>
            <a:srgbClr val="FFFFFF"/>
          </a:solidFill>
        </p:grpSpPr>
        <p:sp>
          <p:nvSpPr>
            <p:cNvPr id="466" name="Freeform 465">
              <a:extLst>
                <a:ext uri="{FF2B5EF4-FFF2-40B4-BE49-F238E27FC236}">
                  <a16:creationId xmlns:a16="http://schemas.microsoft.com/office/drawing/2014/main" id="{BF0E291A-CB02-3D8D-3174-9AF87EA94F0A}"/>
                </a:ext>
              </a:extLst>
            </p:cNvPr>
            <p:cNvSpPr/>
            <p:nvPr/>
          </p:nvSpPr>
          <p:spPr>
            <a:xfrm>
              <a:off x="-9622790" y="2498725"/>
              <a:ext cx="71120" cy="83185"/>
            </a:xfrm>
            <a:custGeom>
              <a:avLst/>
              <a:gdLst>
                <a:gd name="connsiteX0" fmla="*/ 53975 w 71120"/>
                <a:gd name="connsiteY0" fmla="*/ 57150 h 83185"/>
                <a:gd name="connsiteX1" fmla="*/ 53975 w 71120"/>
                <a:gd name="connsiteY1" fmla="*/ 57150 h 83185"/>
                <a:gd name="connsiteX2" fmla="*/ 17780 w 71120"/>
                <a:gd name="connsiteY2" fmla="*/ 0 h 83185"/>
                <a:gd name="connsiteX3" fmla="*/ 0 w 71120"/>
                <a:gd name="connsiteY3" fmla="*/ 0 h 83185"/>
                <a:gd name="connsiteX4" fmla="*/ 0 w 71120"/>
                <a:gd name="connsiteY4" fmla="*/ 83185 h 83185"/>
                <a:gd name="connsiteX5" fmla="*/ 17145 w 71120"/>
                <a:gd name="connsiteY5" fmla="*/ 83185 h 83185"/>
                <a:gd name="connsiteX6" fmla="*/ 17145 w 71120"/>
                <a:gd name="connsiteY6" fmla="*/ 25400 h 83185"/>
                <a:gd name="connsiteX7" fmla="*/ 17145 w 71120"/>
                <a:gd name="connsiteY7" fmla="*/ 25400 h 83185"/>
                <a:gd name="connsiteX8" fmla="*/ 53340 w 71120"/>
                <a:gd name="connsiteY8" fmla="*/ 83185 h 83185"/>
                <a:gd name="connsiteX9" fmla="*/ 71120 w 71120"/>
                <a:gd name="connsiteY9" fmla="*/ 83185 h 83185"/>
                <a:gd name="connsiteX10" fmla="*/ 71120 w 71120"/>
                <a:gd name="connsiteY10" fmla="*/ 0 h 83185"/>
                <a:gd name="connsiteX11" fmla="*/ 53975 w 71120"/>
                <a:gd name="connsiteY11" fmla="*/ 0 h 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120" h="83185">
                  <a:moveTo>
                    <a:pt x="53975" y="57150"/>
                  </a:moveTo>
                  <a:lnTo>
                    <a:pt x="53975" y="57150"/>
                  </a:lnTo>
                  <a:lnTo>
                    <a:pt x="17780" y="0"/>
                  </a:lnTo>
                  <a:lnTo>
                    <a:pt x="0" y="0"/>
                  </a:lnTo>
                  <a:lnTo>
                    <a:pt x="0" y="83185"/>
                  </a:lnTo>
                  <a:lnTo>
                    <a:pt x="17145" y="83185"/>
                  </a:lnTo>
                  <a:lnTo>
                    <a:pt x="17145" y="25400"/>
                  </a:lnTo>
                  <a:lnTo>
                    <a:pt x="17145" y="25400"/>
                  </a:lnTo>
                  <a:lnTo>
                    <a:pt x="53340" y="83185"/>
                  </a:lnTo>
                  <a:lnTo>
                    <a:pt x="71120" y="83185"/>
                  </a:lnTo>
                  <a:lnTo>
                    <a:pt x="71120" y="0"/>
                  </a:lnTo>
                  <a:lnTo>
                    <a:pt x="53975" y="0"/>
                  </a:lnTo>
                  <a:close/>
                </a:path>
              </a:pathLst>
            </a:custGeom>
            <a:solidFill>
              <a:srgbClr val="FFFFFF"/>
            </a:solidFill>
            <a:ln w="6350" cap="flat">
              <a:noFill/>
              <a:prstDash val="solid"/>
              <a:miter/>
            </a:ln>
          </p:spPr>
          <p:txBody>
            <a:bodyPr rtlCol="0" anchor="ctr"/>
            <a:lstStyle/>
            <a:p>
              <a:endParaRPr lang="en-GB"/>
            </a:p>
          </p:txBody>
        </p:sp>
        <p:sp>
          <p:nvSpPr>
            <p:cNvPr id="467" name="Freeform 466">
              <a:extLst>
                <a:ext uri="{FF2B5EF4-FFF2-40B4-BE49-F238E27FC236}">
                  <a16:creationId xmlns:a16="http://schemas.microsoft.com/office/drawing/2014/main" id="{76E7A866-A22E-0DA8-16E6-1C2C9A181198}"/>
                </a:ext>
              </a:extLst>
            </p:cNvPr>
            <p:cNvSpPr/>
            <p:nvPr/>
          </p:nvSpPr>
          <p:spPr>
            <a:xfrm>
              <a:off x="-9533890"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FFFFFF"/>
            </a:solidFill>
            <a:ln w="6350" cap="flat">
              <a:noFill/>
              <a:prstDash val="solid"/>
              <a:miter/>
            </a:ln>
          </p:spPr>
          <p:txBody>
            <a:bodyPr rtlCol="0" anchor="ctr"/>
            <a:lstStyle/>
            <a:p>
              <a:endParaRPr lang="en-GB"/>
            </a:p>
          </p:txBody>
        </p:sp>
        <p:sp>
          <p:nvSpPr>
            <p:cNvPr id="468" name="Freeform 467">
              <a:extLst>
                <a:ext uri="{FF2B5EF4-FFF2-40B4-BE49-F238E27FC236}">
                  <a16:creationId xmlns:a16="http://schemas.microsoft.com/office/drawing/2014/main" id="{FB5F5657-43AE-53B1-3E26-C3FE40D97E87}"/>
                </a:ext>
              </a:extLst>
            </p:cNvPr>
            <p:cNvSpPr/>
            <p:nvPr/>
          </p:nvSpPr>
          <p:spPr>
            <a:xfrm>
              <a:off x="-9466580" y="2508885"/>
              <a:ext cx="45085" cy="74929"/>
            </a:xfrm>
            <a:custGeom>
              <a:avLst/>
              <a:gdLst>
                <a:gd name="connsiteX0" fmla="*/ 27305 w 45085"/>
                <a:gd name="connsiteY0" fmla="*/ 0 h 74929"/>
                <a:gd name="connsiteX1" fmla="*/ 10795 w 45085"/>
                <a:gd name="connsiteY1" fmla="*/ 0 h 74929"/>
                <a:gd name="connsiteX2" fmla="*/ 10795 w 45085"/>
                <a:gd name="connsiteY2" fmla="*/ 13970 h 74929"/>
                <a:gd name="connsiteX3" fmla="*/ 0 w 45085"/>
                <a:gd name="connsiteY3" fmla="*/ 17780 h 74929"/>
                <a:gd name="connsiteX4" fmla="*/ 0 w 45085"/>
                <a:gd name="connsiteY4" fmla="*/ 26670 h 74929"/>
                <a:gd name="connsiteX5" fmla="*/ 10795 w 45085"/>
                <a:gd name="connsiteY5" fmla="*/ 26670 h 74929"/>
                <a:gd name="connsiteX6" fmla="*/ 10795 w 45085"/>
                <a:gd name="connsiteY6" fmla="*/ 57785 h 74929"/>
                <a:gd name="connsiteX7" fmla="*/ 30480 w 45085"/>
                <a:gd name="connsiteY7" fmla="*/ 74930 h 74929"/>
                <a:gd name="connsiteX8" fmla="*/ 44450 w 45085"/>
                <a:gd name="connsiteY8" fmla="*/ 73025 h 74929"/>
                <a:gd name="connsiteX9" fmla="*/ 44450 w 45085"/>
                <a:gd name="connsiteY9" fmla="*/ 59690 h 74929"/>
                <a:gd name="connsiteX10" fmla="*/ 34925 w 45085"/>
                <a:gd name="connsiteY10" fmla="*/ 61595 h 74929"/>
                <a:gd name="connsiteX11" fmla="*/ 27940 w 45085"/>
                <a:gd name="connsiteY11" fmla="*/ 54610 h 74929"/>
                <a:gd name="connsiteX12" fmla="*/ 27940 w 45085"/>
                <a:gd name="connsiteY12" fmla="*/ 26670 h 74929"/>
                <a:gd name="connsiteX13" fmla="*/ 45086 w 45085"/>
                <a:gd name="connsiteY13" fmla="*/ 26670 h 74929"/>
                <a:gd name="connsiteX14" fmla="*/ 45086 w 45085"/>
                <a:gd name="connsiteY14" fmla="*/ 13970 h 74929"/>
                <a:gd name="connsiteX15" fmla="*/ 27940 w 45085"/>
                <a:gd name="connsiteY15" fmla="*/ 13970 h 74929"/>
                <a:gd name="connsiteX16" fmla="*/ 27940 w 45085"/>
                <a:gd name="connsiteY16" fmla="*/ 0 h 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85" h="74929">
                  <a:moveTo>
                    <a:pt x="27305" y="0"/>
                  </a:moveTo>
                  <a:lnTo>
                    <a:pt x="10795" y="0"/>
                  </a:lnTo>
                  <a:lnTo>
                    <a:pt x="10795" y="13970"/>
                  </a:lnTo>
                  <a:lnTo>
                    <a:pt x="0" y="17780"/>
                  </a:lnTo>
                  <a:lnTo>
                    <a:pt x="0" y="26670"/>
                  </a:lnTo>
                  <a:lnTo>
                    <a:pt x="10795" y="26670"/>
                  </a:lnTo>
                  <a:lnTo>
                    <a:pt x="10795" y="57785"/>
                  </a:lnTo>
                  <a:cubicBezTo>
                    <a:pt x="10795" y="69850"/>
                    <a:pt x="17145" y="74930"/>
                    <a:pt x="30480" y="74930"/>
                  </a:cubicBezTo>
                  <a:cubicBezTo>
                    <a:pt x="36195" y="74930"/>
                    <a:pt x="41911" y="73660"/>
                    <a:pt x="44450" y="73025"/>
                  </a:cubicBezTo>
                  <a:lnTo>
                    <a:pt x="44450" y="59690"/>
                  </a:lnTo>
                  <a:cubicBezTo>
                    <a:pt x="41911" y="60325"/>
                    <a:pt x="37465" y="61595"/>
                    <a:pt x="34925" y="61595"/>
                  </a:cubicBezTo>
                  <a:cubicBezTo>
                    <a:pt x="29845" y="61595"/>
                    <a:pt x="27940" y="59055"/>
                    <a:pt x="27940" y="54610"/>
                  </a:cubicBezTo>
                  <a:lnTo>
                    <a:pt x="27940" y="26670"/>
                  </a:lnTo>
                  <a:lnTo>
                    <a:pt x="45086" y="26670"/>
                  </a:lnTo>
                  <a:lnTo>
                    <a:pt x="45086" y="13970"/>
                  </a:lnTo>
                  <a:lnTo>
                    <a:pt x="27940" y="13970"/>
                  </a:lnTo>
                  <a:lnTo>
                    <a:pt x="27940" y="0"/>
                  </a:lnTo>
                  <a:close/>
                </a:path>
              </a:pathLst>
            </a:custGeom>
            <a:solidFill>
              <a:srgbClr val="FFFFFF"/>
            </a:solidFill>
            <a:ln w="6350" cap="flat">
              <a:noFill/>
              <a:prstDash val="solid"/>
              <a:miter/>
            </a:ln>
          </p:spPr>
          <p:txBody>
            <a:bodyPr rtlCol="0" anchor="ctr"/>
            <a:lstStyle/>
            <a:p>
              <a:endParaRPr lang="en-GB"/>
            </a:p>
          </p:txBody>
        </p:sp>
        <p:sp>
          <p:nvSpPr>
            <p:cNvPr id="469" name="Freeform 468">
              <a:extLst>
                <a:ext uri="{FF2B5EF4-FFF2-40B4-BE49-F238E27FC236}">
                  <a16:creationId xmlns:a16="http://schemas.microsoft.com/office/drawing/2014/main" id="{7D5F5D16-8A19-2C68-CB17-60AB67E2C219}"/>
                </a:ext>
              </a:extLst>
            </p:cNvPr>
            <p:cNvSpPr/>
            <p:nvPr/>
          </p:nvSpPr>
          <p:spPr>
            <a:xfrm>
              <a:off x="-9413240"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FFFFFF"/>
            </a:solidFill>
            <a:ln w="6350" cap="flat">
              <a:noFill/>
              <a:prstDash val="solid"/>
              <a:miter/>
            </a:ln>
          </p:spPr>
          <p:txBody>
            <a:bodyPr rtlCol="0" anchor="ctr"/>
            <a:lstStyle/>
            <a:p>
              <a:endParaRPr lang="en-GB"/>
            </a:p>
          </p:txBody>
        </p:sp>
        <p:sp>
          <p:nvSpPr>
            <p:cNvPr id="470" name="Freeform 469">
              <a:extLst>
                <a:ext uri="{FF2B5EF4-FFF2-40B4-BE49-F238E27FC236}">
                  <a16:creationId xmlns:a16="http://schemas.microsoft.com/office/drawing/2014/main" id="{F662E2FD-1FA7-7E8D-7413-0D6460E6F850}"/>
                </a:ext>
              </a:extLst>
            </p:cNvPr>
            <p:cNvSpPr/>
            <p:nvPr/>
          </p:nvSpPr>
          <p:spPr>
            <a:xfrm>
              <a:off x="-9356090" y="2496185"/>
              <a:ext cx="41909" cy="86360"/>
            </a:xfrm>
            <a:custGeom>
              <a:avLst/>
              <a:gdLst>
                <a:gd name="connsiteX0" fmla="*/ 27305 w 41909"/>
                <a:gd name="connsiteY0" fmla="*/ 19685 h 86360"/>
                <a:gd name="connsiteX1" fmla="*/ 33655 w 41909"/>
                <a:gd name="connsiteY1" fmla="*/ 13335 h 86360"/>
                <a:gd name="connsiteX2" fmla="*/ 41910 w 41909"/>
                <a:gd name="connsiteY2" fmla="*/ 13970 h 86360"/>
                <a:gd name="connsiteX3" fmla="*/ 41910 w 41909"/>
                <a:gd name="connsiteY3" fmla="*/ 635 h 86360"/>
                <a:gd name="connsiteX4" fmla="*/ 31115 w 41909"/>
                <a:gd name="connsiteY4" fmla="*/ 0 h 86360"/>
                <a:gd name="connsiteX5" fmla="*/ 10795 w 41909"/>
                <a:gd name="connsiteY5" fmla="*/ 19685 h 86360"/>
                <a:gd name="connsiteX6" fmla="*/ 10795 w 41909"/>
                <a:gd name="connsiteY6" fmla="*/ 27305 h 86360"/>
                <a:gd name="connsiteX7" fmla="*/ 0 w 41909"/>
                <a:gd name="connsiteY7" fmla="*/ 31115 h 86360"/>
                <a:gd name="connsiteX8" fmla="*/ 0 w 41909"/>
                <a:gd name="connsiteY8" fmla="*/ 40005 h 86360"/>
                <a:gd name="connsiteX9" fmla="*/ 10795 w 41909"/>
                <a:gd name="connsiteY9" fmla="*/ 40005 h 86360"/>
                <a:gd name="connsiteX10" fmla="*/ 10795 w 41909"/>
                <a:gd name="connsiteY10" fmla="*/ 86360 h 86360"/>
                <a:gd name="connsiteX11" fmla="*/ 27305 w 41909"/>
                <a:gd name="connsiteY11" fmla="*/ 86360 h 86360"/>
                <a:gd name="connsiteX12" fmla="*/ 27305 w 41909"/>
                <a:gd name="connsiteY12" fmla="*/ 40005 h 86360"/>
                <a:gd name="connsiteX13" fmla="*/ 41910 w 41909"/>
                <a:gd name="connsiteY13" fmla="*/ 40005 h 86360"/>
                <a:gd name="connsiteX14" fmla="*/ 41910 w 41909"/>
                <a:gd name="connsiteY14" fmla="*/ 27305 h 86360"/>
                <a:gd name="connsiteX15" fmla="*/ 27305 w 41909"/>
                <a:gd name="connsiteY15" fmla="*/ 27305 h 86360"/>
                <a:gd name="connsiteX16" fmla="*/ 27305 w 41909"/>
                <a:gd name="connsiteY16" fmla="*/ 19685 h 8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909" h="86360">
                  <a:moveTo>
                    <a:pt x="27305" y="19685"/>
                  </a:moveTo>
                  <a:cubicBezTo>
                    <a:pt x="27305" y="13970"/>
                    <a:pt x="29210" y="13335"/>
                    <a:pt x="33655" y="13335"/>
                  </a:cubicBezTo>
                  <a:cubicBezTo>
                    <a:pt x="35560" y="13335"/>
                    <a:pt x="39370" y="13970"/>
                    <a:pt x="41910" y="13970"/>
                  </a:cubicBezTo>
                  <a:lnTo>
                    <a:pt x="41910" y="635"/>
                  </a:lnTo>
                  <a:cubicBezTo>
                    <a:pt x="39370" y="0"/>
                    <a:pt x="34925" y="0"/>
                    <a:pt x="31115" y="0"/>
                  </a:cubicBezTo>
                  <a:cubicBezTo>
                    <a:pt x="19050" y="0"/>
                    <a:pt x="10795" y="5715"/>
                    <a:pt x="10795" y="19685"/>
                  </a:cubicBezTo>
                  <a:lnTo>
                    <a:pt x="10795" y="27305"/>
                  </a:lnTo>
                  <a:lnTo>
                    <a:pt x="0" y="31115"/>
                  </a:lnTo>
                  <a:lnTo>
                    <a:pt x="0" y="40005"/>
                  </a:lnTo>
                  <a:lnTo>
                    <a:pt x="10795" y="40005"/>
                  </a:lnTo>
                  <a:lnTo>
                    <a:pt x="10795" y="86360"/>
                  </a:lnTo>
                  <a:lnTo>
                    <a:pt x="27305" y="86360"/>
                  </a:lnTo>
                  <a:lnTo>
                    <a:pt x="27305" y="40005"/>
                  </a:lnTo>
                  <a:lnTo>
                    <a:pt x="41910" y="40005"/>
                  </a:lnTo>
                  <a:lnTo>
                    <a:pt x="41910" y="27305"/>
                  </a:lnTo>
                  <a:lnTo>
                    <a:pt x="27305" y="27305"/>
                  </a:lnTo>
                  <a:lnTo>
                    <a:pt x="27305" y="19685"/>
                  </a:lnTo>
                  <a:close/>
                </a:path>
              </a:pathLst>
            </a:custGeom>
            <a:solidFill>
              <a:srgbClr val="FFFFFF"/>
            </a:solidFill>
            <a:ln w="6350" cap="flat">
              <a:noFill/>
              <a:prstDash val="solid"/>
              <a:miter/>
            </a:ln>
          </p:spPr>
          <p:txBody>
            <a:bodyPr rtlCol="0" anchor="ctr"/>
            <a:lstStyle/>
            <a:p>
              <a:endParaRPr lang="en-GB"/>
            </a:p>
          </p:txBody>
        </p:sp>
        <p:sp>
          <p:nvSpPr>
            <p:cNvPr id="471" name="Freeform 470">
              <a:extLst>
                <a:ext uri="{FF2B5EF4-FFF2-40B4-BE49-F238E27FC236}">
                  <a16:creationId xmlns:a16="http://schemas.microsoft.com/office/drawing/2014/main" id="{178C54CB-BE86-422B-A0C6-0498E3D739A0}"/>
                </a:ext>
              </a:extLst>
            </p:cNvPr>
            <p:cNvSpPr/>
            <p:nvPr/>
          </p:nvSpPr>
          <p:spPr>
            <a:xfrm>
              <a:off x="-9307830" y="2520950"/>
              <a:ext cx="60325" cy="62229"/>
            </a:xfrm>
            <a:custGeom>
              <a:avLst/>
              <a:gdLst>
                <a:gd name="connsiteX0" fmla="*/ 53975 w 60325"/>
                <a:gd name="connsiteY0" fmla="*/ 48260 h 62229"/>
                <a:gd name="connsiteX1" fmla="*/ 53975 w 60325"/>
                <a:gd name="connsiteY1" fmla="*/ 24130 h 62229"/>
                <a:gd name="connsiteX2" fmla="*/ 28575 w 60325"/>
                <a:gd name="connsiteY2" fmla="*/ 0 h 62229"/>
                <a:gd name="connsiteX3" fmla="*/ 3811 w 60325"/>
                <a:gd name="connsiteY3" fmla="*/ 5080 h 62229"/>
                <a:gd name="connsiteX4" fmla="*/ 7620 w 60325"/>
                <a:gd name="connsiteY4" fmla="*/ 17780 h 62229"/>
                <a:gd name="connsiteX5" fmla="*/ 27305 w 60325"/>
                <a:gd name="connsiteY5" fmla="*/ 13335 h 62229"/>
                <a:gd name="connsiteX6" fmla="*/ 37465 w 60325"/>
                <a:gd name="connsiteY6" fmla="*/ 21590 h 62229"/>
                <a:gd name="connsiteX7" fmla="*/ 37465 w 60325"/>
                <a:gd name="connsiteY7" fmla="*/ 24130 h 62229"/>
                <a:gd name="connsiteX8" fmla="*/ 29211 w 60325"/>
                <a:gd name="connsiteY8" fmla="*/ 24130 h 62229"/>
                <a:gd name="connsiteX9" fmla="*/ 0 w 60325"/>
                <a:gd name="connsiteY9" fmla="*/ 43815 h 62229"/>
                <a:gd name="connsiteX10" fmla="*/ 20320 w 60325"/>
                <a:gd name="connsiteY10" fmla="*/ 62230 h 62229"/>
                <a:gd name="connsiteX11" fmla="*/ 39370 w 60325"/>
                <a:gd name="connsiteY11" fmla="*/ 54610 h 62229"/>
                <a:gd name="connsiteX12" fmla="*/ 39370 w 60325"/>
                <a:gd name="connsiteY12" fmla="*/ 54610 h 62229"/>
                <a:gd name="connsiteX13" fmla="*/ 51436 w 60325"/>
                <a:gd name="connsiteY13" fmla="*/ 61595 h 62229"/>
                <a:gd name="connsiteX14" fmla="*/ 60325 w 60325"/>
                <a:gd name="connsiteY14" fmla="*/ 60960 h 62229"/>
                <a:gd name="connsiteX15" fmla="*/ 60325 w 60325"/>
                <a:gd name="connsiteY15" fmla="*/ 49530 h 62229"/>
                <a:gd name="connsiteX16" fmla="*/ 55880 w 60325"/>
                <a:gd name="connsiteY16" fmla="*/ 49530 h 62229"/>
                <a:gd name="connsiteX17" fmla="*/ 53975 w 60325"/>
                <a:gd name="connsiteY17" fmla="*/ 48260 h 62229"/>
                <a:gd name="connsiteX18" fmla="*/ 37465 w 60325"/>
                <a:gd name="connsiteY18" fmla="*/ 45720 h 62229"/>
                <a:gd name="connsiteX19" fmla="*/ 24130 w 60325"/>
                <a:gd name="connsiteY19" fmla="*/ 49530 h 62229"/>
                <a:gd name="connsiteX20" fmla="*/ 16511 w 60325"/>
                <a:gd name="connsiteY20" fmla="*/ 42545 h 62229"/>
                <a:gd name="connsiteX21" fmla="*/ 31750 w 60325"/>
                <a:gd name="connsiteY21" fmla="*/ 35560 h 62229"/>
                <a:gd name="connsiteX22" fmla="*/ 38100 w 60325"/>
                <a:gd name="connsiteY22" fmla="*/ 35560 h 62229"/>
                <a:gd name="connsiteX23" fmla="*/ 38100 w 60325"/>
                <a:gd name="connsiteY23" fmla="*/ 45720 h 62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325" h="62229">
                  <a:moveTo>
                    <a:pt x="53975" y="48260"/>
                  </a:moveTo>
                  <a:lnTo>
                    <a:pt x="53975" y="24130"/>
                  </a:lnTo>
                  <a:cubicBezTo>
                    <a:pt x="53975" y="8890"/>
                    <a:pt x="45720" y="0"/>
                    <a:pt x="28575" y="0"/>
                  </a:cubicBezTo>
                  <a:cubicBezTo>
                    <a:pt x="19050" y="0"/>
                    <a:pt x="10161" y="2540"/>
                    <a:pt x="3811" y="5080"/>
                  </a:cubicBezTo>
                  <a:lnTo>
                    <a:pt x="7620" y="17780"/>
                  </a:lnTo>
                  <a:cubicBezTo>
                    <a:pt x="13336" y="15240"/>
                    <a:pt x="20955" y="13335"/>
                    <a:pt x="27305" y="13335"/>
                  </a:cubicBezTo>
                  <a:cubicBezTo>
                    <a:pt x="31115" y="13335"/>
                    <a:pt x="37465" y="14605"/>
                    <a:pt x="37465" y="21590"/>
                  </a:cubicBezTo>
                  <a:lnTo>
                    <a:pt x="37465" y="24130"/>
                  </a:lnTo>
                  <a:lnTo>
                    <a:pt x="29211" y="24130"/>
                  </a:lnTo>
                  <a:cubicBezTo>
                    <a:pt x="8255" y="24130"/>
                    <a:pt x="0" y="30480"/>
                    <a:pt x="0" y="43815"/>
                  </a:cubicBezTo>
                  <a:cubicBezTo>
                    <a:pt x="0" y="54610"/>
                    <a:pt x="6986" y="62230"/>
                    <a:pt x="20320" y="62230"/>
                  </a:cubicBezTo>
                  <a:cubicBezTo>
                    <a:pt x="27305" y="62230"/>
                    <a:pt x="35561" y="58420"/>
                    <a:pt x="39370" y="54610"/>
                  </a:cubicBezTo>
                  <a:lnTo>
                    <a:pt x="39370" y="54610"/>
                  </a:lnTo>
                  <a:cubicBezTo>
                    <a:pt x="41275" y="59055"/>
                    <a:pt x="45086" y="61595"/>
                    <a:pt x="51436" y="61595"/>
                  </a:cubicBezTo>
                  <a:cubicBezTo>
                    <a:pt x="55245" y="61595"/>
                    <a:pt x="57786" y="60960"/>
                    <a:pt x="60325" y="60960"/>
                  </a:cubicBezTo>
                  <a:lnTo>
                    <a:pt x="60325" y="49530"/>
                  </a:lnTo>
                  <a:lnTo>
                    <a:pt x="55880" y="49530"/>
                  </a:lnTo>
                  <a:cubicBezTo>
                    <a:pt x="53975" y="50165"/>
                    <a:pt x="53975" y="50165"/>
                    <a:pt x="53975" y="48260"/>
                  </a:cubicBezTo>
                  <a:close/>
                  <a:moveTo>
                    <a:pt x="37465" y="45720"/>
                  </a:moveTo>
                  <a:cubicBezTo>
                    <a:pt x="34290" y="48260"/>
                    <a:pt x="27940" y="49530"/>
                    <a:pt x="24130" y="49530"/>
                  </a:cubicBezTo>
                  <a:cubicBezTo>
                    <a:pt x="19050" y="49530"/>
                    <a:pt x="16511" y="47625"/>
                    <a:pt x="16511" y="42545"/>
                  </a:cubicBezTo>
                  <a:cubicBezTo>
                    <a:pt x="16511" y="38100"/>
                    <a:pt x="20955" y="35560"/>
                    <a:pt x="31750" y="35560"/>
                  </a:cubicBezTo>
                  <a:lnTo>
                    <a:pt x="38100" y="35560"/>
                  </a:lnTo>
                  <a:lnTo>
                    <a:pt x="38100" y="45720"/>
                  </a:lnTo>
                  <a:close/>
                </a:path>
              </a:pathLst>
            </a:custGeom>
            <a:solidFill>
              <a:srgbClr val="FFFFFF"/>
            </a:solidFill>
            <a:ln w="6350" cap="flat">
              <a:noFill/>
              <a:prstDash val="solid"/>
              <a:miter/>
            </a:ln>
          </p:spPr>
          <p:txBody>
            <a:bodyPr rtlCol="0" anchor="ctr"/>
            <a:lstStyle/>
            <a:p>
              <a:endParaRPr lang="en-GB"/>
            </a:p>
          </p:txBody>
        </p:sp>
        <p:sp>
          <p:nvSpPr>
            <p:cNvPr id="472" name="Freeform 471">
              <a:extLst>
                <a:ext uri="{FF2B5EF4-FFF2-40B4-BE49-F238E27FC236}">
                  <a16:creationId xmlns:a16="http://schemas.microsoft.com/office/drawing/2014/main" id="{4F18AAFA-57A4-841C-B2D1-AD6DB926E062}"/>
                </a:ext>
              </a:extLst>
            </p:cNvPr>
            <p:cNvSpPr/>
            <p:nvPr/>
          </p:nvSpPr>
          <p:spPr>
            <a:xfrm>
              <a:off x="-9235440" y="2496185"/>
              <a:ext cx="56515" cy="85725"/>
            </a:xfrm>
            <a:custGeom>
              <a:avLst/>
              <a:gdLst>
                <a:gd name="connsiteX0" fmla="*/ 34290 w 56515"/>
                <a:gd name="connsiteY0" fmla="*/ 24765 h 85725"/>
                <a:gd name="connsiteX1" fmla="*/ 16510 w 56515"/>
                <a:gd name="connsiteY1" fmla="*/ 31750 h 85725"/>
                <a:gd name="connsiteX2" fmla="*/ 16510 w 56515"/>
                <a:gd name="connsiteY2" fmla="*/ 31750 h 85725"/>
                <a:gd name="connsiteX3" fmla="*/ 16510 w 56515"/>
                <a:gd name="connsiteY3" fmla="*/ 0 h 85725"/>
                <a:gd name="connsiteX4" fmla="*/ 0 w 56515"/>
                <a:gd name="connsiteY4" fmla="*/ 0 h 85725"/>
                <a:gd name="connsiteX5" fmla="*/ 0 w 56515"/>
                <a:gd name="connsiteY5" fmla="*/ 85725 h 85725"/>
                <a:gd name="connsiteX6" fmla="*/ 16510 w 56515"/>
                <a:gd name="connsiteY6" fmla="*/ 85725 h 85725"/>
                <a:gd name="connsiteX7" fmla="*/ 16510 w 56515"/>
                <a:gd name="connsiteY7" fmla="*/ 43815 h 85725"/>
                <a:gd name="connsiteX8" fmla="*/ 29210 w 56515"/>
                <a:gd name="connsiteY8" fmla="*/ 38100 h 85725"/>
                <a:gd name="connsiteX9" fmla="*/ 40005 w 56515"/>
                <a:gd name="connsiteY9" fmla="*/ 50165 h 85725"/>
                <a:gd name="connsiteX10" fmla="*/ 40005 w 56515"/>
                <a:gd name="connsiteY10" fmla="*/ 85725 h 85725"/>
                <a:gd name="connsiteX11" fmla="*/ 56515 w 56515"/>
                <a:gd name="connsiteY11" fmla="*/ 85725 h 85725"/>
                <a:gd name="connsiteX12" fmla="*/ 56515 w 56515"/>
                <a:gd name="connsiteY12" fmla="*/ 48260 h 85725"/>
                <a:gd name="connsiteX13" fmla="*/ 34290 w 56515"/>
                <a:gd name="connsiteY13" fmla="*/ 2476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515" h="85725">
                  <a:moveTo>
                    <a:pt x="34290" y="24765"/>
                  </a:moveTo>
                  <a:cubicBezTo>
                    <a:pt x="26670" y="24765"/>
                    <a:pt x="19685" y="28575"/>
                    <a:pt x="16510" y="31750"/>
                  </a:cubicBezTo>
                  <a:lnTo>
                    <a:pt x="16510" y="31750"/>
                  </a:lnTo>
                  <a:lnTo>
                    <a:pt x="16510" y="0"/>
                  </a:lnTo>
                  <a:lnTo>
                    <a:pt x="0" y="0"/>
                  </a:lnTo>
                  <a:lnTo>
                    <a:pt x="0" y="85725"/>
                  </a:lnTo>
                  <a:lnTo>
                    <a:pt x="16510" y="85725"/>
                  </a:lnTo>
                  <a:lnTo>
                    <a:pt x="16510" y="43815"/>
                  </a:lnTo>
                  <a:cubicBezTo>
                    <a:pt x="19050" y="41275"/>
                    <a:pt x="23495" y="38100"/>
                    <a:pt x="29210" y="38100"/>
                  </a:cubicBezTo>
                  <a:cubicBezTo>
                    <a:pt x="36195" y="38100"/>
                    <a:pt x="40005" y="42545"/>
                    <a:pt x="40005" y="50165"/>
                  </a:cubicBezTo>
                  <a:lnTo>
                    <a:pt x="40005" y="85725"/>
                  </a:lnTo>
                  <a:lnTo>
                    <a:pt x="56515" y="85725"/>
                  </a:lnTo>
                  <a:lnTo>
                    <a:pt x="56515" y="48260"/>
                  </a:lnTo>
                  <a:cubicBezTo>
                    <a:pt x="56515" y="34290"/>
                    <a:pt x="48260" y="24765"/>
                    <a:pt x="34290" y="24765"/>
                  </a:cubicBezTo>
                  <a:close/>
                </a:path>
              </a:pathLst>
            </a:custGeom>
            <a:solidFill>
              <a:srgbClr val="FFFFFF"/>
            </a:solidFill>
            <a:ln w="6350" cap="flat">
              <a:noFill/>
              <a:prstDash val="solid"/>
              <a:miter/>
            </a:ln>
          </p:spPr>
          <p:txBody>
            <a:bodyPr rtlCol="0" anchor="ctr"/>
            <a:lstStyle/>
            <a:p>
              <a:endParaRPr lang="en-GB"/>
            </a:p>
          </p:txBody>
        </p:sp>
        <p:sp>
          <p:nvSpPr>
            <p:cNvPr id="473" name="Freeform 472">
              <a:extLst>
                <a:ext uri="{FF2B5EF4-FFF2-40B4-BE49-F238E27FC236}">
                  <a16:creationId xmlns:a16="http://schemas.microsoft.com/office/drawing/2014/main" id="{C3359B31-B8A5-FBD7-81EA-E47C325730B9}"/>
                </a:ext>
              </a:extLst>
            </p:cNvPr>
            <p:cNvSpPr/>
            <p:nvPr/>
          </p:nvSpPr>
          <p:spPr>
            <a:xfrm>
              <a:off x="-9163684" y="2520950"/>
              <a:ext cx="36194" cy="60960"/>
            </a:xfrm>
            <a:custGeom>
              <a:avLst/>
              <a:gdLst>
                <a:gd name="connsiteX0" fmla="*/ 15875 w 36194"/>
                <a:gd name="connsiteY0" fmla="*/ 8890 h 60960"/>
                <a:gd name="connsiteX1" fmla="*/ 15875 w 36194"/>
                <a:gd name="connsiteY1" fmla="*/ 8890 h 60960"/>
                <a:gd name="connsiteX2" fmla="*/ 13335 w 36194"/>
                <a:gd name="connsiteY2" fmla="*/ 1905 h 60960"/>
                <a:gd name="connsiteX3" fmla="*/ 0 w 36194"/>
                <a:gd name="connsiteY3" fmla="*/ 1905 h 60960"/>
                <a:gd name="connsiteX4" fmla="*/ 0 w 36194"/>
                <a:gd name="connsiteY4" fmla="*/ 60960 h 60960"/>
                <a:gd name="connsiteX5" fmla="*/ 16510 w 36194"/>
                <a:gd name="connsiteY5" fmla="*/ 60960 h 60960"/>
                <a:gd name="connsiteX6" fmla="*/ 16510 w 36194"/>
                <a:gd name="connsiteY6" fmla="*/ 19685 h 60960"/>
                <a:gd name="connsiteX7" fmla="*/ 29210 w 36194"/>
                <a:gd name="connsiteY7" fmla="*/ 13970 h 60960"/>
                <a:gd name="connsiteX8" fmla="*/ 34925 w 36194"/>
                <a:gd name="connsiteY8" fmla="*/ 14605 h 60960"/>
                <a:gd name="connsiteX9" fmla="*/ 36195 w 36194"/>
                <a:gd name="connsiteY9" fmla="*/ 635 h 60960"/>
                <a:gd name="connsiteX10" fmla="*/ 30480 w 36194"/>
                <a:gd name="connsiteY10" fmla="*/ 0 h 60960"/>
                <a:gd name="connsiteX11" fmla="*/ 15875 w 36194"/>
                <a:gd name="connsiteY11" fmla="*/ 8890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94" h="60960">
                  <a:moveTo>
                    <a:pt x="15875" y="8890"/>
                  </a:moveTo>
                  <a:lnTo>
                    <a:pt x="15875" y="8890"/>
                  </a:lnTo>
                  <a:lnTo>
                    <a:pt x="13335" y="1905"/>
                  </a:lnTo>
                  <a:lnTo>
                    <a:pt x="0" y="1905"/>
                  </a:lnTo>
                  <a:lnTo>
                    <a:pt x="0" y="60960"/>
                  </a:lnTo>
                  <a:lnTo>
                    <a:pt x="16510" y="60960"/>
                  </a:lnTo>
                  <a:lnTo>
                    <a:pt x="16510" y="19685"/>
                  </a:lnTo>
                  <a:cubicBezTo>
                    <a:pt x="18415" y="17145"/>
                    <a:pt x="22860" y="13970"/>
                    <a:pt x="29210" y="13970"/>
                  </a:cubicBezTo>
                  <a:cubicBezTo>
                    <a:pt x="30480" y="13970"/>
                    <a:pt x="33020" y="13970"/>
                    <a:pt x="34925" y="14605"/>
                  </a:cubicBezTo>
                  <a:lnTo>
                    <a:pt x="36195" y="635"/>
                  </a:lnTo>
                  <a:cubicBezTo>
                    <a:pt x="34925" y="0"/>
                    <a:pt x="32385" y="0"/>
                    <a:pt x="30480" y="0"/>
                  </a:cubicBezTo>
                  <a:cubicBezTo>
                    <a:pt x="23495" y="0"/>
                    <a:pt x="18415" y="5080"/>
                    <a:pt x="15875" y="8890"/>
                  </a:cubicBezTo>
                  <a:close/>
                </a:path>
              </a:pathLst>
            </a:custGeom>
            <a:solidFill>
              <a:srgbClr val="FFFFFF"/>
            </a:solidFill>
            <a:ln w="6350" cap="flat">
              <a:noFill/>
              <a:prstDash val="solid"/>
              <a:miter/>
            </a:ln>
          </p:spPr>
          <p:txBody>
            <a:bodyPr rtlCol="0" anchor="ctr"/>
            <a:lstStyle/>
            <a:p>
              <a:endParaRPr lang="en-GB"/>
            </a:p>
          </p:txBody>
        </p:sp>
        <p:sp>
          <p:nvSpPr>
            <p:cNvPr id="474" name="Freeform 473">
              <a:extLst>
                <a:ext uri="{FF2B5EF4-FFF2-40B4-BE49-F238E27FC236}">
                  <a16:creationId xmlns:a16="http://schemas.microsoft.com/office/drawing/2014/main" id="{5FF54FA4-1BA3-7C13-95B4-3576ECF50508}"/>
                </a:ext>
              </a:extLst>
            </p:cNvPr>
            <p:cNvSpPr/>
            <p:nvPr/>
          </p:nvSpPr>
          <p:spPr>
            <a:xfrm>
              <a:off x="-9119869" y="2522854"/>
              <a:ext cx="48894" cy="59055"/>
            </a:xfrm>
            <a:custGeom>
              <a:avLst/>
              <a:gdLst>
                <a:gd name="connsiteX0" fmla="*/ 1905 w 48894"/>
                <a:gd name="connsiteY0" fmla="*/ 12700 h 59055"/>
                <a:gd name="connsiteX1" fmla="*/ 28575 w 48894"/>
                <a:gd name="connsiteY1" fmla="*/ 12700 h 59055"/>
                <a:gd name="connsiteX2" fmla="*/ 28575 w 48894"/>
                <a:gd name="connsiteY2" fmla="*/ 12700 h 59055"/>
                <a:gd name="connsiteX3" fmla="*/ 0 w 48894"/>
                <a:gd name="connsiteY3" fmla="*/ 50165 h 59055"/>
                <a:gd name="connsiteX4" fmla="*/ 0 w 48894"/>
                <a:gd name="connsiteY4" fmla="*/ 59055 h 59055"/>
                <a:gd name="connsiteX5" fmla="*/ 48895 w 48894"/>
                <a:gd name="connsiteY5" fmla="*/ 59055 h 59055"/>
                <a:gd name="connsiteX6" fmla="*/ 48895 w 48894"/>
                <a:gd name="connsiteY6" fmla="*/ 46355 h 59055"/>
                <a:gd name="connsiteX7" fmla="*/ 20320 w 48894"/>
                <a:gd name="connsiteY7" fmla="*/ 46355 h 59055"/>
                <a:gd name="connsiteX8" fmla="*/ 20320 w 48894"/>
                <a:gd name="connsiteY8" fmla="*/ 46355 h 59055"/>
                <a:gd name="connsiteX9" fmla="*/ 48895 w 48894"/>
                <a:gd name="connsiteY9" fmla="*/ 8890 h 59055"/>
                <a:gd name="connsiteX10" fmla="*/ 48895 w 48894"/>
                <a:gd name="connsiteY10" fmla="*/ 0 h 59055"/>
                <a:gd name="connsiteX11" fmla="*/ 1905 w 48894"/>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4"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FFFFFF"/>
            </a:solidFill>
            <a:ln w="6350" cap="flat">
              <a:noFill/>
              <a:prstDash val="solid"/>
              <a:miter/>
            </a:ln>
          </p:spPr>
          <p:txBody>
            <a:bodyPr rtlCol="0" anchor="ctr"/>
            <a:lstStyle/>
            <a:p>
              <a:endParaRPr lang="en-GB"/>
            </a:p>
          </p:txBody>
        </p:sp>
        <p:sp>
          <p:nvSpPr>
            <p:cNvPr id="475" name="Freeform 474">
              <a:extLst>
                <a:ext uri="{FF2B5EF4-FFF2-40B4-BE49-F238E27FC236}">
                  <a16:creationId xmlns:a16="http://schemas.microsoft.com/office/drawing/2014/main" id="{B0B3D692-045A-F3F1-B480-4F8240CC7E19}"/>
                </a:ext>
              </a:extLst>
            </p:cNvPr>
            <p:cNvSpPr/>
            <p:nvPr/>
          </p:nvSpPr>
          <p:spPr>
            <a:xfrm>
              <a:off x="-9061450" y="2520950"/>
              <a:ext cx="57181" cy="62864"/>
            </a:xfrm>
            <a:custGeom>
              <a:avLst/>
              <a:gdLst>
                <a:gd name="connsiteX0" fmla="*/ 29845 w 57181"/>
                <a:gd name="connsiteY0" fmla="*/ 0 h 62864"/>
                <a:gd name="connsiteX1" fmla="*/ 0 w 57181"/>
                <a:gd name="connsiteY1" fmla="*/ 31115 h 62864"/>
                <a:gd name="connsiteX2" fmla="*/ 30480 w 57181"/>
                <a:gd name="connsiteY2" fmla="*/ 62865 h 62864"/>
                <a:gd name="connsiteX3" fmla="*/ 54610 w 57181"/>
                <a:gd name="connsiteY3" fmla="*/ 57785 h 62864"/>
                <a:gd name="connsiteX4" fmla="*/ 50800 w 57181"/>
                <a:gd name="connsiteY4" fmla="*/ 45720 h 62864"/>
                <a:gd name="connsiteX5" fmla="*/ 31750 w 57181"/>
                <a:gd name="connsiteY5" fmla="*/ 49530 h 62864"/>
                <a:gd name="connsiteX6" fmla="*/ 16510 w 57181"/>
                <a:gd name="connsiteY6" fmla="*/ 36195 h 62864"/>
                <a:gd name="connsiteX7" fmla="*/ 56515 w 57181"/>
                <a:gd name="connsiteY7" fmla="*/ 36195 h 62864"/>
                <a:gd name="connsiteX8" fmla="*/ 57150 w 57181"/>
                <a:gd name="connsiteY8" fmla="*/ 25400 h 62864"/>
                <a:gd name="connsiteX9" fmla="*/ 29845 w 57181"/>
                <a:gd name="connsiteY9" fmla="*/ 0 h 62864"/>
                <a:gd name="connsiteX10" fmla="*/ 41910 w 57181"/>
                <a:gd name="connsiteY10" fmla="*/ 26035 h 62864"/>
                <a:gd name="connsiteX11" fmla="*/ 16510 w 57181"/>
                <a:gd name="connsiteY11" fmla="*/ 26035 h 62864"/>
                <a:gd name="connsiteX12" fmla="*/ 29210 w 57181"/>
                <a:gd name="connsiteY12" fmla="*/ 12065 h 62864"/>
                <a:gd name="connsiteX13" fmla="*/ 41910 w 57181"/>
                <a:gd name="connsiteY13" fmla="*/ 24130 h 62864"/>
                <a:gd name="connsiteX14" fmla="*/ 41910 w 57181"/>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181" h="62864">
                  <a:moveTo>
                    <a:pt x="29845" y="0"/>
                  </a:move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150" y="29210"/>
                    <a:pt x="57150" y="25400"/>
                  </a:cubicBezTo>
                  <a:cubicBezTo>
                    <a:pt x="57785" y="11430"/>
                    <a:pt x="48895" y="0"/>
                    <a:pt x="29845" y="0"/>
                  </a:cubicBezTo>
                  <a:close/>
                  <a:moveTo>
                    <a:pt x="41910" y="26035"/>
                  </a:moveTo>
                  <a:lnTo>
                    <a:pt x="16510" y="26035"/>
                  </a:lnTo>
                  <a:cubicBezTo>
                    <a:pt x="17145" y="19050"/>
                    <a:pt x="20955" y="12065"/>
                    <a:pt x="29210" y="12065"/>
                  </a:cubicBezTo>
                  <a:cubicBezTo>
                    <a:pt x="38735" y="12065"/>
                    <a:pt x="41910" y="17780"/>
                    <a:pt x="41910" y="24130"/>
                  </a:cubicBezTo>
                  <a:cubicBezTo>
                    <a:pt x="42545" y="24765"/>
                    <a:pt x="42545" y="25400"/>
                    <a:pt x="41910" y="26035"/>
                  </a:cubicBezTo>
                  <a:close/>
                </a:path>
              </a:pathLst>
            </a:custGeom>
            <a:solidFill>
              <a:srgbClr val="FFFFFF"/>
            </a:solidFill>
            <a:ln w="6350" cap="flat">
              <a:noFill/>
              <a:prstDash val="solid"/>
              <a:miter/>
            </a:ln>
          </p:spPr>
          <p:txBody>
            <a:bodyPr rtlCol="0" anchor="ctr"/>
            <a:lstStyle/>
            <a:p>
              <a:endParaRPr lang="en-GB"/>
            </a:p>
          </p:txBody>
        </p:sp>
        <p:sp>
          <p:nvSpPr>
            <p:cNvPr id="476" name="Freeform 475">
              <a:extLst>
                <a:ext uri="{FF2B5EF4-FFF2-40B4-BE49-F238E27FC236}">
                  <a16:creationId xmlns:a16="http://schemas.microsoft.com/office/drawing/2014/main" id="{A373A05A-0BF3-1BEA-F203-C016FA171FDF}"/>
                </a:ext>
              </a:extLst>
            </p:cNvPr>
            <p:cNvSpPr/>
            <p:nvPr/>
          </p:nvSpPr>
          <p:spPr>
            <a:xfrm>
              <a:off x="-8991600"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FFFFFF"/>
            </a:solidFill>
            <a:ln w="6350" cap="flat">
              <a:noFill/>
              <a:prstDash val="solid"/>
              <a:miter/>
            </a:ln>
          </p:spPr>
          <p:txBody>
            <a:bodyPr rtlCol="0" anchor="ctr"/>
            <a:lstStyle/>
            <a:p>
              <a:endParaRPr lang="en-GB"/>
            </a:p>
          </p:txBody>
        </p:sp>
        <p:sp>
          <p:nvSpPr>
            <p:cNvPr id="477" name="Freeform 476">
              <a:extLst>
                <a:ext uri="{FF2B5EF4-FFF2-40B4-BE49-F238E27FC236}">
                  <a16:creationId xmlns:a16="http://schemas.microsoft.com/office/drawing/2014/main" id="{2EF21D17-2D51-03E8-DC6B-A89012AA2B71}"/>
                </a:ext>
              </a:extLst>
            </p:cNvPr>
            <p:cNvSpPr/>
            <p:nvPr/>
          </p:nvSpPr>
          <p:spPr>
            <a:xfrm>
              <a:off x="-8922384" y="2520950"/>
              <a:ext cx="59690" cy="86995"/>
            </a:xfrm>
            <a:custGeom>
              <a:avLst/>
              <a:gdLst>
                <a:gd name="connsiteX0" fmla="*/ 44450 w 59690"/>
                <a:gd name="connsiteY0" fmla="*/ 6985 h 86995"/>
                <a:gd name="connsiteX1" fmla="*/ 44450 w 59690"/>
                <a:gd name="connsiteY1" fmla="*/ 6985 h 86995"/>
                <a:gd name="connsiteX2" fmla="*/ 26035 w 59690"/>
                <a:gd name="connsiteY2" fmla="*/ 0 h 86995"/>
                <a:gd name="connsiteX3" fmla="*/ 0 w 59690"/>
                <a:gd name="connsiteY3" fmla="*/ 31115 h 86995"/>
                <a:gd name="connsiteX4" fmla="*/ 26035 w 59690"/>
                <a:gd name="connsiteY4" fmla="*/ 61595 h 86995"/>
                <a:gd name="connsiteX5" fmla="*/ 43180 w 59690"/>
                <a:gd name="connsiteY5" fmla="*/ 55880 h 86995"/>
                <a:gd name="connsiteX6" fmla="*/ 43180 w 59690"/>
                <a:gd name="connsiteY6" fmla="*/ 55880 h 86995"/>
                <a:gd name="connsiteX7" fmla="*/ 43180 w 59690"/>
                <a:gd name="connsiteY7" fmla="*/ 60325 h 86995"/>
                <a:gd name="connsiteX8" fmla="*/ 29210 w 59690"/>
                <a:gd name="connsiteY8" fmla="*/ 73660 h 86995"/>
                <a:gd name="connsiteX9" fmla="*/ 10795 w 59690"/>
                <a:gd name="connsiteY9" fmla="*/ 69215 h 86995"/>
                <a:gd name="connsiteX10" fmla="*/ 5715 w 59690"/>
                <a:gd name="connsiteY10" fmla="*/ 81280 h 86995"/>
                <a:gd name="connsiteX11" fmla="*/ 29210 w 59690"/>
                <a:gd name="connsiteY11" fmla="*/ 86995 h 86995"/>
                <a:gd name="connsiteX12" fmla="*/ 59690 w 59690"/>
                <a:gd name="connsiteY12" fmla="*/ 57150 h 86995"/>
                <a:gd name="connsiteX13" fmla="*/ 59690 w 59690"/>
                <a:gd name="connsiteY13" fmla="*/ 1905 h 86995"/>
                <a:gd name="connsiteX14" fmla="*/ 46990 w 59690"/>
                <a:gd name="connsiteY14" fmla="*/ 1905 h 86995"/>
                <a:gd name="connsiteX15" fmla="*/ 44450 w 59690"/>
                <a:gd name="connsiteY15" fmla="*/ 6985 h 86995"/>
                <a:gd name="connsiteX16" fmla="*/ 43180 w 59690"/>
                <a:gd name="connsiteY16" fmla="*/ 45085 h 86995"/>
                <a:gd name="connsiteX17" fmla="*/ 31115 w 59690"/>
                <a:gd name="connsiteY17" fmla="*/ 48260 h 86995"/>
                <a:gd name="connsiteX18" fmla="*/ 17145 w 59690"/>
                <a:gd name="connsiteY18" fmla="*/ 31115 h 86995"/>
                <a:gd name="connsiteX19" fmla="*/ 31115 w 59690"/>
                <a:gd name="connsiteY19" fmla="*/ 13970 h 86995"/>
                <a:gd name="connsiteX20" fmla="*/ 43180 w 59690"/>
                <a:gd name="connsiteY20" fmla="*/ 17780 h 86995"/>
                <a:gd name="connsiteX21" fmla="*/ 43180 w 59690"/>
                <a:gd name="connsiteY21" fmla="*/ 4508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690" h="86995">
                  <a:moveTo>
                    <a:pt x="44450" y="6985"/>
                  </a:moveTo>
                  <a:lnTo>
                    <a:pt x="44450" y="6985"/>
                  </a:lnTo>
                  <a:cubicBezTo>
                    <a:pt x="40005" y="3810"/>
                    <a:pt x="34925" y="0"/>
                    <a:pt x="26035" y="0"/>
                  </a:cubicBezTo>
                  <a:cubicBezTo>
                    <a:pt x="8890" y="0"/>
                    <a:pt x="0" y="13970"/>
                    <a:pt x="0" y="31115"/>
                  </a:cubicBezTo>
                  <a:cubicBezTo>
                    <a:pt x="0" y="48260"/>
                    <a:pt x="8890" y="61595"/>
                    <a:pt x="26035" y="61595"/>
                  </a:cubicBezTo>
                  <a:cubicBezTo>
                    <a:pt x="34290" y="61595"/>
                    <a:pt x="39370" y="58420"/>
                    <a:pt x="43180" y="55880"/>
                  </a:cubicBezTo>
                  <a:lnTo>
                    <a:pt x="43180" y="55880"/>
                  </a:lnTo>
                  <a:lnTo>
                    <a:pt x="43180" y="60325"/>
                  </a:lnTo>
                  <a:cubicBezTo>
                    <a:pt x="43180" y="69850"/>
                    <a:pt x="38735" y="73660"/>
                    <a:pt x="29210" y="73660"/>
                  </a:cubicBezTo>
                  <a:cubicBezTo>
                    <a:pt x="21590" y="73660"/>
                    <a:pt x="15875" y="71755"/>
                    <a:pt x="10795" y="69215"/>
                  </a:cubicBezTo>
                  <a:lnTo>
                    <a:pt x="5715" y="81280"/>
                  </a:lnTo>
                  <a:cubicBezTo>
                    <a:pt x="11430" y="84455"/>
                    <a:pt x="19050" y="86995"/>
                    <a:pt x="29210" y="86995"/>
                  </a:cubicBezTo>
                  <a:cubicBezTo>
                    <a:pt x="48895" y="86995"/>
                    <a:pt x="59690" y="76835"/>
                    <a:pt x="59690" y="57150"/>
                  </a:cubicBezTo>
                  <a:lnTo>
                    <a:pt x="59690" y="1905"/>
                  </a:lnTo>
                  <a:lnTo>
                    <a:pt x="46990" y="1905"/>
                  </a:lnTo>
                  <a:lnTo>
                    <a:pt x="44450" y="6985"/>
                  </a:lnTo>
                  <a:close/>
                  <a:moveTo>
                    <a:pt x="43180" y="45085"/>
                  </a:moveTo>
                  <a:cubicBezTo>
                    <a:pt x="40005" y="46990"/>
                    <a:pt x="35560" y="48260"/>
                    <a:pt x="31115" y="48260"/>
                  </a:cubicBezTo>
                  <a:cubicBezTo>
                    <a:pt x="20955" y="48260"/>
                    <a:pt x="17145" y="41910"/>
                    <a:pt x="17145" y="31115"/>
                  </a:cubicBezTo>
                  <a:cubicBezTo>
                    <a:pt x="17145" y="20320"/>
                    <a:pt x="21590" y="13970"/>
                    <a:pt x="31115" y="13970"/>
                  </a:cubicBezTo>
                  <a:cubicBezTo>
                    <a:pt x="35560" y="13970"/>
                    <a:pt x="40005" y="15875"/>
                    <a:pt x="43180" y="17780"/>
                  </a:cubicBezTo>
                  <a:lnTo>
                    <a:pt x="43180" y="45085"/>
                  </a:lnTo>
                  <a:close/>
                </a:path>
              </a:pathLst>
            </a:custGeom>
            <a:solidFill>
              <a:srgbClr val="FFFFFF"/>
            </a:solidFill>
            <a:ln w="6350" cap="flat">
              <a:noFill/>
              <a:prstDash val="solid"/>
              <a:miter/>
            </a:ln>
          </p:spPr>
          <p:txBody>
            <a:bodyPr rtlCol="0" anchor="ctr"/>
            <a:lstStyle/>
            <a:p>
              <a:endParaRPr lang="en-GB"/>
            </a:p>
          </p:txBody>
        </p:sp>
        <p:sp>
          <p:nvSpPr>
            <p:cNvPr id="478" name="Freeform 477">
              <a:extLst>
                <a:ext uri="{FF2B5EF4-FFF2-40B4-BE49-F238E27FC236}">
                  <a16:creationId xmlns:a16="http://schemas.microsoft.com/office/drawing/2014/main" id="{3663E9C6-280D-4126-A7E2-0CF0161550E5}"/>
                </a:ext>
              </a:extLst>
            </p:cNvPr>
            <p:cNvSpPr/>
            <p:nvPr/>
          </p:nvSpPr>
          <p:spPr>
            <a:xfrm>
              <a:off x="-8849994" y="2520950"/>
              <a:ext cx="57784" cy="62864"/>
            </a:xfrm>
            <a:custGeom>
              <a:avLst/>
              <a:gdLst>
                <a:gd name="connsiteX0" fmla="*/ 57785 w 57784"/>
                <a:gd name="connsiteY0" fmla="*/ 25400 h 62864"/>
                <a:gd name="connsiteX1" fmla="*/ 29845 w 57784"/>
                <a:gd name="connsiteY1" fmla="*/ 0 h 62864"/>
                <a:gd name="connsiteX2" fmla="*/ 0 w 57784"/>
                <a:gd name="connsiteY2" fmla="*/ 31115 h 62864"/>
                <a:gd name="connsiteX3" fmla="*/ 30480 w 57784"/>
                <a:gd name="connsiteY3" fmla="*/ 62865 h 62864"/>
                <a:gd name="connsiteX4" fmla="*/ 54610 w 57784"/>
                <a:gd name="connsiteY4" fmla="*/ 57785 h 62864"/>
                <a:gd name="connsiteX5" fmla="*/ 50800 w 57784"/>
                <a:gd name="connsiteY5" fmla="*/ 45720 h 62864"/>
                <a:gd name="connsiteX6" fmla="*/ 31750 w 57784"/>
                <a:gd name="connsiteY6" fmla="*/ 49530 h 62864"/>
                <a:gd name="connsiteX7" fmla="*/ 16510 w 57784"/>
                <a:gd name="connsiteY7" fmla="*/ 36195 h 62864"/>
                <a:gd name="connsiteX8" fmla="*/ 56514 w 57784"/>
                <a:gd name="connsiteY8" fmla="*/ 36195 h 62864"/>
                <a:gd name="connsiteX9" fmla="*/ 57785 w 57784"/>
                <a:gd name="connsiteY9" fmla="*/ 25400 h 62864"/>
                <a:gd name="connsiteX10" fmla="*/ 42545 w 57784"/>
                <a:gd name="connsiteY10" fmla="*/ 26035 h 62864"/>
                <a:gd name="connsiteX11" fmla="*/ 17145 w 57784"/>
                <a:gd name="connsiteY11" fmla="*/ 26035 h 62864"/>
                <a:gd name="connsiteX12" fmla="*/ 29845 w 57784"/>
                <a:gd name="connsiteY12" fmla="*/ 12065 h 62864"/>
                <a:gd name="connsiteX13" fmla="*/ 42545 w 57784"/>
                <a:gd name="connsiteY13" fmla="*/ 24130 h 62864"/>
                <a:gd name="connsiteX14" fmla="*/ 42545 w 57784"/>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784" h="62864">
                  <a:moveTo>
                    <a:pt x="57785" y="25400"/>
                  </a:moveTo>
                  <a:cubicBezTo>
                    <a:pt x="57785" y="11430"/>
                    <a:pt x="49530" y="0"/>
                    <a:pt x="29845" y="0"/>
                  </a:cubicBez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4" y="36195"/>
                  </a:lnTo>
                  <a:cubicBezTo>
                    <a:pt x="57150" y="34290"/>
                    <a:pt x="57785" y="29210"/>
                    <a:pt x="57785" y="25400"/>
                  </a:cubicBezTo>
                  <a:close/>
                  <a:moveTo>
                    <a:pt x="42545" y="26035"/>
                  </a:moveTo>
                  <a:lnTo>
                    <a:pt x="17145" y="26035"/>
                  </a:lnTo>
                  <a:cubicBezTo>
                    <a:pt x="17780" y="19050"/>
                    <a:pt x="21589" y="12065"/>
                    <a:pt x="29845" y="12065"/>
                  </a:cubicBezTo>
                  <a:cubicBezTo>
                    <a:pt x="39370" y="12065"/>
                    <a:pt x="42545" y="17780"/>
                    <a:pt x="42545" y="24130"/>
                  </a:cubicBezTo>
                  <a:cubicBezTo>
                    <a:pt x="42545" y="24765"/>
                    <a:pt x="42545" y="25400"/>
                    <a:pt x="42545" y="26035"/>
                  </a:cubicBezTo>
                  <a:close/>
                </a:path>
              </a:pathLst>
            </a:custGeom>
            <a:solidFill>
              <a:srgbClr val="FFFFFF"/>
            </a:solidFill>
            <a:ln w="6350" cap="flat">
              <a:noFill/>
              <a:prstDash val="solid"/>
              <a:miter/>
            </a:ln>
          </p:spPr>
          <p:txBody>
            <a:bodyPr rtlCol="0" anchor="ctr"/>
            <a:lstStyle/>
            <a:p>
              <a:endParaRPr lang="en-GB"/>
            </a:p>
          </p:txBody>
        </p:sp>
        <p:sp>
          <p:nvSpPr>
            <p:cNvPr id="479" name="Freeform 478">
              <a:extLst>
                <a:ext uri="{FF2B5EF4-FFF2-40B4-BE49-F238E27FC236}">
                  <a16:creationId xmlns:a16="http://schemas.microsoft.com/office/drawing/2014/main" id="{D6FD66B6-7D72-23F5-3E6B-88781A2718A6}"/>
                </a:ext>
              </a:extLst>
            </p:cNvPr>
            <p:cNvSpPr/>
            <p:nvPr/>
          </p:nvSpPr>
          <p:spPr>
            <a:xfrm>
              <a:off x="-9457690" y="1875154"/>
              <a:ext cx="500380" cy="496570"/>
            </a:xfrm>
            <a:custGeom>
              <a:avLst/>
              <a:gdLst>
                <a:gd name="connsiteX0" fmla="*/ 250190 w 500380"/>
                <a:gd name="connsiteY0" fmla="*/ 496570 h 496570"/>
                <a:gd name="connsiteX1" fmla="*/ 250190 w 500380"/>
                <a:gd name="connsiteY1" fmla="*/ 496570 h 496570"/>
                <a:gd name="connsiteX2" fmla="*/ 500380 w 500380"/>
                <a:gd name="connsiteY2" fmla="*/ 248285 h 496570"/>
                <a:gd name="connsiteX3" fmla="*/ 250190 w 500380"/>
                <a:gd name="connsiteY3" fmla="*/ 0 h 496570"/>
                <a:gd name="connsiteX4" fmla="*/ 0 w 500380"/>
                <a:gd name="connsiteY4" fmla="*/ 248285 h 496570"/>
                <a:gd name="connsiteX5" fmla="*/ 250190 w 500380"/>
                <a:gd name="connsiteY5" fmla="*/ 496570 h 496570"/>
                <a:gd name="connsiteX6" fmla="*/ 250190 w 500380"/>
                <a:gd name="connsiteY6" fmla="*/ 22225 h 496570"/>
                <a:gd name="connsiteX7" fmla="*/ 324485 w 500380"/>
                <a:gd name="connsiteY7" fmla="*/ 34925 h 496570"/>
                <a:gd name="connsiteX8" fmla="*/ 253365 w 500380"/>
                <a:gd name="connsiteY8" fmla="*/ 193675 h 496570"/>
                <a:gd name="connsiteX9" fmla="*/ 250825 w 500380"/>
                <a:gd name="connsiteY9" fmla="*/ 196215 h 496570"/>
                <a:gd name="connsiteX10" fmla="*/ 250825 w 500380"/>
                <a:gd name="connsiteY10" fmla="*/ 196215 h 496570"/>
                <a:gd name="connsiteX11" fmla="*/ 248285 w 500380"/>
                <a:gd name="connsiteY11" fmla="*/ 193675 h 496570"/>
                <a:gd name="connsiteX12" fmla="*/ 177165 w 500380"/>
                <a:gd name="connsiteY12" fmla="*/ 34925 h 496570"/>
                <a:gd name="connsiteX13" fmla="*/ 250190 w 500380"/>
                <a:gd name="connsiteY13" fmla="*/ 22225 h 496570"/>
                <a:gd name="connsiteX14" fmla="*/ 140970 w 500380"/>
                <a:gd name="connsiteY14" fmla="*/ 50800 h 496570"/>
                <a:gd name="connsiteX15" fmla="*/ 223520 w 500380"/>
                <a:gd name="connsiteY15" fmla="*/ 234315 h 496570"/>
                <a:gd name="connsiteX16" fmla="*/ 229870 w 500380"/>
                <a:gd name="connsiteY16" fmla="*/ 238760 h 496570"/>
                <a:gd name="connsiteX17" fmla="*/ 269875 w 500380"/>
                <a:gd name="connsiteY17" fmla="*/ 238760 h 496570"/>
                <a:gd name="connsiteX18" fmla="*/ 276225 w 500380"/>
                <a:gd name="connsiteY18" fmla="*/ 234315 h 496570"/>
                <a:gd name="connsiteX19" fmla="*/ 358775 w 500380"/>
                <a:gd name="connsiteY19" fmla="*/ 50800 h 496570"/>
                <a:gd name="connsiteX20" fmla="*/ 440055 w 500380"/>
                <a:gd name="connsiteY20" fmla="*/ 127000 h 496570"/>
                <a:gd name="connsiteX21" fmla="*/ 324485 w 500380"/>
                <a:gd name="connsiteY21" fmla="*/ 358140 h 496570"/>
                <a:gd name="connsiteX22" fmla="*/ 321945 w 500380"/>
                <a:gd name="connsiteY22" fmla="*/ 360680 h 496570"/>
                <a:gd name="connsiteX23" fmla="*/ 319405 w 500380"/>
                <a:gd name="connsiteY23" fmla="*/ 358140 h 496570"/>
                <a:gd name="connsiteX24" fmla="*/ 276225 w 500380"/>
                <a:gd name="connsiteY24" fmla="*/ 259715 h 496570"/>
                <a:gd name="connsiteX25" fmla="*/ 269875 w 500380"/>
                <a:gd name="connsiteY25" fmla="*/ 255270 h 496570"/>
                <a:gd name="connsiteX26" fmla="*/ 229870 w 500380"/>
                <a:gd name="connsiteY26" fmla="*/ 255270 h 496570"/>
                <a:gd name="connsiteX27" fmla="*/ 223520 w 500380"/>
                <a:gd name="connsiteY27" fmla="*/ 259715 h 496570"/>
                <a:gd name="connsiteX28" fmla="*/ 180340 w 500380"/>
                <a:gd name="connsiteY28" fmla="*/ 358140 h 496570"/>
                <a:gd name="connsiteX29" fmla="*/ 177800 w 500380"/>
                <a:gd name="connsiteY29" fmla="*/ 360680 h 496570"/>
                <a:gd name="connsiteX30" fmla="*/ 177800 w 500380"/>
                <a:gd name="connsiteY30" fmla="*/ 360680 h 496570"/>
                <a:gd name="connsiteX31" fmla="*/ 175260 w 500380"/>
                <a:gd name="connsiteY31" fmla="*/ 358140 h 496570"/>
                <a:gd name="connsiteX32" fmla="*/ 59690 w 500380"/>
                <a:gd name="connsiteY32" fmla="*/ 127000 h 496570"/>
                <a:gd name="connsiteX33" fmla="*/ 140970 w 500380"/>
                <a:gd name="connsiteY33" fmla="*/ 50800 h 496570"/>
                <a:gd name="connsiteX34" fmla="*/ 38100 w 500380"/>
                <a:gd name="connsiteY34" fmla="*/ 169545 h 496570"/>
                <a:gd name="connsiteX35" fmla="*/ 170815 w 500380"/>
                <a:gd name="connsiteY35" fmla="*/ 434340 h 496570"/>
                <a:gd name="connsiteX36" fmla="*/ 179070 w 500380"/>
                <a:gd name="connsiteY36" fmla="*/ 440690 h 496570"/>
                <a:gd name="connsiteX37" fmla="*/ 187325 w 500380"/>
                <a:gd name="connsiteY37" fmla="*/ 434340 h 496570"/>
                <a:gd name="connsiteX38" fmla="*/ 248285 w 500380"/>
                <a:gd name="connsiteY38" fmla="*/ 298450 h 496570"/>
                <a:gd name="connsiteX39" fmla="*/ 250825 w 500380"/>
                <a:gd name="connsiteY39" fmla="*/ 295910 h 496570"/>
                <a:gd name="connsiteX40" fmla="*/ 253365 w 500380"/>
                <a:gd name="connsiteY40" fmla="*/ 298450 h 496570"/>
                <a:gd name="connsiteX41" fmla="*/ 314325 w 500380"/>
                <a:gd name="connsiteY41" fmla="*/ 434340 h 496570"/>
                <a:gd name="connsiteX42" fmla="*/ 322580 w 500380"/>
                <a:gd name="connsiteY42" fmla="*/ 440690 h 496570"/>
                <a:gd name="connsiteX43" fmla="*/ 330835 w 500380"/>
                <a:gd name="connsiteY43" fmla="*/ 434340 h 496570"/>
                <a:gd name="connsiteX44" fmla="*/ 463550 w 500380"/>
                <a:gd name="connsiteY44" fmla="*/ 169545 h 496570"/>
                <a:gd name="connsiteX45" fmla="*/ 478155 w 500380"/>
                <a:gd name="connsiteY45" fmla="*/ 248285 h 496570"/>
                <a:gd name="connsiteX46" fmla="*/ 251460 w 500380"/>
                <a:gd name="connsiteY46" fmla="*/ 473710 h 496570"/>
                <a:gd name="connsiteX47" fmla="*/ 24765 w 500380"/>
                <a:gd name="connsiteY47" fmla="*/ 248285 h 496570"/>
                <a:gd name="connsiteX48" fmla="*/ 38100 w 500380"/>
                <a:gd name="connsiteY48" fmla="*/ 169545 h 496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00380" h="496570">
                  <a:moveTo>
                    <a:pt x="250190" y="496570"/>
                  </a:moveTo>
                  <a:lnTo>
                    <a:pt x="250190" y="496570"/>
                  </a:lnTo>
                  <a:cubicBezTo>
                    <a:pt x="388620" y="496570"/>
                    <a:pt x="500380" y="385445"/>
                    <a:pt x="500380" y="248285"/>
                  </a:cubicBezTo>
                  <a:cubicBezTo>
                    <a:pt x="500380" y="111125"/>
                    <a:pt x="388620" y="0"/>
                    <a:pt x="250190" y="0"/>
                  </a:cubicBezTo>
                  <a:cubicBezTo>
                    <a:pt x="111760" y="0"/>
                    <a:pt x="0" y="111125"/>
                    <a:pt x="0" y="248285"/>
                  </a:cubicBezTo>
                  <a:cubicBezTo>
                    <a:pt x="0" y="385445"/>
                    <a:pt x="111760" y="496570"/>
                    <a:pt x="250190" y="496570"/>
                  </a:cubicBezTo>
                  <a:close/>
                  <a:moveTo>
                    <a:pt x="250190" y="22225"/>
                  </a:moveTo>
                  <a:cubicBezTo>
                    <a:pt x="276225" y="22225"/>
                    <a:pt x="300990" y="26670"/>
                    <a:pt x="324485" y="34925"/>
                  </a:cubicBezTo>
                  <a:lnTo>
                    <a:pt x="253365" y="193675"/>
                  </a:lnTo>
                  <a:cubicBezTo>
                    <a:pt x="252730" y="194945"/>
                    <a:pt x="252095" y="196215"/>
                    <a:pt x="250825" y="196215"/>
                  </a:cubicBezTo>
                  <a:lnTo>
                    <a:pt x="250825" y="196215"/>
                  </a:lnTo>
                  <a:cubicBezTo>
                    <a:pt x="249555" y="196215"/>
                    <a:pt x="248920" y="194945"/>
                    <a:pt x="248285" y="193675"/>
                  </a:cubicBezTo>
                  <a:lnTo>
                    <a:pt x="177165" y="34925"/>
                  </a:lnTo>
                  <a:cubicBezTo>
                    <a:pt x="199390" y="26670"/>
                    <a:pt x="224155" y="22225"/>
                    <a:pt x="250190" y="22225"/>
                  </a:cubicBezTo>
                  <a:close/>
                  <a:moveTo>
                    <a:pt x="140970" y="50800"/>
                  </a:moveTo>
                  <a:lnTo>
                    <a:pt x="223520" y="234315"/>
                  </a:lnTo>
                  <a:cubicBezTo>
                    <a:pt x="224790" y="237490"/>
                    <a:pt x="227330" y="238760"/>
                    <a:pt x="229870" y="238760"/>
                  </a:cubicBezTo>
                  <a:lnTo>
                    <a:pt x="269875" y="238760"/>
                  </a:lnTo>
                  <a:cubicBezTo>
                    <a:pt x="272415" y="238760"/>
                    <a:pt x="274955" y="238125"/>
                    <a:pt x="276225" y="234315"/>
                  </a:cubicBezTo>
                  <a:lnTo>
                    <a:pt x="358775" y="50800"/>
                  </a:lnTo>
                  <a:cubicBezTo>
                    <a:pt x="391795" y="69215"/>
                    <a:pt x="419735" y="95885"/>
                    <a:pt x="440055" y="127000"/>
                  </a:cubicBezTo>
                  <a:lnTo>
                    <a:pt x="324485" y="358140"/>
                  </a:lnTo>
                  <a:cubicBezTo>
                    <a:pt x="323850" y="359410"/>
                    <a:pt x="323215" y="360680"/>
                    <a:pt x="321945" y="360680"/>
                  </a:cubicBezTo>
                  <a:cubicBezTo>
                    <a:pt x="320675" y="360680"/>
                    <a:pt x="320040" y="359410"/>
                    <a:pt x="319405" y="358140"/>
                  </a:cubicBezTo>
                  <a:lnTo>
                    <a:pt x="276225" y="259715"/>
                  </a:lnTo>
                  <a:cubicBezTo>
                    <a:pt x="274955" y="256540"/>
                    <a:pt x="272415" y="255270"/>
                    <a:pt x="269875" y="255270"/>
                  </a:cubicBezTo>
                  <a:lnTo>
                    <a:pt x="229870" y="255270"/>
                  </a:lnTo>
                  <a:cubicBezTo>
                    <a:pt x="227330" y="255270"/>
                    <a:pt x="224790" y="255905"/>
                    <a:pt x="223520" y="259715"/>
                  </a:cubicBezTo>
                  <a:lnTo>
                    <a:pt x="180340" y="358140"/>
                  </a:lnTo>
                  <a:cubicBezTo>
                    <a:pt x="179705" y="359410"/>
                    <a:pt x="179070" y="360680"/>
                    <a:pt x="177800" y="360680"/>
                  </a:cubicBezTo>
                  <a:lnTo>
                    <a:pt x="177800" y="360680"/>
                  </a:lnTo>
                  <a:cubicBezTo>
                    <a:pt x="176530" y="360680"/>
                    <a:pt x="175895" y="359410"/>
                    <a:pt x="175260" y="358140"/>
                  </a:cubicBezTo>
                  <a:lnTo>
                    <a:pt x="59690" y="127000"/>
                  </a:lnTo>
                  <a:cubicBezTo>
                    <a:pt x="80645" y="95250"/>
                    <a:pt x="107950" y="69215"/>
                    <a:pt x="140970" y="50800"/>
                  </a:cubicBezTo>
                  <a:close/>
                  <a:moveTo>
                    <a:pt x="38100" y="169545"/>
                  </a:moveTo>
                  <a:lnTo>
                    <a:pt x="170815" y="434340"/>
                  </a:lnTo>
                  <a:cubicBezTo>
                    <a:pt x="172720" y="437515"/>
                    <a:pt x="174625" y="440690"/>
                    <a:pt x="179070" y="440690"/>
                  </a:cubicBezTo>
                  <a:cubicBezTo>
                    <a:pt x="183515" y="440690"/>
                    <a:pt x="185420" y="438150"/>
                    <a:pt x="187325" y="434340"/>
                  </a:cubicBezTo>
                  <a:lnTo>
                    <a:pt x="248285" y="298450"/>
                  </a:lnTo>
                  <a:cubicBezTo>
                    <a:pt x="248920" y="297180"/>
                    <a:pt x="249555" y="295910"/>
                    <a:pt x="250825" y="295910"/>
                  </a:cubicBezTo>
                  <a:cubicBezTo>
                    <a:pt x="252095" y="295910"/>
                    <a:pt x="252730" y="297180"/>
                    <a:pt x="253365" y="298450"/>
                  </a:cubicBezTo>
                  <a:lnTo>
                    <a:pt x="314325" y="434340"/>
                  </a:lnTo>
                  <a:cubicBezTo>
                    <a:pt x="315595" y="437515"/>
                    <a:pt x="318135" y="440690"/>
                    <a:pt x="322580" y="440690"/>
                  </a:cubicBezTo>
                  <a:cubicBezTo>
                    <a:pt x="327025" y="440690"/>
                    <a:pt x="328930" y="438150"/>
                    <a:pt x="330835" y="434340"/>
                  </a:cubicBezTo>
                  <a:lnTo>
                    <a:pt x="463550" y="169545"/>
                  </a:lnTo>
                  <a:cubicBezTo>
                    <a:pt x="473075" y="194310"/>
                    <a:pt x="478155" y="220345"/>
                    <a:pt x="478155" y="248285"/>
                  </a:cubicBezTo>
                  <a:cubicBezTo>
                    <a:pt x="478155" y="372110"/>
                    <a:pt x="375920" y="473710"/>
                    <a:pt x="251460" y="473710"/>
                  </a:cubicBezTo>
                  <a:cubicBezTo>
                    <a:pt x="127000" y="473710"/>
                    <a:pt x="24765" y="371475"/>
                    <a:pt x="24765" y="248285"/>
                  </a:cubicBezTo>
                  <a:cubicBezTo>
                    <a:pt x="23495" y="220345"/>
                    <a:pt x="28575" y="193675"/>
                    <a:pt x="38100" y="169545"/>
                  </a:cubicBezTo>
                  <a:close/>
                </a:path>
              </a:pathLst>
            </a:custGeom>
            <a:solidFill>
              <a:srgbClr val="FFFFFF"/>
            </a:solidFill>
            <a:ln w="6350" cap="flat">
              <a:noFill/>
              <a:prstDash val="solid"/>
              <a:miter/>
            </a:ln>
          </p:spPr>
          <p:txBody>
            <a:bodyPr rtlCol="0" anchor="ctr"/>
            <a:lstStyle/>
            <a:p>
              <a:endParaRPr lang="en-GB"/>
            </a:p>
          </p:txBody>
        </p:sp>
      </p:grpSp>
      <p:grpSp>
        <p:nvGrpSpPr>
          <p:cNvPr id="480" name="Graphic 79">
            <a:extLst>
              <a:ext uri="{FF2B5EF4-FFF2-40B4-BE49-F238E27FC236}">
                <a16:creationId xmlns:a16="http://schemas.microsoft.com/office/drawing/2014/main" id="{DC1890D5-942B-0087-83D3-B04E04F6D18B}"/>
              </a:ext>
            </a:extLst>
          </p:cNvPr>
          <p:cNvGrpSpPr/>
          <p:nvPr userDrawn="1"/>
        </p:nvGrpSpPr>
        <p:grpSpPr>
          <a:xfrm>
            <a:off x="4136391" y="4263390"/>
            <a:ext cx="775969" cy="435609"/>
            <a:chOff x="-9579609" y="4263390"/>
            <a:chExt cx="775969" cy="435609"/>
          </a:xfrm>
          <a:solidFill>
            <a:srgbClr val="FFFFFF"/>
          </a:solidFill>
        </p:grpSpPr>
        <p:sp>
          <p:nvSpPr>
            <p:cNvPr id="481" name="Freeform 480">
              <a:extLst>
                <a:ext uri="{FF2B5EF4-FFF2-40B4-BE49-F238E27FC236}">
                  <a16:creationId xmlns:a16="http://schemas.microsoft.com/office/drawing/2014/main" id="{5CE94C88-2019-E834-BC39-FA8C2FD9F6DD}"/>
                </a:ext>
              </a:extLst>
            </p:cNvPr>
            <p:cNvSpPr/>
            <p:nvPr/>
          </p:nvSpPr>
          <p:spPr>
            <a:xfrm>
              <a:off x="-9070340" y="4580890"/>
              <a:ext cx="197484" cy="118109"/>
            </a:xfrm>
            <a:custGeom>
              <a:avLst/>
              <a:gdLst>
                <a:gd name="connsiteX0" fmla="*/ 139700 w 197484"/>
                <a:gd name="connsiteY0" fmla="*/ 52705 h 118109"/>
                <a:gd name="connsiteX1" fmla="*/ 58420 w 197484"/>
                <a:gd name="connsiteY1" fmla="*/ 0 h 118109"/>
                <a:gd name="connsiteX2" fmla="*/ 0 w 197484"/>
                <a:gd name="connsiteY2" fmla="*/ 0 h 118109"/>
                <a:gd name="connsiteX3" fmla="*/ 0 w 197484"/>
                <a:gd name="connsiteY3" fmla="*/ 118110 h 118109"/>
                <a:gd name="connsiteX4" fmla="*/ 62865 w 197484"/>
                <a:gd name="connsiteY4" fmla="*/ 118110 h 118109"/>
                <a:gd name="connsiteX5" fmla="*/ 62865 w 197484"/>
                <a:gd name="connsiteY5" fmla="*/ 66675 h 118109"/>
                <a:gd name="connsiteX6" fmla="*/ 136525 w 197484"/>
                <a:gd name="connsiteY6" fmla="*/ 118110 h 118109"/>
                <a:gd name="connsiteX7" fmla="*/ 197485 w 197484"/>
                <a:gd name="connsiteY7" fmla="*/ 118110 h 118109"/>
                <a:gd name="connsiteX8" fmla="*/ 197485 w 197484"/>
                <a:gd name="connsiteY8" fmla="*/ 0 h 118109"/>
                <a:gd name="connsiteX9" fmla="*/ 139700 w 197484"/>
                <a:gd name="connsiteY9"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484" h="118109">
                  <a:moveTo>
                    <a:pt x="139700" y="52705"/>
                  </a:moveTo>
                  <a:lnTo>
                    <a:pt x="58420" y="0"/>
                  </a:lnTo>
                  <a:lnTo>
                    <a:pt x="0" y="0"/>
                  </a:lnTo>
                  <a:lnTo>
                    <a:pt x="0" y="118110"/>
                  </a:lnTo>
                  <a:lnTo>
                    <a:pt x="62865" y="118110"/>
                  </a:lnTo>
                  <a:lnTo>
                    <a:pt x="62865" y="66675"/>
                  </a:lnTo>
                  <a:lnTo>
                    <a:pt x="136525" y="118110"/>
                  </a:lnTo>
                  <a:lnTo>
                    <a:pt x="197485" y="118110"/>
                  </a:lnTo>
                  <a:lnTo>
                    <a:pt x="197485" y="0"/>
                  </a:lnTo>
                  <a:lnTo>
                    <a:pt x="139700" y="0"/>
                  </a:lnTo>
                  <a:close/>
                </a:path>
              </a:pathLst>
            </a:custGeom>
            <a:solidFill>
              <a:srgbClr val="FFFFFF"/>
            </a:solidFill>
            <a:ln w="6350" cap="flat">
              <a:noFill/>
              <a:prstDash val="solid"/>
              <a:miter/>
            </a:ln>
          </p:spPr>
          <p:txBody>
            <a:bodyPr rtlCol="0" anchor="ctr"/>
            <a:lstStyle/>
            <a:p>
              <a:endParaRPr lang="en-GB"/>
            </a:p>
          </p:txBody>
        </p:sp>
        <p:sp>
          <p:nvSpPr>
            <p:cNvPr id="482" name="Freeform 481">
              <a:extLst>
                <a:ext uri="{FF2B5EF4-FFF2-40B4-BE49-F238E27FC236}">
                  <a16:creationId xmlns:a16="http://schemas.microsoft.com/office/drawing/2014/main" id="{78FA1F74-E6F5-B3E6-6F62-08741145248C}"/>
                </a:ext>
              </a:extLst>
            </p:cNvPr>
            <p:cNvSpPr/>
            <p:nvPr/>
          </p:nvSpPr>
          <p:spPr>
            <a:xfrm>
              <a:off x="-9295130" y="4580890"/>
              <a:ext cx="219075" cy="118109"/>
            </a:xfrm>
            <a:custGeom>
              <a:avLst/>
              <a:gdLst>
                <a:gd name="connsiteX0" fmla="*/ 78105 w 219075"/>
                <a:gd name="connsiteY0" fmla="*/ 0 h 118109"/>
                <a:gd name="connsiteX1" fmla="*/ 0 w 219075"/>
                <a:gd name="connsiteY1" fmla="*/ 118110 h 118109"/>
                <a:gd name="connsiteX2" fmla="*/ 66675 w 219075"/>
                <a:gd name="connsiteY2" fmla="*/ 118110 h 118109"/>
                <a:gd name="connsiteX3" fmla="*/ 76200 w 219075"/>
                <a:gd name="connsiteY3" fmla="*/ 106045 h 118109"/>
                <a:gd name="connsiteX4" fmla="*/ 141605 w 219075"/>
                <a:gd name="connsiteY4" fmla="*/ 106045 h 118109"/>
                <a:gd name="connsiteX5" fmla="*/ 152400 w 219075"/>
                <a:gd name="connsiteY5" fmla="*/ 118110 h 118109"/>
                <a:gd name="connsiteX6" fmla="*/ 219075 w 219075"/>
                <a:gd name="connsiteY6" fmla="*/ 118110 h 118109"/>
                <a:gd name="connsiteX7" fmla="*/ 142875 w 219075"/>
                <a:gd name="connsiteY7" fmla="*/ 0 h 118109"/>
                <a:gd name="connsiteX8" fmla="*/ 78105 w 219075"/>
                <a:gd name="connsiteY8" fmla="*/ 0 h 118109"/>
                <a:gd name="connsiteX9" fmla="*/ 96520 w 219075"/>
                <a:gd name="connsiteY9" fmla="*/ 74930 h 118109"/>
                <a:gd name="connsiteX10" fmla="*/ 108586 w 219075"/>
                <a:gd name="connsiteY10" fmla="*/ 50165 h 118109"/>
                <a:gd name="connsiteX11" fmla="*/ 121920 w 219075"/>
                <a:gd name="connsiteY11" fmla="*/ 74930 h 118109"/>
                <a:gd name="connsiteX12" fmla="*/ 96520 w 219075"/>
                <a:gd name="connsiteY12" fmla="*/ 7493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075" h="118109">
                  <a:moveTo>
                    <a:pt x="78105" y="0"/>
                  </a:moveTo>
                  <a:lnTo>
                    <a:pt x="0" y="118110"/>
                  </a:lnTo>
                  <a:lnTo>
                    <a:pt x="66675" y="118110"/>
                  </a:lnTo>
                  <a:lnTo>
                    <a:pt x="76200" y="106045"/>
                  </a:lnTo>
                  <a:lnTo>
                    <a:pt x="141605" y="106045"/>
                  </a:lnTo>
                  <a:lnTo>
                    <a:pt x="152400" y="118110"/>
                  </a:lnTo>
                  <a:lnTo>
                    <a:pt x="219075" y="118110"/>
                  </a:lnTo>
                  <a:lnTo>
                    <a:pt x="142875" y="0"/>
                  </a:lnTo>
                  <a:lnTo>
                    <a:pt x="78105" y="0"/>
                  </a:lnTo>
                  <a:close/>
                  <a:moveTo>
                    <a:pt x="96520" y="74930"/>
                  </a:moveTo>
                  <a:lnTo>
                    <a:pt x="108586" y="50165"/>
                  </a:lnTo>
                  <a:lnTo>
                    <a:pt x="121920" y="74930"/>
                  </a:lnTo>
                  <a:lnTo>
                    <a:pt x="96520" y="74930"/>
                  </a:lnTo>
                  <a:close/>
                </a:path>
              </a:pathLst>
            </a:custGeom>
            <a:solidFill>
              <a:srgbClr val="FFFFFF"/>
            </a:solidFill>
            <a:ln w="6350" cap="flat">
              <a:noFill/>
              <a:prstDash val="solid"/>
              <a:miter/>
            </a:ln>
          </p:spPr>
          <p:txBody>
            <a:bodyPr rtlCol="0" anchor="ctr"/>
            <a:lstStyle/>
            <a:p>
              <a:endParaRPr lang="en-GB"/>
            </a:p>
          </p:txBody>
        </p:sp>
        <p:sp>
          <p:nvSpPr>
            <p:cNvPr id="483" name="Freeform 482">
              <a:extLst>
                <a:ext uri="{FF2B5EF4-FFF2-40B4-BE49-F238E27FC236}">
                  <a16:creationId xmlns:a16="http://schemas.microsoft.com/office/drawing/2014/main" id="{D7AC2D01-4999-5C65-7ABB-96F8D37AB317}"/>
                </a:ext>
              </a:extLst>
            </p:cNvPr>
            <p:cNvSpPr/>
            <p:nvPr/>
          </p:nvSpPr>
          <p:spPr>
            <a:xfrm>
              <a:off x="-9499600" y="4580890"/>
              <a:ext cx="198119" cy="118109"/>
            </a:xfrm>
            <a:custGeom>
              <a:avLst/>
              <a:gdLst>
                <a:gd name="connsiteX0" fmla="*/ 99060 w 198119"/>
                <a:gd name="connsiteY0" fmla="*/ 44450 h 118109"/>
                <a:gd name="connsiteX1" fmla="*/ 60325 w 198119"/>
                <a:gd name="connsiteY1" fmla="*/ 0 h 118109"/>
                <a:gd name="connsiteX2" fmla="*/ 0 w 198119"/>
                <a:gd name="connsiteY2" fmla="*/ 0 h 118109"/>
                <a:gd name="connsiteX3" fmla="*/ 0 w 198119"/>
                <a:gd name="connsiteY3" fmla="*/ 118110 h 118109"/>
                <a:gd name="connsiteX4" fmla="*/ 59690 w 198119"/>
                <a:gd name="connsiteY4" fmla="*/ 118110 h 118109"/>
                <a:gd name="connsiteX5" fmla="*/ 59690 w 198119"/>
                <a:gd name="connsiteY5" fmla="*/ 75565 h 118109"/>
                <a:gd name="connsiteX6" fmla="*/ 100330 w 198119"/>
                <a:gd name="connsiteY6" fmla="*/ 111760 h 118109"/>
                <a:gd name="connsiteX7" fmla="*/ 138430 w 198119"/>
                <a:gd name="connsiteY7" fmla="*/ 75565 h 118109"/>
                <a:gd name="connsiteX8" fmla="*/ 138430 w 198119"/>
                <a:gd name="connsiteY8" fmla="*/ 118110 h 118109"/>
                <a:gd name="connsiteX9" fmla="*/ 198120 w 198119"/>
                <a:gd name="connsiteY9" fmla="*/ 118110 h 118109"/>
                <a:gd name="connsiteX10" fmla="*/ 198120 w 198119"/>
                <a:gd name="connsiteY10" fmla="*/ 0 h 118109"/>
                <a:gd name="connsiteX11" fmla="*/ 140970 w 198119"/>
                <a:gd name="connsiteY11"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119" h="118109">
                  <a:moveTo>
                    <a:pt x="99060" y="44450"/>
                  </a:moveTo>
                  <a:lnTo>
                    <a:pt x="60325" y="0"/>
                  </a:lnTo>
                  <a:lnTo>
                    <a:pt x="0" y="0"/>
                  </a:lnTo>
                  <a:lnTo>
                    <a:pt x="0" y="118110"/>
                  </a:lnTo>
                  <a:lnTo>
                    <a:pt x="59690" y="118110"/>
                  </a:lnTo>
                  <a:lnTo>
                    <a:pt x="59690" y="75565"/>
                  </a:lnTo>
                  <a:lnTo>
                    <a:pt x="100330" y="111760"/>
                  </a:lnTo>
                  <a:lnTo>
                    <a:pt x="138430" y="75565"/>
                  </a:lnTo>
                  <a:lnTo>
                    <a:pt x="138430" y="118110"/>
                  </a:lnTo>
                  <a:lnTo>
                    <a:pt x="198120" y="118110"/>
                  </a:lnTo>
                  <a:lnTo>
                    <a:pt x="198120" y="0"/>
                  </a:lnTo>
                  <a:lnTo>
                    <a:pt x="140970" y="0"/>
                  </a:lnTo>
                  <a:close/>
                </a:path>
              </a:pathLst>
            </a:custGeom>
            <a:solidFill>
              <a:srgbClr val="FFFFFF"/>
            </a:solidFill>
            <a:ln w="6350" cap="flat">
              <a:noFill/>
              <a:prstDash val="solid"/>
              <a:miter/>
            </a:ln>
          </p:spPr>
          <p:txBody>
            <a:bodyPr rtlCol="0" anchor="ctr"/>
            <a:lstStyle/>
            <a:p>
              <a:endParaRPr lang="en-GB"/>
            </a:p>
          </p:txBody>
        </p:sp>
        <p:sp>
          <p:nvSpPr>
            <p:cNvPr id="484" name="Freeform 483">
              <a:extLst>
                <a:ext uri="{FF2B5EF4-FFF2-40B4-BE49-F238E27FC236}">
                  <a16:creationId xmlns:a16="http://schemas.microsoft.com/office/drawing/2014/main" id="{EB845972-6F93-317A-4FC1-0CFE136D2A83}"/>
                </a:ext>
              </a:extLst>
            </p:cNvPr>
            <p:cNvSpPr/>
            <p:nvPr/>
          </p:nvSpPr>
          <p:spPr>
            <a:xfrm>
              <a:off x="-9579609" y="4263390"/>
              <a:ext cx="775969" cy="431800"/>
            </a:xfrm>
            <a:custGeom>
              <a:avLst/>
              <a:gdLst>
                <a:gd name="connsiteX0" fmla="*/ 387985 w 775969"/>
                <a:gd name="connsiteY0" fmla="*/ 0 h 431800"/>
                <a:gd name="connsiteX1" fmla="*/ 0 w 775969"/>
                <a:gd name="connsiteY1" fmla="*/ 390525 h 431800"/>
                <a:gd name="connsiteX2" fmla="*/ 1905 w 775969"/>
                <a:gd name="connsiteY2" fmla="*/ 431800 h 431800"/>
                <a:gd name="connsiteX3" fmla="*/ 48895 w 775969"/>
                <a:gd name="connsiteY3" fmla="*/ 431800 h 431800"/>
                <a:gd name="connsiteX4" fmla="*/ 46355 w 775969"/>
                <a:gd name="connsiteY4" fmla="*/ 390525 h 431800"/>
                <a:gd name="connsiteX5" fmla="*/ 387985 w 775969"/>
                <a:gd name="connsiteY5" fmla="*/ 46990 h 431800"/>
                <a:gd name="connsiteX6" fmla="*/ 729615 w 775969"/>
                <a:gd name="connsiteY6" fmla="*/ 390525 h 431800"/>
                <a:gd name="connsiteX7" fmla="*/ 727075 w 775969"/>
                <a:gd name="connsiteY7" fmla="*/ 431800 h 431800"/>
                <a:gd name="connsiteX8" fmla="*/ 774065 w 775969"/>
                <a:gd name="connsiteY8" fmla="*/ 431800 h 431800"/>
                <a:gd name="connsiteX9" fmla="*/ 775970 w 775969"/>
                <a:gd name="connsiteY9" fmla="*/ 390525 h 431800"/>
                <a:gd name="connsiteX10" fmla="*/ 387985 w 775969"/>
                <a:gd name="connsiteY10" fmla="*/ 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5969" h="431800">
                  <a:moveTo>
                    <a:pt x="387985" y="0"/>
                  </a:moveTo>
                  <a:cubicBezTo>
                    <a:pt x="173990" y="0"/>
                    <a:pt x="0" y="175895"/>
                    <a:pt x="0" y="390525"/>
                  </a:cubicBezTo>
                  <a:cubicBezTo>
                    <a:pt x="0" y="404495"/>
                    <a:pt x="635" y="418465"/>
                    <a:pt x="1905" y="431800"/>
                  </a:cubicBezTo>
                  <a:lnTo>
                    <a:pt x="48895" y="431800"/>
                  </a:lnTo>
                  <a:cubicBezTo>
                    <a:pt x="46990" y="418465"/>
                    <a:pt x="46355" y="404495"/>
                    <a:pt x="46355" y="390525"/>
                  </a:cubicBezTo>
                  <a:cubicBezTo>
                    <a:pt x="46355" y="201295"/>
                    <a:pt x="200025" y="46990"/>
                    <a:pt x="387985" y="46990"/>
                  </a:cubicBezTo>
                  <a:cubicBezTo>
                    <a:pt x="575945" y="46990"/>
                    <a:pt x="729615" y="201295"/>
                    <a:pt x="729615" y="390525"/>
                  </a:cubicBezTo>
                  <a:cubicBezTo>
                    <a:pt x="729615" y="404495"/>
                    <a:pt x="728345" y="418465"/>
                    <a:pt x="727075" y="431800"/>
                  </a:cubicBezTo>
                  <a:lnTo>
                    <a:pt x="774065" y="431800"/>
                  </a:lnTo>
                  <a:cubicBezTo>
                    <a:pt x="775335" y="418465"/>
                    <a:pt x="775970" y="404495"/>
                    <a:pt x="775970" y="390525"/>
                  </a:cubicBezTo>
                  <a:cubicBezTo>
                    <a:pt x="775970" y="175260"/>
                    <a:pt x="601980" y="0"/>
                    <a:pt x="387985" y="0"/>
                  </a:cubicBezTo>
                  <a:close/>
                </a:path>
              </a:pathLst>
            </a:custGeom>
            <a:solidFill>
              <a:srgbClr val="FFFFFF"/>
            </a:solidFill>
            <a:ln w="6350" cap="flat">
              <a:noFill/>
              <a:prstDash val="solid"/>
              <a:miter/>
            </a:ln>
          </p:spPr>
          <p:txBody>
            <a:bodyPr rtlCol="0" anchor="ctr"/>
            <a:lstStyle/>
            <a:p>
              <a:endParaRPr lang="en-GB"/>
            </a:p>
          </p:txBody>
        </p:sp>
      </p:grpSp>
      <p:grpSp>
        <p:nvGrpSpPr>
          <p:cNvPr id="485" name="Graphic 79">
            <a:extLst>
              <a:ext uri="{FF2B5EF4-FFF2-40B4-BE49-F238E27FC236}">
                <a16:creationId xmlns:a16="http://schemas.microsoft.com/office/drawing/2014/main" id="{ADB04187-BAF1-6B21-67FF-439E347EE3D4}"/>
              </a:ext>
            </a:extLst>
          </p:cNvPr>
          <p:cNvGrpSpPr/>
          <p:nvPr userDrawn="1"/>
        </p:nvGrpSpPr>
        <p:grpSpPr>
          <a:xfrm>
            <a:off x="5635625" y="4225448"/>
            <a:ext cx="920115" cy="476726"/>
            <a:chOff x="-8080375" y="4225448"/>
            <a:chExt cx="920115" cy="476726"/>
          </a:xfrm>
          <a:solidFill>
            <a:srgbClr val="FFFFFF"/>
          </a:solidFill>
        </p:grpSpPr>
        <p:sp>
          <p:nvSpPr>
            <p:cNvPr id="486" name="Freeform 485">
              <a:extLst>
                <a:ext uri="{FF2B5EF4-FFF2-40B4-BE49-F238E27FC236}">
                  <a16:creationId xmlns:a16="http://schemas.microsoft.com/office/drawing/2014/main" id="{98BC9D41-7D96-A1B2-692F-73697981DBB4}"/>
                </a:ext>
              </a:extLst>
            </p:cNvPr>
            <p:cNvSpPr/>
            <p:nvPr/>
          </p:nvSpPr>
          <p:spPr>
            <a:xfrm>
              <a:off x="-7395844" y="4557395"/>
              <a:ext cx="235584" cy="139700"/>
            </a:xfrm>
            <a:custGeom>
              <a:avLst/>
              <a:gdLst>
                <a:gd name="connsiteX0" fmla="*/ 182245 w 235584"/>
                <a:gd name="connsiteY0" fmla="*/ 0 h 139700"/>
                <a:gd name="connsiteX1" fmla="*/ 97155 w 235584"/>
                <a:gd name="connsiteY1" fmla="*/ 0 h 139700"/>
                <a:gd name="connsiteX2" fmla="*/ 53339 w 235584"/>
                <a:gd name="connsiteY2" fmla="*/ 113665 h 139700"/>
                <a:gd name="connsiteX3" fmla="*/ 53339 w 235584"/>
                <a:gd name="connsiteY3" fmla="*/ 0 h 139700"/>
                <a:gd name="connsiteX4" fmla="*/ 0 w 235584"/>
                <a:gd name="connsiteY4" fmla="*/ 0 h 139700"/>
                <a:gd name="connsiteX5" fmla="*/ 0 w 235584"/>
                <a:gd name="connsiteY5" fmla="*/ 139700 h 139700"/>
                <a:gd name="connsiteX6" fmla="*/ 97789 w 235584"/>
                <a:gd name="connsiteY6" fmla="*/ 139700 h 139700"/>
                <a:gd name="connsiteX7" fmla="*/ 105410 w 235584"/>
                <a:gd name="connsiteY7" fmla="*/ 119380 h 139700"/>
                <a:gd name="connsiteX8" fmla="*/ 172085 w 235584"/>
                <a:gd name="connsiteY8" fmla="*/ 119380 h 139700"/>
                <a:gd name="connsiteX9" fmla="*/ 179705 w 235584"/>
                <a:gd name="connsiteY9" fmla="*/ 139700 h 139700"/>
                <a:gd name="connsiteX10" fmla="*/ 235585 w 235584"/>
                <a:gd name="connsiteY10" fmla="*/ 139700 h 139700"/>
                <a:gd name="connsiteX11" fmla="*/ 182245 w 235584"/>
                <a:gd name="connsiteY11" fmla="*/ 0 h 139700"/>
                <a:gd name="connsiteX12" fmla="*/ 120014 w 235584"/>
                <a:gd name="connsiteY12" fmla="*/ 82550 h 139700"/>
                <a:gd name="connsiteX13" fmla="*/ 139064 w 235584"/>
                <a:gd name="connsiteY13" fmla="*/ 32385 h 139700"/>
                <a:gd name="connsiteX14" fmla="*/ 158114 w 235584"/>
                <a:gd name="connsiteY14" fmla="*/ 82550 h 139700"/>
                <a:gd name="connsiteX15" fmla="*/ 120014 w 235584"/>
                <a:gd name="connsiteY15" fmla="*/ 82550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5584" h="139700">
                  <a:moveTo>
                    <a:pt x="182245" y="0"/>
                  </a:moveTo>
                  <a:lnTo>
                    <a:pt x="97155" y="0"/>
                  </a:lnTo>
                  <a:lnTo>
                    <a:pt x="53339" y="113665"/>
                  </a:lnTo>
                  <a:lnTo>
                    <a:pt x="53339" y="0"/>
                  </a:lnTo>
                  <a:lnTo>
                    <a:pt x="0" y="0"/>
                  </a:lnTo>
                  <a:lnTo>
                    <a:pt x="0" y="139700"/>
                  </a:lnTo>
                  <a:lnTo>
                    <a:pt x="97789" y="139700"/>
                  </a:lnTo>
                  <a:lnTo>
                    <a:pt x="105410" y="119380"/>
                  </a:lnTo>
                  <a:lnTo>
                    <a:pt x="172085" y="119380"/>
                  </a:lnTo>
                  <a:lnTo>
                    <a:pt x="179705" y="139700"/>
                  </a:lnTo>
                  <a:lnTo>
                    <a:pt x="235585" y="139700"/>
                  </a:lnTo>
                  <a:lnTo>
                    <a:pt x="182245" y="0"/>
                  </a:lnTo>
                  <a:close/>
                  <a:moveTo>
                    <a:pt x="120014" y="82550"/>
                  </a:moveTo>
                  <a:lnTo>
                    <a:pt x="139064" y="32385"/>
                  </a:lnTo>
                  <a:lnTo>
                    <a:pt x="158114" y="82550"/>
                  </a:lnTo>
                  <a:lnTo>
                    <a:pt x="120014" y="82550"/>
                  </a:lnTo>
                  <a:close/>
                </a:path>
              </a:pathLst>
            </a:custGeom>
            <a:solidFill>
              <a:srgbClr val="FFFFFF"/>
            </a:solidFill>
            <a:ln w="6350" cap="flat">
              <a:noFill/>
              <a:prstDash val="solid"/>
              <a:miter/>
            </a:ln>
          </p:spPr>
          <p:txBody>
            <a:bodyPr rtlCol="0" anchor="ctr"/>
            <a:lstStyle/>
            <a:p>
              <a:endParaRPr lang="en-GB"/>
            </a:p>
          </p:txBody>
        </p:sp>
        <p:sp>
          <p:nvSpPr>
            <p:cNvPr id="487" name="Freeform 486">
              <a:extLst>
                <a:ext uri="{FF2B5EF4-FFF2-40B4-BE49-F238E27FC236}">
                  <a16:creationId xmlns:a16="http://schemas.microsoft.com/office/drawing/2014/main" id="{E93150E5-DD24-B2A9-5DE9-CC3E11DAF0F4}"/>
                </a:ext>
              </a:extLst>
            </p:cNvPr>
            <p:cNvSpPr/>
            <p:nvPr/>
          </p:nvSpPr>
          <p:spPr>
            <a:xfrm>
              <a:off x="-8080375" y="4550409"/>
              <a:ext cx="671194" cy="151765"/>
            </a:xfrm>
            <a:custGeom>
              <a:avLst/>
              <a:gdLst>
                <a:gd name="connsiteX0" fmla="*/ 619125 w 671194"/>
                <a:gd name="connsiteY0" fmla="*/ 80645 h 151765"/>
                <a:gd name="connsiteX1" fmla="*/ 563880 w 671194"/>
                <a:gd name="connsiteY1" fmla="*/ 6985 h 151765"/>
                <a:gd name="connsiteX2" fmla="*/ 497840 w 671194"/>
                <a:gd name="connsiteY2" fmla="*/ 6985 h 151765"/>
                <a:gd name="connsiteX3" fmla="*/ 497840 w 671194"/>
                <a:gd name="connsiteY3" fmla="*/ 120650 h 151765"/>
                <a:gd name="connsiteX4" fmla="*/ 453390 w 671194"/>
                <a:gd name="connsiteY4" fmla="*/ 6985 h 151765"/>
                <a:gd name="connsiteX5" fmla="*/ 368300 w 671194"/>
                <a:gd name="connsiteY5" fmla="*/ 6985 h 151765"/>
                <a:gd name="connsiteX6" fmla="*/ 336550 w 671194"/>
                <a:gd name="connsiteY6" fmla="*/ 89535 h 151765"/>
                <a:gd name="connsiteX7" fmla="*/ 284480 w 671194"/>
                <a:gd name="connsiteY7" fmla="*/ 89535 h 151765"/>
                <a:gd name="connsiteX8" fmla="*/ 255905 w 671194"/>
                <a:gd name="connsiteY8" fmla="*/ 114935 h 151765"/>
                <a:gd name="connsiteX9" fmla="*/ 226060 w 671194"/>
                <a:gd name="connsiteY9" fmla="*/ 76835 h 151765"/>
                <a:gd name="connsiteX10" fmla="*/ 255905 w 671194"/>
                <a:gd name="connsiteY10" fmla="*/ 38735 h 151765"/>
                <a:gd name="connsiteX11" fmla="*/ 283845 w 671194"/>
                <a:gd name="connsiteY11" fmla="*/ 60325 h 151765"/>
                <a:gd name="connsiteX12" fmla="*/ 341630 w 671194"/>
                <a:gd name="connsiteY12" fmla="*/ 60325 h 151765"/>
                <a:gd name="connsiteX13" fmla="*/ 341630 w 671194"/>
                <a:gd name="connsiteY13" fmla="*/ 56515 h 151765"/>
                <a:gd name="connsiteX14" fmla="*/ 256540 w 671194"/>
                <a:gd name="connsiteY14" fmla="*/ 0 h 151765"/>
                <a:gd name="connsiteX15" fmla="*/ 169545 w 671194"/>
                <a:gd name="connsiteY15" fmla="*/ 76200 h 151765"/>
                <a:gd name="connsiteX16" fmla="*/ 169545 w 671194"/>
                <a:gd name="connsiteY16" fmla="*/ 79375 h 151765"/>
                <a:gd name="connsiteX17" fmla="*/ 121285 w 671194"/>
                <a:gd name="connsiteY17" fmla="*/ 60325 h 151765"/>
                <a:gd name="connsiteX18" fmla="*/ 85090 w 671194"/>
                <a:gd name="connsiteY18" fmla="*/ 54610 h 151765"/>
                <a:gd name="connsiteX19" fmla="*/ 62865 w 671194"/>
                <a:gd name="connsiteY19" fmla="*/ 44450 h 151765"/>
                <a:gd name="connsiteX20" fmla="*/ 83185 w 671194"/>
                <a:gd name="connsiteY20" fmla="*/ 32385 h 151765"/>
                <a:gd name="connsiteX21" fmla="*/ 109220 w 671194"/>
                <a:gd name="connsiteY21" fmla="*/ 48895 h 151765"/>
                <a:gd name="connsiteX22" fmla="*/ 167640 w 671194"/>
                <a:gd name="connsiteY22" fmla="*/ 48895 h 151765"/>
                <a:gd name="connsiteX23" fmla="*/ 167640 w 671194"/>
                <a:gd name="connsiteY23" fmla="*/ 46990 h 151765"/>
                <a:gd name="connsiteX24" fmla="*/ 85090 w 671194"/>
                <a:gd name="connsiteY24" fmla="*/ 635 h 151765"/>
                <a:gd name="connsiteX25" fmla="*/ 3810 w 671194"/>
                <a:gd name="connsiteY25" fmla="*/ 50165 h 151765"/>
                <a:gd name="connsiteX26" fmla="*/ 53340 w 671194"/>
                <a:gd name="connsiteY26" fmla="*/ 90805 h 151765"/>
                <a:gd name="connsiteX27" fmla="*/ 94615 w 671194"/>
                <a:gd name="connsiteY27" fmla="*/ 96520 h 151765"/>
                <a:gd name="connsiteX28" fmla="*/ 114300 w 671194"/>
                <a:gd name="connsiteY28" fmla="*/ 107315 h 151765"/>
                <a:gd name="connsiteX29" fmla="*/ 89535 w 671194"/>
                <a:gd name="connsiteY29" fmla="*/ 119380 h 151765"/>
                <a:gd name="connsiteX30" fmla="*/ 61595 w 671194"/>
                <a:gd name="connsiteY30" fmla="*/ 99695 h 151765"/>
                <a:gd name="connsiteX31" fmla="*/ 0 w 671194"/>
                <a:gd name="connsiteY31" fmla="*/ 99695 h 151765"/>
                <a:gd name="connsiteX32" fmla="*/ 0 w 671194"/>
                <a:gd name="connsiteY32" fmla="*/ 102870 h 151765"/>
                <a:gd name="connsiteX33" fmla="*/ 86995 w 671194"/>
                <a:gd name="connsiteY33" fmla="*/ 151765 h 151765"/>
                <a:gd name="connsiteX34" fmla="*/ 175895 w 671194"/>
                <a:gd name="connsiteY34" fmla="*/ 110490 h 151765"/>
                <a:gd name="connsiteX35" fmla="*/ 256540 w 671194"/>
                <a:gd name="connsiteY35" fmla="*/ 151765 h 151765"/>
                <a:gd name="connsiteX36" fmla="*/ 321310 w 671194"/>
                <a:gd name="connsiteY36" fmla="*/ 128270 h 151765"/>
                <a:gd name="connsiteX37" fmla="*/ 314960 w 671194"/>
                <a:gd name="connsiteY37" fmla="*/ 145415 h 151765"/>
                <a:gd name="connsiteX38" fmla="*/ 369570 w 671194"/>
                <a:gd name="connsiteY38" fmla="*/ 145415 h 151765"/>
                <a:gd name="connsiteX39" fmla="*/ 377825 w 671194"/>
                <a:gd name="connsiteY39" fmla="*/ 125730 h 151765"/>
                <a:gd name="connsiteX40" fmla="*/ 444500 w 671194"/>
                <a:gd name="connsiteY40" fmla="*/ 125730 h 151765"/>
                <a:gd name="connsiteX41" fmla="*/ 452120 w 671194"/>
                <a:gd name="connsiteY41" fmla="*/ 146050 h 151765"/>
                <a:gd name="connsiteX42" fmla="*/ 549910 w 671194"/>
                <a:gd name="connsiteY42" fmla="*/ 146050 h 151765"/>
                <a:gd name="connsiteX43" fmla="*/ 549910 w 671194"/>
                <a:gd name="connsiteY43" fmla="*/ 66040 h 151765"/>
                <a:gd name="connsiteX44" fmla="*/ 610235 w 671194"/>
                <a:gd name="connsiteY44" fmla="*/ 146685 h 151765"/>
                <a:gd name="connsiteX45" fmla="*/ 671195 w 671194"/>
                <a:gd name="connsiteY45" fmla="*/ 146685 h 151765"/>
                <a:gd name="connsiteX46" fmla="*/ 671195 w 671194"/>
                <a:gd name="connsiteY46" fmla="*/ 6985 h 151765"/>
                <a:gd name="connsiteX47" fmla="*/ 619125 w 671194"/>
                <a:gd name="connsiteY47" fmla="*/ 6985 h 151765"/>
                <a:gd name="connsiteX48" fmla="*/ 619125 w 671194"/>
                <a:gd name="connsiteY48" fmla="*/ 80645 h 151765"/>
                <a:gd name="connsiteX49" fmla="*/ 391160 w 671194"/>
                <a:gd name="connsiteY49" fmla="*/ 89535 h 151765"/>
                <a:gd name="connsiteX50" fmla="*/ 410210 w 671194"/>
                <a:gd name="connsiteY50" fmla="*/ 39370 h 151765"/>
                <a:gd name="connsiteX51" fmla="*/ 429260 w 671194"/>
                <a:gd name="connsiteY51" fmla="*/ 89535 h 151765"/>
                <a:gd name="connsiteX52" fmla="*/ 391160 w 671194"/>
                <a:gd name="connsiteY52" fmla="*/ 89535 h 15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71194" h="151765">
                  <a:moveTo>
                    <a:pt x="619125" y="80645"/>
                  </a:moveTo>
                  <a:lnTo>
                    <a:pt x="563880" y="6985"/>
                  </a:lnTo>
                  <a:lnTo>
                    <a:pt x="497840" y="6985"/>
                  </a:lnTo>
                  <a:lnTo>
                    <a:pt x="497840" y="120650"/>
                  </a:lnTo>
                  <a:lnTo>
                    <a:pt x="453390" y="6985"/>
                  </a:lnTo>
                  <a:lnTo>
                    <a:pt x="368300" y="6985"/>
                  </a:lnTo>
                  <a:lnTo>
                    <a:pt x="336550" y="89535"/>
                  </a:lnTo>
                  <a:lnTo>
                    <a:pt x="284480" y="89535"/>
                  </a:lnTo>
                  <a:cubicBezTo>
                    <a:pt x="281940" y="106045"/>
                    <a:pt x="272415" y="114935"/>
                    <a:pt x="255905" y="114935"/>
                  </a:cubicBezTo>
                  <a:cubicBezTo>
                    <a:pt x="236855" y="114935"/>
                    <a:pt x="226060" y="99695"/>
                    <a:pt x="226060" y="76835"/>
                  </a:cubicBezTo>
                  <a:cubicBezTo>
                    <a:pt x="226060" y="53340"/>
                    <a:pt x="236855" y="38735"/>
                    <a:pt x="255905" y="38735"/>
                  </a:cubicBezTo>
                  <a:cubicBezTo>
                    <a:pt x="271780" y="38735"/>
                    <a:pt x="281940" y="46990"/>
                    <a:pt x="283845" y="60325"/>
                  </a:cubicBezTo>
                  <a:lnTo>
                    <a:pt x="341630" y="60325"/>
                  </a:lnTo>
                  <a:lnTo>
                    <a:pt x="341630" y="56515"/>
                  </a:lnTo>
                  <a:cubicBezTo>
                    <a:pt x="341630" y="25400"/>
                    <a:pt x="314960" y="0"/>
                    <a:pt x="256540" y="0"/>
                  </a:cubicBezTo>
                  <a:cubicBezTo>
                    <a:pt x="193675" y="0"/>
                    <a:pt x="169545" y="31750"/>
                    <a:pt x="169545" y="76200"/>
                  </a:cubicBezTo>
                  <a:cubicBezTo>
                    <a:pt x="169545" y="77470"/>
                    <a:pt x="169545" y="78105"/>
                    <a:pt x="169545" y="79375"/>
                  </a:cubicBezTo>
                  <a:cubicBezTo>
                    <a:pt x="161925" y="69850"/>
                    <a:pt x="146685" y="64135"/>
                    <a:pt x="121285" y="60325"/>
                  </a:cubicBezTo>
                  <a:lnTo>
                    <a:pt x="85090" y="54610"/>
                  </a:lnTo>
                  <a:cubicBezTo>
                    <a:pt x="71120" y="52705"/>
                    <a:pt x="62865" y="50800"/>
                    <a:pt x="62865" y="44450"/>
                  </a:cubicBezTo>
                  <a:cubicBezTo>
                    <a:pt x="62865" y="38735"/>
                    <a:pt x="68580" y="32385"/>
                    <a:pt x="83185" y="32385"/>
                  </a:cubicBezTo>
                  <a:cubicBezTo>
                    <a:pt x="99695" y="32385"/>
                    <a:pt x="109220" y="38735"/>
                    <a:pt x="109220" y="48895"/>
                  </a:cubicBezTo>
                  <a:lnTo>
                    <a:pt x="167640" y="48895"/>
                  </a:lnTo>
                  <a:lnTo>
                    <a:pt x="167640" y="46990"/>
                  </a:lnTo>
                  <a:cubicBezTo>
                    <a:pt x="167640" y="19050"/>
                    <a:pt x="139700" y="635"/>
                    <a:pt x="85090" y="635"/>
                  </a:cubicBezTo>
                  <a:cubicBezTo>
                    <a:pt x="28575" y="635"/>
                    <a:pt x="3810" y="20955"/>
                    <a:pt x="3810" y="50165"/>
                  </a:cubicBezTo>
                  <a:cubicBezTo>
                    <a:pt x="3810" y="72390"/>
                    <a:pt x="18415" y="85725"/>
                    <a:pt x="53340" y="90805"/>
                  </a:cubicBezTo>
                  <a:lnTo>
                    <a:pt x="94615" y="96520"/>
                  </a:lnTo>
                  <a:cubicBezTo>
                    <a:pt x="109220" y="98425"/>
                    <a:pt x="114300" y="101600"/>
                    <a:pt x="114300" y="107315"/>
                  </a:cubicBezTo>
                  <a:cubicBezTo>
                    <a:pt x="114300" y="115570"/>
                    <a:pt x="106680" y="119380"/>
                    <a:pt x="89535" y="119380"/>
                  </a:cubicBezTo>
                  <a:cubicBezTo>
                    <a:pt x="70485" y="119380"/>
                    <a:pt x="61595" y="111125"/>
                    <a:pt x="61595" y="99695"/>
                  </a:cubicBezTo>
                  <a:lnTo>
                    <a:pt x="0" y="99695"/>
                  </a:lnTo>
                  <a:lnTo>
                    <a:pt x="0" y="102870"/>
                  </a:lnTo>
                  <a:cubicBezTo>
                    <a:pt x="0" y="133985"/>
                    <a:pt x="29210" y="151765"/>
                    <a:pt x="86995" y="151765"/>
                  </a:cubicBezTo>
                  <a:cubicBezTo>
                    <a:pt x="140335" y="151765"/>
                    <a:pt x="170815" y="140335"/>
                    <a:pt x="175895" y="110490"/>
                  </a:cubicBezTo>
                  <a:cubicBezTo>
                    <a:pt x="186690" y="135890"/>
                    <a:pt x="211455" y="151765"/>
                    <a:pt x="256540" y="151765"/>
                  </a:cubicBezTo>
                  <a:cubicBezTo>
                    <a:pt x="290830" y="151765"/>
                    <a:pt x="309880" y="142240"/>
                    <a:pt x="321310" y="128270"/>
                  </a:cubicBezTo>
                  <a:lnTo>
                    <a:pt x="314960" y="145415"/>
                  </a:lnTo>
                  <a:lnTo>
                    <a:pt x="369570" y="145415"/>
                  </a:lnTo>
                  <a:lnTo>
                    <a:pt x="377825" y="125730"/>
                  </a:lnTo>
                  <a:lnTo>
                    <a:pt x="444500" y="125730"/>
                  </a:lnTo>
                  <a:lnTo>
                    <a:pt x="452120" y="146050"/>
                  </a:lnTo>
                  <a:lnTo>
                    <a:pt x="549910" y="146050"/>
                  </a:lnTo>
                  <a:lnTo>
                    <a:pt x="549910" y="66040"/>
                  </a:lnTo>
                  <a:lnTo>
                    <a:pt x="610235" y="146685"/>
                  </a:lnTo>
                  <a:lnTo>
                    <a:pt x="671195" y="146685"/>
                  </a:lnTo>
                  <a:lnTo>
                    <a:pt x="671195" y="6985"/>
                  </a:lnTo>
                  <a:lnTo>
                    <a:pt x="619125" y="6985"/>
                  </a:lnTo>
                  <a:lnTo>
                    <a:pt x="619125" y="80645"/>
                  </a:lnTo>
                  <a:close/>
                  <a:moveTo>
                    <a:pt x="391160" y="89535"/>
                  </a:moveTo>
                  <a:lnTo>
                    <a:pt x="410210" y="39370"/>
                  </a:lnTo>
                  <a:lnTo>
                    <a:pt x="429260" y="89535"/>
                  </a:lnTo>
                  <a:lnTo>
                    <a:pt x="391160" y="89535"/>
                  </a:lnTo>
                  <a:close/>
                </a:path>
              </a:pathLst>
            </a:custGeom>
            <a:solidFill>
              <a:srgbClr val="FFFFFF"/>
            </a:solidFill>
            <a:ln w="6350" cap="flat">
              <a:noFill/>
              <a:prstDash val="solid"/>
              <a:miter/>
            </a:ln>
          </p:spPr>
          <p:txBody>
            <a:bodyPr rtlCol="0" anchor="ctr"/>
            <a:lstStyle/>
            <a:p>
              <a:endParaRPr lang="en-GB"/>
            </a:p>
          </p:txBody>
        </p:sp>
        <p:sp>
          <p:nvSpPr>
            <p:cNvPr id="488" name="Freeform 487">
              <a:extLst>
                <a:ext uri="{FF2B5EF4-FFF2-40B4-BE49-F238E27FC236}">
                  <a16:creationId xmlns:a16="http://schemas.microsoft.com/office/drawing/2014/main" id="{02C63F41-81CA-218F-95C6-139B4D6AADEA}"/>
                </a:ext>
              </a:extLst>
            </p:cNvPr>
            <p:cNvSpPr/>
            <p:nvPr/>
          </p:nvSpPr>
          <p:spPr>
            <a:xfrm>
              <a:off x="-7598409" y="4321175"/>
              <a:ext cx="13334" cy="10159"/>
            </a:xfrm>
            <a:custGeom>
              <a:avLst/>
              <a:gdLst>
                <a:gd name="connsiteX0" fmla="*/ 13335 w 13334"/>
                <a:gd name="connsiteY0" fmla="*/ 0 h 10159"/>
                <a:gd name="connsiteX1" fmla="*/ 0 w 13334"/>
                <a:gd name="connsiteY1" fmla="*/ 6985 h 10159"/>
                <a:gd name="connsiteX2" fmla="*/ 1270 w 13334"/>
                <a:gd name="connsiteY2" fmla="*/ 10160 h 10159"/>
                <a:gd name="connsiteX3" fmla="*/ 13335 w 13334"/>
                <a:gd name="connsiteY3" fmla="*/ 0 h 10159"/>
              </a:gdLst>
              <a:ahLst/>
              <a:cxnLst>
                <a:cxn ang="0">
                  <a:pos x="connsiteX0" y="connsiteY0"/>
                </a:cxn>
                <a:cxn ang="0">
                  <a:pos x="connsiteX1" y="connsiteY1"/>
                </a:cxn>
                <a:cxn ang="0">
                  <a:pos x="connsiteX2" y="connsiteY2"/>
                </a:cxn>
                <a:cxn ang="0">
                  <a:pos x="connsiteX3" y="connsiteY3"/>
                </a:cxn>
              </a:cxnLst>
              <a:rect l="l" t="t" r="r" b="b"/>
              <a:pathLst>
                <a:path w="13334" h="10159">
                  <a:moveTo>
                    <a:pt x="13335" y="0"/>
                  </a:moveTo>
                  <a:cubicBezTo>
                    <a:pt x="8255" y="1270"/>
                    <a:pt x="3810" y="3810"/>
                    <a:pt x="0" y="6985"/>
                  </a:cubicBezTo>
                  <a:lnTo>
                    <a:pt x="1270" y="10160"/>
                  </a:lnTo>
                  <a:cubicBezTo>
                    <a:pt x="6985" y="8890"/>
                    <a:pt x="11430" y="5080"/>
                    <a:pt x="13335" y="0"/>
                  </a:cubicBezTo>
                  <a:close/>
                </a:path>
              </a:pathLst>
            </a:custGeom>
            <a:solidFill>
              <a:srgbClr val="FFFFFF"/>
            </a:solidFill>
            <a:ln w="6350" cap="flat">
              <a:noFill/>
              <a:prstDash val="solid"/>
              <a:miter/>
            </a:ln>
          </p:spPr>
          <p:txBody>
            <a:bodyPr rtlCol="0" anchor="ctr"/>
            <a:lstStyle/>
            <a:p>
              <a:endParaRPr lang="en-GB"/>
            </a:p>
          </p:txBody>
        </p:sp>
        <p:sp>
          <p:nvSpPr>
            <p:cNvPr id="489" name="Freeform 488">
              <a:extLst>
                <a:ext uri="{FF2B5EF4-FFF2-40B4-BE49-F238E27FC236}">
                  <a16:creationId xmlns:a16="http://schemas.microsoft.com/office/drawing/2014/main" id="{AF6AE0A5-B8EE-119A-6B50-C10F64A2676C}"/>
                </a:ext>
              </a:extLst>
            </p:cNvPr>
            <p:cNvSpPr/>
            <p:nvPr/>
          </p:nvSpPr>
          <p:spPr>
            <a:xfrm>
              <a:off x="-7631430" y="4344670"/>
              <a:ext cx="45171" cy="46989"/>
            </a:xfrm>
            <a:custGeom>
              <a:avLst/>
              <a:gdLst>
                <a:gd name="connsiteX0" fmla="*/ 18415 w 45171"/>
                <a:gd name="connsiteY0" fmla="*/ 22225 h 46989"/>
                <a:gd name="connsiteX1" fmla="*/ 15240 w 45171"/>
                <a:gd name="connsiteY1" fmla="*/ 19050 h 46989"/>
                <a:gd name="connsiteX2" fmla="*/ 15240 w 45171"/>
                <a:gd name="connsiteY2" fmla="*/ 24130 h 46989"/>
                <a:gd name="connsiteX3" fmla="*/ 10161 w 45171"/>
                <a:gd name="connsiteY3" fmla="*/ 34925 h 46989"/>
                <a:gd name="connsiteX4" fmla="*/ 9525 w 45171"/>
                <a:gd name="connsiteY4" fmla="*/ 25400 h 46989"/>
                <a:gd name="connsiteX5" fmla="*/ 5715 w 45171"/>
                <a:gd name="connsiteY5" fmla="*/ 27305 h 46989"/>
                <a:gd name="connsiteX6" fmla="*/ 3811 w 45171"/>
                <a:gd name="connsiteY6" fmla="*/ 37465 h 46989"/>
                <a:gd name="connsiteX7" fmla="*/ 0 w 45171"/>
                <a:gd name="connsiteY7" fmla="*/ 41275 h 46989"/>
                <a:gd name="connsiteX8" fmla="*/ 5080 w 45171"/>
                <a:gd name="connsiteY8" fmla="*/ 41275 h 46989"/>
                <a:gd name="connsiteX9" fmla="*/ 18415 w 45171"/>
                <a:gd name="connsiteY9" fmla="*/ 31750 h 46989"/>
                <a:gd name="connsiteX10" fmla="*/ 15240 w 45171"/>
                <a:gd name="connsiteY10" fmla="*/ 42545 h 46989"/>
                <a:gd name="connsiteX11" fmla="*/ 12700 w 45171"/>
                <a:gd name="connsiteY11" fmla="*/ 46990 h 46989"/>
                <a:gd name="connsiteX12" fmla="*/ 17780 w 45171"/>
                <a:gd name="connsiteY12" fmla="*/ 45720 h 46989"/>
                <a:gd name="connsiteX13" fmla="*/ 29845 w 45171"/>
                <a:gd name="connsiteY13" fmla="*/ 37465 h 46989"/>
                <a:gd name="connsiteX14" fmla="*/ 33020 w 45171"/>
                <a:gd name="connsiteY14" fmla="*/ 22225 h 46989"/>
                <a:gd name="connsiteX15" fmla="*/ 36195 w 45171"/>
                <a:gd name="connsiteY15" fmla="*/ 34925 h 46989"/>
                <a:gd name="connsiteX16" fmla="*/ 36195 w 45171"/>
                <a:gd name="connsiteY16" fmla="*/ 40640 h 46989"/>
                <a:gd name="connsiteX17" fmla="*/ 40005 w 45171"/>
                <a:gd name="connsiteY17" fmla="*/ 36195 h 46989"/>
                <a:gd name="connsiteX18" fmla="*/ 36195 w 45171"/>
                <a:gd name="connsiteY18" fmla="*/ 0 h 46989"/>
                <a:gd name="connsiteX19" fmla="*/ 34925 w 45171"/>
                <a:gd name="connsiteY19" fmla="*/ 4445 h 46989"/>
                <a:gd name="connsiteX20" fmla="*/ 40005 w 45171"/>
                <a:gd name="connsiteY20" fmla="*/ 27940 h 46989"/>
                <a:gd name="connsiteX21" fmla="*/ 30480 w 45171"/>
                <a:gd name="connsiteY21" fmla="*/ 15240 h 46989"/>
                <a:gd name="connsiteX22" fmla="*/ 26670 w 45171"/>
                <a:gd name="connsiteY22" fmla="*/ 13970 h 46989"/>
                <a:gd name="connsiteX23" fmla="*/ 27940 w 45171"/>
                <a:gd name="connsiteY23" fmla="*/ 17780 h 46989"/>
                <a:gd name="connsiteX24" fmla="*/ 26670 w 45171"/>
                <a:gd name="connsiteY24" fmla="*/ 34925 h 46989"/>
                <a:gd name="connsiteX25" fmla="*/ 22225 w 45171"/>
                <a:gd name="connsiteY25" fmla="*/ 39370 h 46989"/>
                <a:gd name="connsiteX26" fmla="*/ 18415 w 45171"/>
                <a:gd name="connsiteY26" fmla="*/ 22225 h 4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171" h="46989">
                  <a:moveTo>
                    <a:pt x="18415" y="22225"/>
                  </a:moveTo>
                  <a:cubicBezTo>
                    <a:pt x="18415" y="21590"/>
                    <a:pt x="15240" y="19050"/>
                    <a:pt x="15240" y="19050"/>
                  </a:cubicBezTo>
                  <a:lnTo>
                    <a:pt x="15240" y="24130"/>
                  </a:lnTo>
                  <a:cubicBezTo>
                    <a:pt x="15240" y="28575"/>
                    <a:pt x="13336" y="32385"/>
                    <a:pt x="10161" y="34925"/>
                  </a:cubicBezTo>
                  <a:cubicBezTo>
                    <a:pt x="11430" y="31750"/>
                    <a:pt x="10795" y="28575"/>
                    <a:pt x="9525" y="25400"/>
                  </a:cubicBezTo>
                  <a:lnTo>
                    <a:pt x="5715" y="27305"/>
                  </a:lnTo>
                  <a:cubicBezTo>
                    <a:pt x="7620" y="31115"/>
                    <a:pt x="6350" y="34925"/>
                    <a:pt x="3811" y="37465"/>
                  </a:cubicBezTo>
                  <a:lnTo>
                    <a:pt x="0" y="41275"/>
                  </a:lnTo>
                  <a:cubicBezTo>
                    <a:pt x="0" y="41275"/>
                    <a:pt x="3811" y="41275"/>
                    <a:pt x="5080" y="41275"/>
                  </a:cubicBezTo>
                  <a:cubicBezTo>
                    <a:pt x="10795" y="40640"/>
                    <a:pt x="15875" y="36830"/>
                    <a:pt x="18415" y="31750"/>
                  </a:cubicBezTo>
                  <a:cubicBezTo>
                    <a:pt x="18415" y="35560"/>
                    <a:pt x="17145" y="39370"/>
                    <a:pt x="15240" y="42545"/>
                  </a:cubicBezTo>
                  <a:lnTo>
                    <a:pt x="12700" y="46990"/>
                  </a:lnTo>
                  <a:cubicBezTo>
                    <a:pt x="12700" y="46990"/>
                    <a:pt x="17145" y="46355"/>
                    <a:pt x="17780" y="45720"/>
                  </a:cubicBezTo>
                  <a:cubicBezTo>
                    <a:pt x="22861" y="44450"/>
                    <a:pt x="26670" y="41275"/>
                    <a:pt x="29845" y="37465"/>
                  </a:cubicBezTo>
                  <a:cubicBezTo>
                    <a:pt x="32386" y="33020"/>
                    <a:pt x="33655" y="27940"/>
                    <a:pt x="33020" y="22225"/>
                  </a:cubicBezTo>
                  <a:cubicBezTo>
                    <a:pt x="35561" y="26035"/>
                    <a:pt x="36830" y="30480"/>
                    <a:pt x="36195" y="34925"/>
                  </a:cubicBezTo>
                  <a:lnTo>
                    <a:pt x="36195" y="40640"/>
                  </a:lnTo>
                  <a:cubicBezTo>
                    <a:pt x="37465" y="39370"/>
                    <a:pt x="38736" y="38100"/>
                    <a:pt x="40005" y="36195"/>
                  </a:cubicBezTo>
                  <a:cubicBezTo>
                    <a:pt x="48261" y="24765"/>
                    <a:pt x="46355" y="9525"/>
                    <a:pt x="36195" y="0"/>
                  </a:cubicBezTo>
                  <a:lnTo>
                    <a:pt x="34925" y="4445"/>
                  </a:lnTo>
                  <a:cubicBezTo>
                    <a:pt x="40640" y="10795"/>
                    <a:pt x="42545" y="19685"/>
                    <a:pt x="40005" y="27940"/>
                  </a:cubicBezTo>
                  <a:cubicBezTo>
                    <a:pt x="39370" y="22225"/>
                    <a:pt x="35561" y="17780"/>
                    <a:pt x="30480" y="15240"/>
                  </a:cubicBezTo>
                  <a:cubicBezTo>
                    <a:pt x="29211" y="14605"/>
                    <a:pt x="27940" y="13970"/>
                    <a:pt x="26670" y="13970"/>
                  </a:cubicBezTo>
                  <a:lnTo>
                    <a:pt x="27940" y="17780"/>
                  </a:lnTo>
                  <a:cubicBezTo>
                    <a:pt x="29845" y="23495"/>
                    <a:pt x="29211" y="29845"/>
                    <a:pt x="26670" y="34925"/>
                  </a:cubicBezTo>
                  <a:cubicBezTo>
                    <a:pt x="25400" y="36830"/>
                    <a:pt x="24130" y="38100"/>
                    <a:pt x="22225" y="39370"/>
                  </a:cubicBezTo>
                  <a:cubicBezTo>
                    <a:pt x="22861" y="32385"/>
                    <a:pt x="22225" y="26670"/>
                    <a:pt x="18415" y="22225"/>
                  </a:cubicBezTo>
                  <a:close/>
                </a:path>
              </a:pathLst>
            </a:custGeom>
            <a:solidFill>
              <a:srgbClr val="FFFFFF"/>
            </a:solidFill>
            <a:ln w="6350" cap="flat">
              <a:noFill/>
              <a:prstDash val="solid"/>
              <a:miter/>
            </a:ln>
          </p:spPr>
          <p:txBody>
            <a:bodyPr rtlCol="0" anchor="ctr"/>
            <a:lstStyle/>
            <a:p>
              <a:endParaRPr lang="en-GB"/>
            </a:p>
          </p:txBody>
        </p:sp>
        <p:sp>
          <p:nvSpPr>
            <p:cNvPr id="490" name="Freeform 489">
              <a:extLst>
                <a:ext uri="{FF2B5EF4-FFF2-40B4-BE49-F238E27FC236}">
                  <a16:creationId xmlns:a16="http://schemas.microsoft.com/office/drawing/2014/main" id="{80A7D852-0082-B1BF-0A3E-1B466D5919CA}"/>
                </a:ext>
              </a:extLst>
            </p:cNvPr>
            <p:cNvSpPr/>
            <p:nvPr/>
          </p:nvSpPr>
          <p:spPr>
            <a:xfrm>
              <a:off x="-7700009" y="4277359"/>
              <a:ext cx="135254" cy="172085"/>
            </a:xfrm>
            <a:custGeom>
              <a:avLst/>
              <a:gdLst>
                <a:gd name="connsiteX0" fmla="*/ 6350 w 135254"/>
                <a:gd name="connsiteY0" fmla="*/ 78740 h 172085"/>
                <a:gd name="connsiteX1" fmla="*/ 33020 w 135254"/>
                <a:gd name="connsiteY1" fmla="*/ 81280 h 172085"/>
                <a:gd name="connsiteX2" fmla="*/ 53975 w 135254"/>
                <a:gd name="connsiteY2" fmla="*/ 80645 h 172085"/>
                <a:gd name="connsiteX3" fmla="*/ 55880 w 135254"/>
                <a:gd name="connsiteY3" fmla="*/ 81915 h 172085"/>
                <a:gd name="connsiteX4" fmla="*/ 53340 w 135254"/>
                <a:gd name="connsiteY4" fmla="*/ 83820 h 172085"/>
                <a:gd name="connsiteX5" fmla="*/ 36195 w 135254"/>
                <a:gd name="connsiteY5" fmla="*/ 85090 h 172085"/>
                <a:gd name="connsiteX6" fmla="*/ 31115 w 135254"/>
                <a:gd name="connsiteY6" fmla="*/ 83185 h 172085"/>
                <a:gd name="connsiteX7" fmla="*/ 31115 w 135254"/>
                <a:gd name="connsiteY7" fmla="*/ 85725 h 172085"/>
                <a:gd name="connsiteX8" fmla="*/ 34925 w 135254"/>
                <a:gd name="connsiteY8" fmla="*/ 94615 h 172085"/>
                <a:gd name="connsiteX9" fmla="*/ 46990 w 135254"/>
                <a:gd name="connsiteY9" fmla="*/ 99060 h 172085"/>
                <a:gd name="connsiteX10" fmla="*/ 38735 w 135254"/>
                <a:gd name="connsiteY10" fmla="*/ 115570 h 172085"/>
                <a:gd name="connsiteX11" fmla="*/ 40640 w 135254"/>
                <a:gd name="connsiteY11" fmla="*/ 124460 h 172085"/>
                <a:gd name="connsiteX12" fmla="*/ 41910 w 135254"/>
                <a:gd name="connsiteY12" fmla="*/ 127635 h 172085"/>
                <a:gd name="connsiteX13" fmla="*/ 44450 w 135254"/>
                <a:gd name="connsiteY13" fmla="*/ 125095 h 172085"/>
                <a:gd name="connsiteX14" fmla="*/ 50800 w 135254"/>
                <a:gd name="connsiteY14" fmla="*/ 119380 h 172085"/>
                <a:gd name="connsiteX15" fmla="*/ 46990 w 135254"/>
                <a:gd name="connsiteY15" fmla="*/ 133985 h 172085"/>
                <a:gd name="connsiteX16" fmla="*/ 46990 w 135254"/>
                <a:gd name="connsiteY16" fmla="*/ 135890 h 172085"/>
                <a:gd name="connsiteX17" fmla="*/ 62230 w 135254"/>
                <a:gd name="connsiteY17" fmla="*/ 160655 h 172085"/>
                <a:gd name="connsiteX18" fmla="*/ 65405 w 135254"/>
                <a:gd name="connsiteY18" fmla="*/ 163195 h 172085"/>
                <a:gd name="connsiteX19" fmla="*/ 65405 w 135254"/>
                <a:gd name="connsiteY19" fmla="*/ 158750 h 172085"/>
                <a:gd name="connsiteX20" fmla="*/ 69850 w 135254"/>
                <a:gd name="connsiteY20" fmla="*/ 136525 h 172085"/>
                <a:gd name="connsiteX21" fmla="*/ 71755 w 135254"/>
                <a:gd name="connsiteY21" fmla="*/ 153035 h 172085"/>
                <a:gd name="connsiteX22" fmla="*/ 71755 w 135254"/>
                <a:gd name="connsiteY22" fmla="*/ 157480 h 172085"/>
                <a:gd name="connsiteX23" fmla="*/ 69850 w 135254"/>
                <a:gd name="connsiteY23" fmla="*/ 166370 h 172085"/>
                <a:gd name="connsiteX24" fmla="*/ 66675 w 135254"/>
                <a:gd name="connsiteY24" fmla="*/ 172085 h 172085"/>
                <a:gd name="connsiteX25" fmla="*/ 70485 w 135254"/>
                <a:gd name="connsiteY25" fmla="*/ 172085 h 172085"/>
                <a:gd name="connsiteX26" fmla="*/ 91440 w 135254"/>
                <a:gd name="connsiteY26" fmla="*/ 161925 h 172085"/>
                <a:gd name="connsiteX27" fmla="*/ 97155 w 135254"/>
                <a:gd name="connsiteY27" fmla="*/ 144145 h 172085"/>
                <a:gd name="connsiteX28" fmla="*/ 96520 w 135254"/>
                <a:gd name="connsiteY28" fmla="*/ 135890 h 172085"/>
                <a:gd name="connsiteX29" fmla="*/ 102235 w 135254"/>
                <a:gd name="connsiteY29" fmla="*/ 148590 h 172085"/>
                <a:gd name="connsiteX30" fmla="*/ 101600 w 135254"/>
                <a:gd name="connsiteY30" fmla="*/ 153035 h 172085"/>
                <a:gd name="connsiteX31" fmla="*/ 100965 w 135254"/>
                <a:gd name="connsiteY31" fmla="*/ 156845 h 172085"/>
                <a:gd name="connsiteX32" fmla="*/ 104140 w 135254"/>
                <a:gd name="connsiteY32" fmla="*/ 155575 h 172085"/>
                <a:gd name="connsiteX33" fmla="*/ 121285 w 135254"/>
                <a:gd name="connsiteY33" fmla="*/ 135890 h 172085"/>
                <a:gd name="connsiteX34" fmla="*/ 121920 w 135254"/>
                <a:gd name="connsiteY34" fmla="*/ 128905 h 172085"/>
                <a:gd name="connsiteX35" fmla="*/ 117475 w 135254"/>
                <a:gd name="connsiteY35" fmla="*/ 113030 h 172085"/>
                <a:gd name="connsiteX36" fmla="*/ 125730 w 135254"/>
                <a:gd name="connsiteY36" fmla="*/ 123190 h 172085"/>
                <a:gd name="connsiteX37" fmla="*/ 127000 w 135254"/>
                <a:gd name="connsiteY37" fmla="*/ 127635 h 172085"/>
                <a:gd name="connsiteX38" fmla="*/ 129540 w 135254"/>
                <a:gd name="connsiteY38" fmla="*/ 123825 h 172085"/>
                <a:gd name="connsiteX39" fmla="*/ 134620 w 135254"/>
                <a:gd name="connsiteY39" fmla="*/ 105410 h 172085"/>
                <a:gd name="connsiteX40" fmla="*/ 122555 w 135254"/>
                <a:gd name="connsiteY40" fmla="*/ 78105 h 172085"/>
                <a:gd name="connsiteX41" fmla="*/ 131445 w 135254"/>
                <a:gd name="connsiteY41" fmla="*/ 83185 h 172085"/>
                <a:gd name="connsiteX42" fmla="*/ 135255 w 135254"/>
                <a:gd name="connsiteY42" fmla="*/ 89535 h 172085"/>
                <a:gd name="connsiteX43" fmla="*/ 135255 w 135254"/>
                <a:gd name="connsiteY43" fmla="*/ 82550 h 172085"/>
                <a:gd name="connsiteX44" fmla="*/ 116840 w 135254"/>
                <a:gd name="connsiteY44" fmla="*/ 53975 h 172085"/>
                <a:gd name="connsiteX45" fmla="*/ 116840 w 135254"/>
                <a:gd name="connsiteY45" fmla="*/ 53975 h 172085"/>
                <a:gd name="connsiteX46" fmla="*/ 125095 w 135254"/>
                <a:gd name="connsiteY46" fmla="*/ 38100 h 172085"/>
                <a:gd name="connsiteX47" fmla="*/ 125730 w 135254"/>
                <a:gd name="connsiteY47" fmla="*/ 35560 h 172085"/>
                <a:gd name="connsiteX48" fmla="*/ 123190 w 135254"/>
                <a:gd name="connsiteY48" fmla="*/ 35560 h 172085"/>
                <a:gd name="connsiteX49" fmla="*/ 107315 w 135254"/>
                <a:gd name="connsiteY49" fmla="*/ 38735 h 172085"/>
                <a:gd name="connsiteX50" fmla="*/ 107315 w 135254"/>
                <a:gd name="connsiteY50" fmla="*/ 38735 h 172085"/>
                <a:gd name="connsiteX51" fmla="*/ 121920 w 135254"/>
                <a:gd name="connsiteY51" fmla="*/ 3175 h 172085"/>
                <a:gd name="connsiteX52" fmla="*/ 120015 w 135254"/>
                <a:gd name="connsiteY52" fmla="*/ 3175 h 172085"/>
                <a:gd name="connsiteX53" fmla="*/ 111760 w 135254"/>
                <a:gd name="connsiteY53" fmla="*/ 11430 h 172085"/>
                <a:gd name="connsiteX54" fmla="*/ 113030 w 135254"/>
                <a:gd name="connsiteY54" fmla="*/ 15875 h 172085"/>
                <a:gd name="connsiteX55" fmla="*/ 102870 w 135254"/>
                <a:gd name="connsiteY55" fmla="*/ 15875 h 172085"/>
                <a:gd name="connsiteX56" fmla="*/ 102870 w 135254"/>
                <a:gd name="connsiteY56" fmla="*/ 26035 h 172085"/>
                <a:gd name="connsiteX57" fmla="*/ 107950 w 135254"/>
                <a:gd name="connsiteY57" fmla="*/ 27940 h 172085"/>
                <a:gd name="connsiteX58" fmla="*/ 109220 w 135254"/>
                <a:gd name="connsiteY58" fmla="*/ 27940 h 172085"/>
                <a:gd name="connsiteX59" fmla="*/ 96520 w 135254"/>
                <a:gd name="connsiteY59" fmla="*/ 34290 h 172085"/>
                <a:gd name="connsiteX60" fmla="*/ 85725 w 135254"/>
                <a:gd name="connsiteY60" fmla="*/ 24130 h 172085"/>
                <a:gd name="connsiteX61" fmla="*/ 89535 w 135254"/>
                <a:gd name="connsiteY61" fmla="*/ 25400 h 172085"/>
                <a:gd name="connsiteX62" fmla="*/ 96520 w 135254"/>
                <a:gd name="connsiteY62" fmla="*/ 18415 h 172085"/>
                <a:gd name="connsiteX63" fmla="*/ 89535 w 135254"/>
                <a:gd name="connsiteY63" fmla="*/ 11430 h 172085"/>
                <a:gd name="connsiteX64" fmla="*/ 89535 w 135254"/>
                <a:gd name="connsiteY64" fmla="*/ 11430 h 172085"/>
                <a:gd name="connsiteX65" fmla="*/ 86360 w 135254"/>
                <a:gd name="connsiteY65" fmla="*/ 12065 h 172085"/>
                <a:gd name="connsiteX66" fmla="*/ 88265 w 135254"/>
                <a:gd name="connsiteY66" fmla="*/ 6985 h 172085"/>
                <a:gd name="connsiteX67" fmla="*/ 81280 w 135254"/>
                <a:gd name="connsiteY67" fmla="*/ 0 h 172085"/>
                <a:gd name="connsiteX68" fmla="*/ 74295 w 135254"/>
                <a:gd name="connsiteY68" fmla="*/ 6985 h 172085"/>
                <a:gd name="connsiteX69" fmla="*/ 76200 w 135254"/>
                <a:gd name="connsiteY69" fmla="*/ 12065 h 172085"/>
                <a:gd name="connsiteX70" fmla="*/ 73025 w 135254"/>
                <a:gd name="connsiteY70" fmla="*/ 11430 h 172085"/>
                <a:gd name="connsiteX71" fmla="*/ 66040 w 135254"/>
                <a:gd name="connsiteY71" fmla="*/ 18415 h 172085"/>
                <a:gd name="connsiteX72" fmla="*/ 66040 w 135254"/>
                <a:gd name="connsiteY72" fmla="*/ 18415 h 172085"/>
                <a:gd name="connsiteX73" fmla="*/ 73025 w 135254"/>
                <a:gd name="connsiteY73" fmla="*/ 25400 h 172085"/>
                <a:gd name="connsiteX74" fmla="*/ 76835 w 135254"/>
                <a:gd name="connsiteY74" fmla="*/ 24130 h 172085"/>
                <a:gd name="connsiteX75" fmla="*/ 66040 w 135254"/>
                <a:gd name="connsiteY75" fmla="*/ 34290 h 172085"/>
                <a:gd name="connsiteX76" fmla="*/ 53340 w 135254"/>
                <a:gd name="connsiteY76" fmla="*/ 27940 h 172085"/>
                <a:gd name="connsiteX77" fmla="*/ 54610 w 135254"/>
                <a:gd name="connsiteY77" fmla="*/ 27940 h 172085"/>
                <a:gd name="connsiteX78" fmla="*/ 60960 w 135254"/>
                <a:gd name="connsiteY78" fmla="*/ 20320 h 172085"/>
                <a:gd name="connsiteX79" fmla="*/ 54610 w 135254"/>
                <a:gd name="connsiteY79" fmla="*/ 13970 h 172085"/>
                <a:gd name="connsiteX80" fmla="*/ 48895 w 135254"/>
                <a:gd name="connsiteY80" fmla="*/ 15875 h 172085"/>
                <a:gd name="connsiteX81" fmla="*/ 45720 w 135254"/>
                <a:gd name="connsiteY81" fmla="*/ 4445 h 172085"/>
                <a:gd name="connsiteX82" fmla="*/ 41910 w 135254"/>
                <a:gd name="connsiteY82" fmla="*/ 3175 h 172085"/>
                <a:gd name="connsiteX83" fmla="*/ 40005 w 135254"/>
                <a:gd name="connsiteY83" fmla="*/ 3175 h 172085"/>
                <a:gd name="connsiteX84" fmla="*/ 55880 w 135254"/>
                <a:gd name="connsiteY84" fmla="*/ 41275 h 172085"/>
                <a:gd name="connsiteX85" fmla="*/ 104140 w 135254"/>
                <a:gd name="connsiteY85" fmla="*/ 41275 h 172085"/>
                <a:gd name="connsiteX86" fmla="*/ 104775 w 135254"/>
                <a:gd name="connsiteY86" fmla="*/ 40640 h 172085"/>
                <a:gd name="connsiteX87" fmla="*/ 104140 w 135254"/>
                <a:gd name="connsiteY87" fmla="*/ 41275 h 172085"/>
                <a:gd name="connsiteX88" fmla="*/ 97155 w 135254"/>
                <a:gd name="connsiteY88" fmla="*/ 47625 h 172085"/>
                <a:gd name="connsiteX89" fmla="*/ 100330 w 135254"/>
                <a:gd name="connsiteY89" fmla="*/ 50165 h 172085"/>
                <a:gd name="connsiteX90" fmla="*/ 121920 w 135254"/>
                <a:gd name="connsiteY90" fmla="*/ 39370 h 172085"/>
                <a:gd name="connsiteX91" fmla="*/ 102870 w 135254"/>
                <a:gd name="connsiteY91" fmla="*/ 58420 h 172085"/>
                <a:gd name="connsiteX92" fmla="*/ 103505 w 135254"/>
                <a:gd name="connsiteY92" fmla="*/ 62865 h 172085"/>
                <a:gd name="connsiteX93" fmla="*/ 114935 w 135254"/>
                <a:gd name="connsiteY93" fmla="*/ 57150 h 172085"/>
                <a:gd name="connsiteX94" fmla="*/ 114935 w 135254"/>
                <a:gd name="connsiteY94" fmla="*/ 57150 h 172085"/>
                <a:gd name="connsiteX95" fmla="*/ 130175 w 135254"/>
                <a:gd name="connsiteY95" fmla="*/ 76200 h 172085"/>
                <a:gd name="connsiteX96" fmla="*/ 118110 w 135254"/>
                <a:gd name="connsiteY96" fmla="*/ 74295 h 172085"/>
                <a:gd name="connsiteX97" fmla="*/ 114300 w 135254"/>
                <a:gd name="connsiteY97" fmla="*/ 74930 h 172085"/>
                <a:gd name="connsiteX98" fmla="*/ 117475 w 135254"/>
                <a:gd name="connsiteY98" fmla="*/ 77470 h 172085"/>
                <a:gd name="connsiteX99" fmla="*/ 131445 w 135254"/>
                <a:gd name="connsiteY99" fmla="*/ 104775 h 172085"/>
                <a:gd name="connsiteX100" fmla="*/ 128905 w 135254"/>
                <a:gd name="connsiteY100" fmla="*/ 116840 h 172085"/>
                <a:gd name="connsiteX101" fmla="*/ 114935 w 135254"/>
                <a:gd name="connsiteY101" fmla="*/ 107315 h 172085"/>
                <a:gd name="connsiteX102" fmla="*/ 111125 w 135254"/>
                <a:gd name="connsiteY102" fmla="*/ 107315 h 172085"/>
                <a:gd name="connsiteX103" fmla="*/ 113030 w 135254"/>
                <a:gd name="connsiteY103" fmla="*/ 110490 h 172085"/>
                <a:gd name="connsiteX104" fmla="*/ 119380 w 135254"/>
                <a:gd name="connsiteY104" fmla="*/ 128270 h 172085"/>
                <a:gd name="connsiteX105" fmla="*/ 118745 w 135254"/>
                <a:gd name="connsiteY105" fmla="*/ 133985 h 172085"/>
                <a:gd name="connsiteX106" fmla="*/ 107950 w 135254"/>
                <a:gd name="connsiteY106" fmla="*/ 148590 h 172085"/>
                <a:gd name="connsiteX107" fmla="*/ 107950 w 135254"/>
                <a:gd name="connsiteY107" fmla="*/ 148590 h 172085"/>
                <a:gd name="connsiteX108" fmla="*/ 95885 w 135254"/>
                <a:gd name="connsiteY108" fmla="*/ 128905 h 172085"/>
                <a:gd name="connsiteX109" fmla="*/ 92710 w 135254"/>
                <a:gd name="connsiteY109" fmla="*/ 128270 h 172085"/>
                <a:gd name="connsiteX110" fmla="*/ 93345 w 135254"/>
                <a:gd name="connsiteY110" fmla="*/ 132080 h 172085"/>
                <a:gd name="connsiteX111" fmla="*/ 94615 w 135254"/>
                <a:gd name="connsiteY111" fmla="*/ 144780 h 172085"/>
                <a:gd name="connsiteX112" fmla="*/ 90170 w 135254"/>
                <a:gd name="connsiteY112" fmla="*/ 160020 h 172085"/>
                <a:gd name="connsiteX113" fmla="*/ 75565 w 135254"/>
                <a:gd name="connsiteY113" fmla="*/ 168275 h 172085"/>
                <a:gd name="connsiteX114" fmla="*/ 77470 w 135254"/>
                <a:gd name="connsiteY114" fmla="*/ 158750 h 172085"/>
                <a:gd name="connsiteX115" fmla="*/ 77470 w 135254"/>
                <a:gd name="connsiteY115" fmla="*/ 154305 h 172085"/>
                <a:gd name="connsiteX116" fmla="*/ 74295 w 135254"/>
                <a:gd name="connsiteY116" fmla="*/ 132715 h 172085"/>
                <a:gd name="connsiteX117" fmla="*/ 73660 w 135254"/>
                <a:gd name="connsiteY117" fmla="*/ 129540 h 172085"/>
                <a:gd name="connsiteX118" fmla="*/ 66675 w 135254"/>
                <a:gd name="connsiteY118" fmla="*/ 139065 h 172085"/>
                <a:gd name="connsiteX119" fmla="*/ 63500 w 135254"/>
                <a:gd name="connsiteY119" fmla="*/ 155575 h 172085"/>
                <a:gd name="connsiteX120" fmla="*/ 53975 w 135254"/>
                <a:gd name="connsiteY120" fmla="*/ 136525 h 172085"/>
                <a:gd name="connsiteX121" fmla="*/ 53975 w 135254"/>
                <a:gd name="connsiteY121" fmla="*/ 134620 h 172085"/>
                <a:gd name="connsiteX122" fmla="*/ 60960 w 135254"/>
                <a:gd name="connsiteY122" fmla="*/ 116205 h 172085"/>
                <a:gd name="connsiteX123" fmla="*/ 65405 w 135254"/>
                <a:gd name="connsiteY123" fmla="*/ 111125 h 172085"/>
                <a:gd name="connsiteX124" fmla="*/ 58420 w 135254"/>
                <a:gd name="connsiteY124" fmla="*/ 113030 h 172085"/>
                <a:gd name="connsiteX125" fmla="*/ 46990 w 135254"/>
                <a:gd name="connsiteY125" fmla="*/ 120015 h 172085"/>
                <a:gd name="connsiteX126" fmla="*/ 46355 w 135254"/>
                <a:gd name="connsiteY126" fmla="*/ 115570 h 172085"/>
                <a:gd name="connsiteX127" fmla="*/ 58420 w 135254"/>
                <a:gd name="connsiteY127" fmla="*/ 98425 h 172085"/>
                <a:gd name="connsiteX128" fmla="*/ 71755 w 135254"/>
                <a:gd name="connsiteY128" fmla="*/ 92710 h 172085"/>
                <a:gd name="connsiteX129" fmla="*/ 57150 w 135254"/>
                <a:gd name="connsiteY129" fmla="*/ 94615 h 172085"/>
                <a:gd name="connsiteX130" fmla="*/ 41275 w 135254"/>
                <a:gd name="connsiteY130" fmla="*/ 91440 h 172085"/>
                <a:gd name="connsiteX131" fmla="*/ 39370 w 135254"/>
                <a:gd name="connsiteY131" fmla="*/ 88265 h 172085"/>
                <a:gd name="connsiteX132" fmla="*/ 59055 w 135254"/>
                <a:gd name="connsiteY132" fmla="*/ 86360 h 172085"/>
                <a:gd name="connsiteX133" fmla="*/ 69850 w 135254"/>
                <a:gd name="connsiteY133" fmla="*/ 76835 h 172085"/>
                <a:gd name="connsiteX134" fmla="*/ 69850 w 135254"/>
                <a:gd name="connsiteY134" fmla="*/ 76200 h 172085"/>
                <a:gd name="connsiteX135" fmla="*/ 69850 w 135254"/>
                <a:gd name="connsiteY135" fmla="*/ 74930 h 172085"/>
                <a:gd name="connsiteX136" fmla="*/ 59055 w 135254"/>
                <a:gd name="connsiteY136" fmla="*/ 67310 h 172085"/>
                <a:gd name="connsiteX137" fmla="*/ 48895 w 135254"/>
                <a:gd name="connsiteY137" fmla="*/ 60325 h 172085"/>
                <a:gd name="connsiteX138" fmla="*/ 48260 w 135254"/>
                <a:gd name="connsiteY138" fmla="*/ 59690 h 172085"/>
                <a:gd name="connsiteX139" fmla="*/ 28575 w 135254"/>
                <a:gd name="connsiteY139" fmla="*/ 60325 h 172085"/>
                <a:gd name="connsiteX140" fmla="*/ 38735 w 135254"/>
                <a:gd name="connsiteY140" fmla="*/ 45720 h 172085"/>
                <a:gd name="connsiteX141" fmla="*/ 53340 w 135254"/>
                <a:gd name="connsiteY141" fmla="*/ 47625 h 172085"/>
                <a:gd name="connsiteX142" fmla="*/ 62230 w 135254"/>
                <a:gd name="connsiteY142" fmla="*/ 59055 h 172085"/>
                <a:gd name="connsiteX143" fmla="*/ 73660 w 135254"/>
                <a:gd name="connsiteY143" fmla="*/ 52070 h 172085"/>
                <a:gd name="connsiteX144" fmla="*/ 74295 w 135254"/>
                <a:gd name="connsiteY144" fmla="*/ 50800 h 172085"/>
                <a:gd name="connsiteX145" fmla="*/ 76200 w 135254"/>
                <a:gd name="connsiteY145" fmla="*/ 52070 h 172085"/>
                <a:gd name="connsiteX146" fmla="*/ 79375 w 135254"/>
                <a:gd name="connsiteY146" fmla="*/ 49530 h 172085"/>
                <a:gd name="connsiteX147" fmla="*/ 76200 w 135254"/>
                <a:gd name="connsiteY147" fmla="*/ 46990 h 172085"/>
                <a:gd name="connsiteX148" fmla="*/ 65405 w 135254"/>
                <a:gd name="connsiteY148" fmla="*/ 45720 h 172085"/>
                <a:gd name="connsiteX149" fmla="*/ 65405 w 135254"/>
                <a:gd name="connsiteY149" fmla="*/ 45720 h 172085"/>
                <a:gd name="connsiteX150" fmla="*/ 58420 w 135254"/>
                <a:gd name="connsiteY150" fmla="*/ 45720 h 172085"/>
                <a:gd name="connsiteX151" fmla="*/ 61595 w 135254"/>
                <a:gd name="connsiteY151" fmla="*/ 41910 h 172085"/>
                <a:gd name="connsiteX152" fmla="*/ 64135 w 135254"/>
                <a:gd name="connsiteY152" fmla="*/ 40005 h 172085"/>
                <a:gd name="connsiteX153" fmla="*/ 57785 w 135254"/>
                <a:gd name="connsiteY153" fmla="*/ 40005 h 172085"/>
                <a:gd name="connsiteX154" fmla="*/ 55245 w 135254"/>
                <a:gd name="connsiteY154" fmla="*/ 43815 h 172085"/>
                <a:gd name="connsiteX155" fmla="*/ 38735 w 135254"/>
                <a:gd name="connsiteY155" fmla="*/ 42545 h 172085"/>
                <a:gd name="connsiteX156" fmla="*/ 24765 w 135254"/>
                <a:gd name="connsiteY156" fmla="*/ 64770 h 172085"/>
                <a:gd name="connsiteX157" fmla="*/ 23495 w 135254"/>
                <a:gd name="connsiteY157" fmla="*/ 70485 h 172085"/>
                <a:gd name="connsiteX158" fmla="*/ 27940 w 135254"/>
                <a:gd name="connsiteY158" fmla="*/ 67310 h 172085"/>
                <a:gd name="connsiteX159" fmla="*/ 46990 w 135254"/>
                <a:gd name="connsiteY159" fmla="*/ 63500 h 172085"/>
                <a:gd name="connsiteX160" fmla="*/ 59055 w 135254"/>
                <a:gd name="connsiteY160" fmla="*/ 71755 h 172085"/>
                <a:gd name="connsiteX161" fmla="*/ 66675 w 135254"/>
                <a:gd name="connsiteY161" fmla="*/ 76200 h 172085"/>
                <a:gd name="connsiteX162" fmla="*/ 62865 w 135254"/>
                <a:gd name="connsiteY162" fmla="*/ 80010 h 172085"/>
                <a:gd name="connsiteX163" fmla="*/ 60960 w 135254"/>
                <a:gd name="connsiteY163" fmla="*/ 77470 h 172085"/>
                <a:gd name="connsiteX164" fmla="*/ 40005 w 135254"/>
                <a:gd name="connsiteY164" fmla="*/ 69850 h 172085"/>
                <a:gd name="connsiteX165" fmla="*/ 40005 w 135254"/>
                <a:gd name="connsiteY165" fmla="*/ 69850 h 172085"/>
                <a:gd name="connsiteX166" fmla="*/ 6350 w 135254"/>
                <a:gd name="connsiteY166" fmla="*/ 65405 h 172085"/>
                <a:gd name="connsiteX167" fmla="*/ 0 w 135254"/>
                <a:gd name="connsiteY167" fmla="*/ 60325 h 172085"/>
                <a:gd name="connsiteX168" fmla="*/ 3175 w 135254"/>
                <a:gd name="connsiteY168" fmla="*/ 67310 h 172085"/>
                <a:gd name="connsiteX169" fmla="*/ 6350 w 135254"/>
                <a:gd name="connsiteY169" fmla="*/ 78740 h 172085"/>
                <a:gd name="connsiteX170" fmla="*/ 104775 w 135254"/>
                <a:gd name="connsiteY170" fmla="*/ 40005 h 172085"/>
                <a:gd name="connsiteX171" fmla="*/ 104775 w 135254"/>
                <a:gd name="connsiteY171" fmla="*/ 40005 h 172085"/>
                <a:gd name="connsiteX172" fmla="*/ 104775 w 135254"/>
                <a:gd name="connsiteY172" fmla="*/ 40005 h 172085"/>
                <a:gd name="connsiteX173" fmla="*/ 104775 w 135254"/>
                <a:gd name="connsiteY173" fmla="*/ 40005 h 172085"/>
                <a:gd name="connsiteX174" fmla="*/ 57785 w 135254"/>
                <a:gd name="connsiteY174" fmla="*/ 51435 h 172085"/>
                <a:gd name="connsiteX175" fmla="*/ 62230 w 135254"/>
                <a:gd name="connsiteY175" fmla="*/ 54610 h 172085"/>
                <a:gd name="connsiteX176" fmla="*/ 65405 w 135254"/>
                <a:gd name="connsiteY176" fmla="*/ 50800 h 172085"/>
                <a:gd name="connsiteX177" fmla="*/ 67945 w 135254"/>
                <a:gd name="connsiteY177" fmla="*/ 50800 h 172085"/>
                <a:gd name="connsiteX178" fmla="*/ 67310 w 135254"/>
                <a:gd name="connsiteY178" fmla="*/ 52070 h 172085"/>
                <a:gd name="connsiteX179" fmla="*/ 60960 w 135254"/>
                <a:gd name="connsiteY179" fmla="*/ 56515 h 172085"/>
                <a:gd name="connsiteX180" fmla="*/ 55880 w 135254"/>
                <a:gd name="connsiteY180" fmla="*/ 50800 h 172085"/>
                <a:gd name="connsiteX181" fmla="*/ 57785 w 135254"/>
                <a:gd name="connsiteY181" fmla="*/ 51435 h 172085"/>
                <a:gd name="connsiteX182" fmla="*/ 57785 w 135254"/>
                <a:gd name="connsiteY182" fmla="*/ 51435 h 172085"/>
                <a:gd name="connsiteX183" fmla="*/ 36830 w 135254"/>
                <a:gd name="connsiteY183" fmla="*/ 74295 h 172085"/>
                <a:gd name="connsiteX184" fmla="*/ 45720 w 135254"/>
                <a:gd name="connsiteY184" fmla="*/ 74930 h 172085"/>
                <a:gd name="connsiteX185" fmla="*/ 31750 w 135254"/>
                <a:gd name="connsiteY185" fmla="*/ 77470 h 172085"/>
                <a:gd name="connsiteX186" fmla="*/ 8890 w 135254"/>
                <a:gd name="connsiteY186" fmla="*/ 75565 h 172085"/>
                <a:gd name="connsiteX187" fmla="*/ 6350 w 135254"/>
                <a:gd name="connsiteY187" fmla="*/ 72390 h 172085"/>
                <a:gd name="connsiteX188" fmla="*/ 36830 w 135254"/>
                <a:gd name="connsiteY188" fmla="*/ 74295 h 172085"/>
                <a:gd name="connsiteX189" fmla="*/ 36830 w 135254"/>
                <a:gd name="connsiteY189" fmla="*/ 74295 h 17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135254" h="172085">
                  <a:moveTo>
                    <a:pt x="6350" y="78740"/>
                  </a:moveTo>
                  <a:cubicBezTo>
                    <a:pt x="15240" y="86360"/>
                    <a:pt x="24130" y="83820"/>
                    <a:pt x="33020" y="81280"/>
                  </a:cubicBezTo>
                  <a:cubicBezTo>
                    <a:pt x="40005" y="79375"/>
                    <a:pt x="46990" y="76835"/>
                    <a:pt x="53975" y="80645"/>
                  </a:cubicBezTo>
                  <a:lnTo>
                    <a:pt x="55880" y="81915"/>
                  </a:lnTo>
                  <a:lnTo>
                    <a:pt x="53340" y="83820"/>
                  </a:lnTo>
                  <a:cubicBezTo>
                    <a:pt x="48260" y="86995"/>
                    <a:pt x="41275" y="87630"/>
                    <a:pt x="36195" y="85090"/>
                  </a:cubicBezTo>
                  <a:cubicBezTo>
                    <a:pt x="32385" y="83820"/>
                    <a:pt x="31115" y="83185"/>
                    <a:pt x="31115" y="83185"/>
                  </a:cubicBezTo>
                  <a:lnTo>
                    <a:pt x="31115" y="85725"/>
                  </a:lnTo>
                  <a:cubicBezTo>
                    <a:pt x="31115" y="88900"/>
                    <a:pt x="32385" y="92075"/>
                    <a:pt x="34925" y="94615"/>
                  </a:cubicBezTo>
                  <a:cubicBezTo>
                    <a:pt x="38100" y="97790"/>
                    <a:pt x="42545" y="99060"/>
                    <a:pt x="46990" y="99060"/>
                  </a:cubicBezTo>
                  <a:cubicBezTo>
                    <a:pt x="41910" y="102870"/>
                    <a:pt x="38735" y="109220"/>
                    <a:pt x="38735" y="115570"/>
                  </a:cubicBezTo>
                  <a:cubicBezTo>
                    <a:pt x="38735" y="118745"/>
                    <a:pt x="39370" y="121920"/>
                    <a:pt x="40640" y="124460"/>
                  </a:cubicBezTo>
                  <a:lnTo>
                    <a:pt x="41910" y="127635"/>
                  </a:lnTo>
                  <a:lnTo>
                    <a:pt x="44450" y="125095"/>
                  </a:lnTo>
                  <a:cubicBezTo>
                    <a:pt x="46355" y="123190"/>
                    <a:pt x="48260" y="121285"/>
                    <a:pt x="50800" y="119380"/>
                  </a:cubicBezTo>
                  <a:cubicBezTo>
                    <a:pt x="48260" y="123825"/>
                    <a:pt x="46990" y="128905"/>
                    <a:pt x="46990" y="133985"/>
                  </a:cubicBezTo>
                  <a:cubicBezTo>
                    <a:pt x="46990" y="134620"/>
                    <a:pt x="46990" y="135255"/>
                    <a:pt x="46990" y="135890"/>
                  </a:cubicBezTo>
                  <a:cubicBezTo>
                    <a:pt x="48260" y="146050"/>
                    <a:pt x="53975" y="154940"/>
                    <a:pt x="62230" y="160655"/>
                  </a:cubicBezTo>
                  <a:lnTo>
                    <a:pt x="65405" y="163195"/>
                  </a:lnTo>
                  <a:lnTo>
                    <a:pt x="65405" y="158750"/>
                  </a:lnTo>
                  <a:cubicBezTo>
                    <a:pt x="65405" y="151130"/>
                    <a:pt x="66675" y="143510"/>
                    <a:pt x="69850" y="136525"/>
                  </a:cubicBezTo>
                  <a:cubicBezTo>
                    <a:pt x="71120" y="141605"/>
                    <a:pt x="71755" y="147320"/>
                    <a:pt x="71755" y="153035"/>
                  </a:cubicBezTo>
                  <a:cubicBezTo>
                    <a:pt x="71755" y="154305"/>
                    <a:pt x="71755" y="155575"/>
                    <a:pt x="71755" y="157480"/>
                  </a:cubicBezTo>
                  <a:cubicBezTo>
                    <a:pt x="71120" y="160655"/>
                    <a:pt x="71120" y="163195"/>
                    <a:pt x="69850" y="166370"/>
                  </a:cubicBezTo>
                  <a:cubicBezTo>
                    <a:pt x="69215" y="168275"/>
                    <a:pt x="67945" y="170180"/>
                    <a:pt x="66675" y="172085"/>
                  </a:cubicBezTo>
                  <a:lnTo>
                    <a:pt x="70485" y="172085"/>
                  </a:lnTo>
                  <a:cubicBezTo>
                    <a:pt x="78740" y="171450"/>
                    <a:pt x="86360" y="168275"/>
                    <a:pt x="91440" y="161925"/>
                  </a:cubicBezTo>
                  <a:cubicBezTo>
                    <a:pt x="95250" y="156845"/>
                    <a:pt x="97155" y="150495"/>
                    <a:pt x="97155" y="144145"/>
                  </a:cubicBezTo>
                  <a:cubicBezTo>
                    <a:pt x="97155" y="141605"/>
                    <a:pt x="97155" y="138430"/>
                    <a:pt x="96520" y="135890"/>
                  </a:cubicBezTo>
                  <a:cubicBezTo>
                    <a:pt x="100330" y="139065"/>
                    <a:pt x="102235" y="144145"/>
                    <a:pt x="102235" y="148590"/>
                  </a:cubicBezTo>
                  <a:cubicBezTo>
                    <a:pt x="102235" y="149860"/>
                    <a:pt x="102235" y="151765"/>
                    <a:pt x="101600" y="153035"/>
                  </a:cubicBezTo>
                  <a:lnTo>
                    <a:pt x="100965" y="156845"/>
                  </a:lnTo>
                  <a:cubicBezTo>
                    <a:pt x="100965" y="156845"/>
                    <a:pt x="102870" y="156210"/>
                    <a:pt x="104140" y="155575"/>
                  </a:cubicBezTo>
                  <a:cubicBezTo>
                    <a:pt x="112395" y="151765"/>
                    <a:pt x="118110" y="144145"/>
                    <a:pt x="121285" y="135890"/>
                  </a:cubicBezTo>
                  <a:cubicBezTo>
                    <a:pt x="121920" y="133350"/>
                    <a:pt x="121920" y="131445"/>
                    <a:pt x="121920" y="128905"/>
                  </a:cubicBezTo>
                  <a:cubicBezTo>
                    <a:pt x="121920" y="123190"/>
                    <a:pt x="120015" y="118110"/>
                    <a:pt x="117475" y="113030"/>
                  </a:cubicBezTo>
                  <a:cubicBezTo>
                    <a:pt x="121285" y="114935"/>
                    <a:pt x="124460" y="118745"/>
                    <a:pt x="125730" y="123190"/>
                  </a:cubicBezTo>
                  <a:cubicBezTo>
                    <a:pt x="126365" y="124460"/>
                    <a:pt x="126365" y="126365"/>
                    <a:pt x="127000" y="127635"/>
                  </a:cubicBezTo>
                  <a:cubicBezTo>
                    <a:pt x="127000" y="127635"/>
                    <a:pt x="128905" y="125095"/>
                    <a:pt x="129540" y="123825"/>
                  </a:cubicBezTo>
                  <a:cubicBezTo>
                    <a:pt x="132715" y="118110"/>
                    <a:pt x="134620" y="111760"/>
                    <a:pt x="134620" y="105410"/>
                  </a:cubicBezTo>
                  <a:cubicBezTo>
                    <a:pt x="134620" y="95250"/>
                    <a:pt x="130175" y="85090"/>
                    <a:pt x="122555" y="78105"/>
                  </a:cubicBezTo>
                  <a:cubicBezTo>
                    <a:pt x="125730" y="78740"/>
                    <a:pt x="128905" y="80010"/>
                    <a:pt x="131445" y="83185"/>
                  </a:cubicBezTo>
                  <a:cubicBezTo>
                    <a:pt x="132715" y="85090"/>
                    <a:pt x="133985" y="86995"/>
                    <a:pt x="135255" y="89535"/>
                  </a:cubicBezTo>
                  <a:cubicBezTo>
                    <a:pt x="135255" y="86995"/>
                    <a:pt x="135255" y="85090"/>
                    <a:pt x="135255" y="82550"/>
                  </a:cubicBezTo>
                  <a:cubicBezTo>
                    <a:pt x="133985" y="70485"/>
                    <a:pt x="127635" y="60325"/>
                    <a:pt x="116840" y="53975"/>
                  </a:cubicBezTo>
                  <a:lnTo>
                    <a:pt x="116840" y="53975"/>
                  </a:lnTo>
                  <a:cubicBezTo>
                    <a:pt x="120650" y="49530"/>
                    <a:pt x="123190" y="43815"/>
                    <a:pt x="125095" y="38100"/>
                  </a:cubicBezTo>
                  <a:lnTo>
                    <a:pt x="125730" y="35560"/>
                  </a:lnTo>
                  <a:lnTo>
                    <a:pt x="123190" y="35560"/>
                  </a:lnTo>
                  <a:cubicBezTo>
                    <a:pt x="117475" y="34925"/>
                    <a:pt x="112395" y="36195"/>
                    <a:pt x="107315" y="38735"/>
                  </a:cubicBezTo>
                  <a:lnTo>
                    <a:pt x="107315" y="38735"/>
                  </a:lnTo>
                  <a:lnTo>
                    <a:pt x="121920" y="3175"/>
                  </a:lnTo>
                  <a:cubicBezTo>
                    <a:pt x="121285" y="3175"/>
                    <a:pt x="120650" y="3175"/>
                    <a:pt x="120015" y="3175"/>
                  </a:cubicBezTo>
                  <a:cubicBezTo>
                    <a:pt x="115570" y="3175"/>
                    <a:pt x="111760" y="6985"/>
                    <a:pt x="111760" y="11430"/>
                  </a:cubicBezTo>
                  <a:cubicBezTo>
                    <a:pt x="111760" y="12700"/>
                    <a:pt x="112395" y="14605"/>
                    <a:pt x="113030" y="15875"/>
                  </a:cubicBezTo>
                  <a:cubicBezTo>
                    <a:pt x="110490" y="13335"/>
                    <a:pt x="105410" y="13335"/>
                    <a:pt x="102870" y="15875"/>
                  </a:cubicBezTo>
                  <a:cubicBezTo>
                    <a:pt x="100330" y="18415"/>
                    <a:pt x="100330" y="23495"/>
                    <a:pt x="102870" y="26035"/>
                  </a:cubicBezTo>
                  <a:cubicBezTo>
                    <a:pt x="104140" y="27305"/>
                    <a:pt x="106045" y="27940"/>
                    <a:pt x="107950" y="27940"/>
                  </a:cubicBezTo>
                  <a:cubicBezTo>
                    <a:pt x="108585" y="27940"/>
                    <a:pt x="108585" y="27940"/>
                    <a:pt x="109220" y="27940"/>
                  </a:cubicBezTo>
                  <a:cubicBezTo>
                    <a:pt x="106680" y="33020"/>
                    <a:pt x="101600" y="35560"/>
                    <a:pt x="96520" y="34290"/>
                  </a:cubicBezTo>
                  <a:cubicBezTo>
                    <a:pt x="91440" y="33020"/>
                    <a:pt x="87630" y="29210"/>
                    <a:pt x="85725" y="24130"/>
                  </a:cubicBezTo>
                  <a:cubicBezTo>
                    <a:pt x="86995" y="24765"/>
                    <a:pt x="88265" y="25400"/>
                    <a:pt x="89535" y="25400"/>
                  </a:cubicBezTo>
                  <a:cubicBezTo>
                    <a:pt x="93345" y="25400"/>
                    <a:pt x="96520" y="22225"/>
                    <a:pt x="96520" y="18415"/>
                  </a:cubicBezTo>
                  <a:cubicBezTo>
                    <a:pt x="96520" y="14605"/>
                    <a:pt x="93345" y="11430"/>
                    <a:pt x="89535" y="11430"/>
                  </a:cubicBezTo>
                  <a:cubicBezTo>
                    <a:pt x="89535" y="11430"/>
                    <a:pt x="89535" y="11430"/>
                    <a:pt x="89535" y="11430"/>
                  </a:cubicBezTo>
                  <a:cubicBezTo>
                    <a:pt x="88265" y="11430"/>
                    <a:pt x="87630" y="11430"/>
                    <a:pt x="86360" y="12065"/>
                  </a:cubicBezTo>
                  <a:cubicBezTo>
                    <a:pt x="87630" y="10795"/>
                    <a:pt x="88265" y="8890"/>
                    <a:pt x="88265" y="6985"/>
                  </a:cubicBezTo>
                  <a:cubicBezTo>
                    <a:pt x="88265" y="3175"/>
                    <a:pt x="85090" y="0"/>
                    <a:pt x="81280" y="0"/>
                  </a:cubicBezTo>
                  <a:cubicBezTo>
                    <a:pt x="77470" y="0"/>
                    <a:pt x="74295" y="3175"/>
                    <a:pt x="74295" y="6985"/>
                  </a:cubicBezTo>
                  <a:cubicBezTo>
                    <a:pt x="74295" y="8890"/>
                    <a:pt x="74930" y="10795"/>
                    <a:pt x="76200" y="12065"/>
                  </a:cubicBezTo>
                  <a:cubicBezTo>
                    <a:pt x="74930" y="11430"/>
                    <a:pt x="74295" y="11430"/>
                    <a:pt x="73025" y="11430"/>
                  </a:cubicBezTo>
                  <a:cubicBezTo>
                    <a:pt x="69215" y="11430"/>
                    <a:pt x="66040" y="14605"/>
                    <a:pt x="66040" y="18415"/>
                  </a:cubicBezTo>
                  <a:cubicBezTo>
                    <a:pt x="66040" y="18415"/>
                    <a:pt x="66040" y="18415"/>
                    <a:pt x="66040" y="18415"/>
                  </a:cubicBezTo>
                  <a:cubicBezTo>
                    <a:pt x="66040" y="22225"/>
                    <a:pt x="69215" y="25400"/>
                    <a:pt x="73025" y="25400"/>
                  </a:cubicBezTo>
                  <a:cubicBezTo>
                    <a:pt x="74295" y="25400"/>
                    <a:pt x="75565" y="24765"/>
                    <a:pt x="76835" y="24130"/>
                  </a:cubicBezTo>
                  <a:cubicBezTo>
                    <a:pt x="74930" y="28575"/>
                    <a:pt x="71120" y="32385"/>
                    <a:pt x="66040" y="34290"/>
                  </a:cubicBezTo>
                  <a:cubicBezTo>
                    <a:pt x="60960" y="35560"/>
                    <a:pt x="55245" y="32385"/>
                    <a:pt x="53340" y="27940"/>
                  </a:cubicBezTo>
                  <a:cubicBezTo>
                    <a:pt x="53975" y="27940"/>
                    <a:pt x="53975" y="27940"/>
                    <a:pt x="54610" y="27940"/>
                  </a:cubicBezTo>
                  <a:cubicBezTo>
                    <a:pt x="58420" y="27305"/>
                    <a:pt x="61595" y="24130"/>
                    <a:pt x="60960" y="20320"/>
                  </a:cubicBezTo>
                  <a:cubicBezTo>
                    <a:pt x="60960" y="16510"/>
                    <a:pt x="57785" y="13970"/>
                    <a:pt x="54610" y="13970"/>
                  </a:cubicBezTo>
                  <a:cubicBezTo>
                    <a:pt x="52705" y="13970"/>
                    <a:pt x="50800" y="14605"/>
                    <a:pt x="48895" y="15875"/>
                  </a:cubicBezTo>
                  <a:cubicBezTo>
                    <a:pt x="51435" y="12065"/>
                    <a:pt x="49530" y="6985"/>
                    <a:pt x="45720" y="4445"/>
                  </a:cubicBezTo>
                  <a:cubicBezTo>
                    <a:pt x="44450" y="3810"/>
                    <a:pt x="43180" y="3175"/>
                    <a:pt x="41910" y="3175"/>
                  </a:cubicBezTo>
                  <a:cubicBezTo>
                    <a:pt x="41275" y="3175"/>
                    <a:pt x="40640" y="3175"/>
                    <a:pt x="40005" y="3175"/>
                  </a:cubicBezTo>
                  <a:lnTo>
                    <a:pt x="55880" y="41275"/>
                  </a:lnTo>
                  <a:lnTo>
                    <a:pt x="104140" y="41275"/>
                  </a:lnTo>
                  <a:lnTo>
                    <a:pt x="104775" y="40640"/>
                  </a:lnTo>
                  <a:cubicBezTo>
                    <a:pt x="104775" y="40640"/>
                    <a:pt x="104140" y="40640"/>
                    <a:pt x="104140" y="41275"/>
                  </a:cubicBezTo>
                  <a:cubicBezTo>
                    <a:pt x="101600" y="43180"/>
                    <a:pt x="99060" y="45085"/>
                    <a:pt x="97155" y="47625"/>
                  </a:cubicBezTo>
                  <a:lnTo>
                    <a:pt x="100330" y="50165"/>
                  </a:lnTo>
                  <a:cubicBezTo>
                    <a:pt x="105410" y="43815"/>
                    <a:pt x="113665" y="40005"/>
                    <a:pt x="121920" y="39370"/>
                  </a:cubicBezTo>
                  <a:cubicBezTo>
                    <a:pt x="119380" y="48260"/>
                    <a:pt x="112395" y="55880"/>
                    <a:pt x="102870" y="58420"/>
                  </a:cubicBezTo>
                  <a:lnTo>
                    <a:pt x="103505" y="62865"/>
                  </a:lnTo>
                  <a:cubicBezTo>
                    <a:pt x="107950" y="62230"/>
                    <a:pt x="111760" y="60325"/>
                    <a:pt x="114935" y="57150"/>
                  </a:cubicBezTo>
                  <a:lnTo>
                    <a:pt x="114935" y="57150"/>
                  </a:lnTo>
                  <a:cubicBezTo>
                    <a:pt x="122555" y="60960"/>
                    <a:pt x="128270" y="67945"/>
                    <a:pt x="130175" y="76200"/>
                  </a:cubicBezTo>
                  <a:cubicBezTo>
                    <a:pt x="126365" y="74295"/>
                    <a:pt x="121920" y="73660"/>
                    <a:pt x="118110" y="74295"/>
                  </a:cubicBezTo>
                  <a:cubicBezTo>
                    <a:pt x="116840" y="74295"/>
                    <a:pt x="114300" y="74930"/>
                    <a:pt x="114300" y="74930"/>
                  </a:cubicBezTo>
                  <a:lnTo>
                    <a:pt x="117475" y="77470"/>
                  </a:lnTo>
                  <a:cubicBezTo>
                    <a:pt x="125730" y="83820"/>
                    <a:pt x="130810" y="93980"/>
                    <a:pt x="131445" y="104775"/>
                  </a:cubicBezTo>
                  <a:cubicBezTo>
                    <a:pt x="131445" y="108585"/>
                    <a:pt x="130810" y="113030"/>
                    <a:pt x="128905" y="116840"/>
                  </a:cubicBezTo>
                  <a:cubicBezTo>
                    <a:pt x="126365" y="111125"/>
                    <a:pt x="120650" y="107315"/>
                    <a:pt x="114935" y="107315"/>
                  </a:cubicBezTo>
                  <a:cubicBezTo>
                    <a:pt x="113665" y="107315"/>
                    <a:pt x="112395" y="107315"/>
                    <a:pt x="111125" y="107315"/>
                  </a:cubicBezTo>
                  <a:lnTo>
                    <a:pt x="113030" y="110490"/>
                  </a:lnTo>
                  <a:cubicBezTo>
                    <a:pt x="116840" y="115570"/>
                    <a:pt x="118745" y="121920"/>
                    <a:pt x="119380" y="128270"/>
                  </a:cubicBezTo>
                  <a:cubicBezTo>
                    <a:pt x="119380" y="130175"/>
                    <a:pt x="119380" y="132080"/>
                    <a:pt x="118745" y="133985"/>
                  </a:cubicBezTo>
                  <a:cubicBezTo>
                    <a:pt x="116840" y="139700"/>
                    <a:pt x="113030" y="145415"/>
                    <a:pt x="107950" y="148590"/>
                  </a:cubicBezTo>
                  <a:lnTo>
                    <a:pt x="107950" y="148590"/>
                  </a:lnTo>
                  <a:cubicBezTo>
                    <a:pt x="108585" y="140335"/>
                    <a:pt x="103505" y="132080"/>
                    <a:pt x="95885" y="128905"/>
                  </a:cubicBezTo>
                  <a:lnTo>
                    <a:pt x="92710" y="128270"/>
                  </a:lnTo>
                  <a:lnTo>
                    <a:pt x="93345" y="132080"/>
                  </a:lnTo>
                  <a:cubicBezTo>
                    <a:pt x="94615" y="135890"/>
                    <a:pt x="94615" y="140335"/>
                    <a:pt x="94615" y="144780"/>
                  </a:cubicBezTo>
                  <a:cubicBezTo>
                    <a:pt x="94615" y="150495"/>
                    <a:pt x="93345" y="155575"/>
                    <a:pt x="90170" y="160020"/>
                  </a:cubicBezTo>
                  <a:cubicBezTo>
                    <a:pt x="86360" y="164465"/>
                    <a:pt x="81280" y="167640"/>
                    <a:pt x="75565" y="168275"/>
                  </a:cubicBezTo>
                  <a:cubicBezTo>
                    <a:pt x="76200" y="165100"/>
                    <a:pt x="76835" y="161925"/>
                    <a:pt x="77470" y="158750"/>
                  </a:cubicBezTo>
                  <a:cubicBezTo>
                    <a:pt x="77470" y="156845"/>
                    <a:pt x="77470" y="154940"/>
                    <a:pt x="77470" y="154305"/>
                  </a:cubicBezTo>
                  <a:cubicBezTo>
                    <a:pt x="77470" y="146685"/>
                    <a:pt x="76200" y="139700"/>
                    <a:pt x="74295" y="132715"/>
                  </a:cubicBezTo>
                  <a:lnTo>
                    <a:pt x="73660" y="129540"/>
                  </a:lnTo>
                  <a:cubicBezTo>
                    <a:pt x="70485" y="132080"/>
                    <a:pt x="67945" y="135255"/>
                    <a:pt x="66675" y="139065"/>
                  </a:cubicBezTo>
                  <a:cubicBezTo>
                    <a:pt x="64770" y="144145"/>
                    <a:pt x="63500" y="149860"/>
                    <a:pt x="63500" y="155575"/>
                  </a:cubicBezTo>
                  <a:cubicBezTo>
                    <a:pt x="57785" y="150495"/>
                    <a:pt x="54610" y="143510"/>
                    <a:pt x="53975" y="136525"/>
                  </a:cubicBezTo>
                  <a:cubicBezTo>
                    <a:pt x="53975" y="135890"/>
                    <a:pt x="53975" y="135255"/>
                    <a:pt x="53975" y="134620"/>
                  </a:cubicBezTo>
                  <a:cubicBezTo>
                    <a:pt x="53975" y="127635"/>
                    <a:pt x="56515" y="121285"/>
                    <a:pt x="60960" y="116205"/>
                  </a:cubicBezTo>
                  <a:lnTo>
                    <a:pt x="65405" y="111125"/>
                  </a:lnTo>
                  <a:cubicBezTo>
                    <a:pt x="62865" y="111760"/>
                    <a:pt x="60960" y="112395"/>
                    <a:pt x="58420" y="113030"/>
                  </a:cubicBezTo>
                  <a:cubicBezTo>
                    <a:pt x="53975" y="114300"/>
                    <a:pt x="50165" y="116840"/>
                    <a:pt x="46990" y="120015"/>
                  </a:cubicBezTo>
                  <a:cubicBezTo>
                    <a:pt x="46990" y="118745"/>
                    <a:pt x="46355" y="117475"/>
                    <a:pt x="46355" y="115570"/>
                  </a:cubicBezTo>
                  <a:cubicBezTo>
                    <a:pt x="46990" y="107950"/>
                    <a:pt x="51435" y="101600"/>
                    <a:pt x="58420" y="98425"/>
                  </a:cubicBezTo>
                  <a:lnTo>
                    <a:pt x="71755" y="92710"/>
                  </a:lnTo>
                  <a:lnTo>
                    <a:pt x="57150" y="94615"/>
                  </a:lnTo>
                  <a:cubicBezTo>
                    <a:pt x="54610" y="94615"/>
                    <a:pt x="45720" y="95885"/>
                    <a:pt x="41275" y="91440"/>
                  </a:cubicBezTo>
                  <a:cubicBezTo>
                    <a:pt x="40640" y="90805"/>
                    <a:pt x="40005" y="89535"/>
                    <a:pt x="39370" y="88265"/>
                  </a:cubicBezTo>
                  <a:cubicBezTo>
                    <a:pt x="45720" y="91440"/>
                    <a:pt x="53340" y="90805"/>
                    <a:pt x="59055" y="86360"/>
                  </a:cubicBezTo>
                  <a:cubicBezTo>
                    <a:pt x="67945" y="80645"/>
                    <a:pt x="69215" y="77470"/>
                    <a:pt x="69850" y="76835"/>
                  </a:cubicBezTo>
                  <a:lnTo>
                    <a:pt x="69850" y="76200"/>
                  </a:lnTo>
                  <a:lnTo>
                    <a:pt x="69850" y="74930"/>
                  </a:lnTo>
                  <a:cubicBezTo>
                    <a:pt x="69215" y="71755"/>
                    <a:pt x="67945" y="69215"/>
                    <a:pt x="59055" y="67310"/>
                  </a:cubicBezTo>
                  <a:cubicBezTo>
                    <a:pt x="55245" y="66040"/>
                    <a:pt x="51435" y="64135"/>
                    <a:pt x="48895" y="60325"/>
                  </a:cubicBezTo>
                  <a:lnTo>
                    <a:pt x="48260" y="59690"/>
                  </a:lnTo>
                  <a:cubicBezTo>
                    <a:pt x="41910" y="54610"/>
                    <a:pt x="33655" y="57785"/>
                    <a:pt x="28575" y="60325"/>
                  </a:cubicBezTo>
                  <a:cubicBezTo>
                    <a:pt x="29845" y="53975"/>
                    <a:pt x="33655" y="48895"/>
                    <a:pt x="38735" y="45720"/>
                  </a:cubicBezTo>
                  <a:cubicBezTo>
                    <a:pt x="43815" y="44450"/>
                    <a:pt x="48895" y="45085"/>
                    <a:pt x="53340" y="47625"/>
                  </a:cubicBezTo>
                  <a:cubicBezTo>
                    <a:pt x="53340" y="53340"/>
                    <a:pt x="56515" y="57785"/>
                    <a:pt x="62230" y="59055"/>
                  </a:cubicBezTo>
                  <a:cubicBezTo>
                    <a:pt x="67310" y="59690"/>
                    <a:pt x="72390" y="56515"/>
                    <a:pt x="73660" y="52070"/>
                  </a:cubicBezTo>
                  <a:cubicBezTo>
                    <a:pt x="74295" y="51435"/>
                    <a:pt x="74295" y="50800"/>
                    <a:pt x="74295" y="50800"/>
                  </a:cubicBezTo>
                  <a:cubicBezTo>
                    <a:pt x="74930" y="50800"/>
                    <a:pt x="75565" y="51435"/>
                    <a:pt x="76200" y="52070"/>
                  </a:cubicBezTo>
                  <a:lnTo>
                    <a:pt x="79375" y="49530"/>
                  </a:lnTo>
                  <a:cubicBezTo>
                    <a:pt x="78105" y="48260"/>
                    <a:pt x="77470" y="47625"/>
                    <a:pt x="76200" y="46990"/>
                  </a:cubicBezTo>
                  <a:cubicBezTo>
                    <a:pt x="73025" y="45085"/>
                    <a:pt x="69215" y="44450"/>
                    <a:pt x="65405" y="45720"/>
                  </a:cubicBezTo>
                  <a:lnTo>
                    <a:pt x="65405" y="45720"/>
                  </a:lnTo>
                  <a:cubicBezTo>
                    <a:pt x="62865" y="46355"/>
                    <a:pt x="60325" y="46355"/>
                    <a:pt x="58420" y="45720"/>
                  </a:cubicBezTo>
                  <a:cubicBezTo>
                    <a:pt x="59055" y="44450"/>
                    <a:pt x="60325" y="43180"/>
                    <a:pt x="61595" y="41910"/>
                  </a:cubicBezTo>
                  <a:cubicBezTo>
                    <a:pt x="62230" y="41275"/>
                    <a:pt x="63500" y="40640"/>
                    <a:pt x="64135" y="40005"/>
                  </a:cubicBezTo>
                  <a:lnTo>
                    <a:pt x="57785" y="40005"/>
                  </a:lnTo>
                  <a:cubicBezTo>
                    <a:pt x="56515" y="41275"/>
                    <a:pt x="55880" y="42545"/>
                    <a:pt x="55245" y="43815"/>
                  </a:cubicBezTo>
                  <a:cubicBezTo>
                    <a:pt x="50165" y="40640"/>
                    <a:pt x="43815" y="40640"/>
                    <a:pt x="38735" y="42545"/>
                  </a:cubicBezTo>
                  <a:cubicBezTo>
                    <a:pt x="31750" y="45085"/>
                    <a:pt x="27305" y="52705"/>
                    <a:pt x="24765" y="64770"/>
                  </a:cubicBezTo>
                  <a:lnTo>
                    <a:pt x="23495" y="70485"/>
                  </a:lnTo>
                  <a:lnTo>
                    <a:pt x="27940" y="67310"/>
                  </a:lnTo>
                  <a:cubicBezTo>
                    <a:pt x="27940" y="67310"/>
                    <a:pt x="40640" y="58420"/>
                    <a:pt x="46990" y="63500"/>
                  </a:cubicBezTo>
                  <a:cubicBezTo>
                    <a:pt x="50165" y="67310"/>
                    <a:pt x="54610" y="69850"/>
                    <a:pt x="59055" y="71755"/>
                  </a:cubicBezTo>
                  <a:cubicBezTo>
                    <a:pt x="66675" y="73660"/>
                    <a:pt x="66675" y="74930"/>
                    <a:pt x="66675" y="76200"/>
                  </a:cubicBezTo>
                  <a:cubicBezTo>
                    <a:pt x="65405" y="78105"/>
                    <a:pt x="64135" y="79375"/>
                    <a:pt x="62865" y="80010"/>
                  </a:cubicBezTo>
                  <a:lnTo>
                    <a:pt x="60960" y="77470"/>
                  </a:lnTo>
                  <a:cubicBezTo>
                    <a:pt x="55880" y="71120"/>
                    <a:pt x="47625" y="67945"/>
                    <a:pt x="40005" y="69850"/>
                  </a:cubicBezTo>
                  <a:lnTo>
                    <a:pt x="40005" y="69850"/>
                  </a:lnTo>
                  <a:cubicBezTo>
                    <a:pt x="28575" y="73025"/>
                    <a:pt x="16510" y="71755"/>
                    <a:pt x="6350" y="65405"/>
                  </a:cubicBezTo>
                  <a:lnTo>
                    <a:pt x="0" y="60325"/>
                  </a:lnTo>
                  <a:lnTo>
                    <a:pt x="3175" y="67310"/>
                  </a:lnTo>
                  <a:cubicBezTo>
                    <a:pt x="1270" y="72390"/>
                    <a:pt x="3810" y="75565"/>
                    <a:pt x="6350" y="78740"/>
                  </a:cubicBezTo>
                  <a:close/>
                  <a:moveTo>
                    <a:pt x="104775" y="40005"/>
                  </a:moveTo>
                  <a:lnTo>
                    <a:pt x="104775" y="40005"/>
                  </a:lnTo>
                  <a:lnTo>
                    <a:pt x="104775" y="40005"/>
                  </a:lnTo>
                  <a:lnTo>
                    <a:pt x="104775" y="40005"/>
                  </a:lnTo>
                  <a:close/>
                  <a:moveTo>
                    <a:pt x="57785" y="51435"/>
                  </a:moveTo>
                  <a:cubicBezTo>
                    <a:pt x="58420" y="53340"/>
                    <a:pt x="60325" y="55245"/>
                    <a:pt x="62230" y="54610"/>
                  </a:cubicBezTo>
                  <a:cubicBezTo>
                    <a:pt x="64135" y="54610"/>
                    <a:pt x="65405" y="52705"/>
                    <a:pt x="65405" y="50800"/>
                  </a:cubicBezTo>
                  <a:cubicBezTo>
                    <a:pt x="66040" y="50800"/>
                    <a:pt x="67310" y="50800"/>
                    <a:pt x="67945" y="50800"/>
                  </a:cubicBezTo>
                  <a:cubicBezTo>
                    <a:pt x="67945" y="51435"/>
                    <a:pt x="67310" y="51435"/>
                    <a:pt x="67310" y="52070"/>
                  </a:cubicBezTo>
                  <a:cubicBezTo>
                    <a:pt x="66675" y="55245"/>
                    <a:pt x="63500" y="57150"/>
                    <a:pt x="60960" y="56515"/>
                  </a:cubicBezTo>
                  <a:cubicBezTo>
                    <a:pt x="58420" y="55880"/>
                    <a:pt x="56515" y="53975"/>
                    <a:pt x="55880" y="50800"/>
                  </a:cubicBezTo>
                  <a:cubicBezTo>
                    <a:pt x="55880" y="51435"/>
                    <a:pt x="56515" y="51435"/>
                    <a:pt x="57785" y="51435"/>
                  </a:cubicBezTo>
                  <a:lnTo>
                    <a:pt x="57785" y="51435"/>
                  </a:lnTo>
                  <a:close/>
                  <a:moveTo>
                    <a:pt x="36830" y="74295"/>
                  </a:moveTo>
                  <a:cubicBezTo>
                    <a:pt x="40005" y="73660"/>
                    <a:pt x="42545" y="73660"/>
                    <a:pt x="45720" y="74930"/>
                  </a:cubicBezTo>
                  <a:cubicBezTo>
                    <a:pt x="41275" y="74930"/>
                    <a:pt x="36195" y="76200"/>
                    <a:pt x="31750" y="77470"/>
                  </a:cubicBezTo>
                  <a:cubicBezTo>
                    <a:pt x="23495" y="80010"/>
                    <a:pt x="16510" y="81915"/>
                    <a:pt x="8890" y="75565"/>
                  </a:cubicBezTo>
                  <a:cubicBezTo>
                    <a:pt x="8255" y="74930"/>
                    <a:pt x="6985" y="73660"/>
                    <a:pt x="6350" y="72390"/>
                  </a:cubicBezTo>
                  <a:cubicBezTo>
                    <a:pt x="16510" y="76200"/>
                    <a:pt x="27305" y="76835"/>
                    <a:pt x="36830" y="74295"/>
                  </a:cubicBezTo>
                  <a:lnTo>
                    <a:pt x="36830" y="74295"/>
                  </a:lnTo>
                  <a:close/>
                </a:path>
              </a:pathLst>
            </a:custGeom>
            <a:solidFill>
              <a:srgbClr val="FFFFFF"/>
            </a:solidFill>
            <a:ln w="6350" cap="flat">
              <a:noFill/>
              <a:prstDash val="solid"/>
              <a:miter/>
            </a:ln>
          </p:spPr>
          <p:txBody>
            <a:bodyPr rtlCol="0" anchor="ctr"/>
            <a:lstStyle/>
            <a:p>
              <a:endParaRPr lang="en-GB"/>
            </a:p>
          </p:txBody>
        </p:sp>
        <p:sp>
          <p:nvSpPr>
            <p:cNvPr id="491" name="Freeform 490">
              <a:extLst>
                <a:ext uri="{FF2B5EF4-FFF2-40B4-BE49-F238E27FC236}">
                  <a16:creationId xmlns:a16="http://schemas.microsoft.com/office/drawing/2014/main" id="{31388F53-9548-FE70-09B8-6542CBB8B97E}"/>
                </a:ext>
              </a:extLst>
            </p:cNvPr>
            <p:cNvSpPr/>
            <p:nvPr/>
          </p:nvSpPr>
          <p:spPr>
            <a:xfrm>
              <a:off x="-7635240" y="4345560"/>
              <a:ext cx="17145" cy="7632"/>
            </a:xfrm>
            <a:custGeom>
              <a:avLst/>
              <a:gdLst>
                <a:gd name="connsiteX0" fmla="*/ 6985 w 17145"/>
                <a:gd name="connsiteY0" fmla="*/ 1650 h 7632"/>
                <a:gd name="connsiteX1" fmla="*/ 0 w 17145"/>
                <a:gd name="connsiteY1" fmla="*/ 380 h 7632"/>
                <a:gd name="connsiteX2" fmla="*/ 13970 w 17145"/>
                <a:gd name="connsiteY2" fmla="*/ 7365 h 7632"/>
                <a:gd name="connsiteX3" fmla="*/ 17145 w 17145"/>
                <a:gd name="connsiteY3" fmla="*/ 6095 h 7632"/>
                <a:gd name="connsiteX4" fmla="*/ 6985 w 17145"/>
                <a:gd name="connsiteY4" fmla="*/ 1650 h 7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 h="7632">
                  <a:moveTo>
                    <a:pt x="6985" y="1650"/>
                  </a:moveTo>
                  <a:cubicBezTo>
                    <a:pt x="5080" y="-255"/>
                    <a:pt x="2540" y="-255"/>
                    <a:pt x="0" y="380"/>
                  </a:cubicBezTo>
                  <a:cubicBezTo>
                    <a:pt x="6350" y="380"/>
                    <a:pt x="6985" y="9270"/>
                    <a:pt x="13970" y="7365"/>
                  </a:cubicBezTo>
                  <a:cubicBezTo>
                    <a:pt x="15240" y="7365"/>
                    <a:pt x="16510" y="6730"/>
                    <a:pt x="17145" y="6095"/>
                  </a:cubicBezTo>
                  <a:cubicBezTo>
                    <a:pt x="13335" y="8000"/>
                    <a:pt x="10160" y="4190"/>
                    <a:pt x="6985" y="1650"/>
                  </a:cubicBezTo>
                  <a:close/>
                </a:path>
              </a:pathLst>
            </a:custGeom>
            <a:solidFill>
              <a:srgbClr val="FFFFFF"/>
            </a:solidFill>
            <a:ln w="6350" cap="flat">
              <a:noFill/>
              <a:prstDash val="solid"/>
              <a:miter/>
            </a:ln>
          </p:spPr>
          <p:txBody>
            <a:bodyPr rtlCol="0" anchor="ctr"/>
            <a:lstStyle/>
            <a:p>
              <a:endParaRPr lang="en-GB"/>
            </a:p>
          </p:txBody>
        </p:sp>
        <p:sp>
          <p:nvSpPr>
            <p:cNvPr id="492" name="Freeform 491">
              <a:extLst>
                <a:ext uri="{FF2B5EF4-FFF2-40B4-BE49-F238E27FC236}">
                  <a16:creationId xmlns:a16="http://schemas.microsoft.com/office/drawing/2014/main" id="{07CE39AB-608C-9D32-212A-B83DDCD40D19}"/>
                </a:ext>
              </a:extLst>
            </p:cNvPr>
            <p:cNvSpPr/>
            <p:nvPr/>
          </p:nvSpPr>
          <p:spPr>
            <a:xfrm>
              <a:off x="-7767319" y="4225448"/>
              <a:ext cx="294004" cy="278288"/>
            </a:xfrm>
            <a:custGeom>
              <a:avLst/>
              <a:gdLst>
                <a:gd name="connsiteX0" fmla="*/ 19050 w 294004"/>
                <a:gd name="connsiteY0" fmla="*/ 117316 h 278288"/>
                <a:gd name="connsiteX1" fmla="*/ 18414 w 294004"/>
                <a:gd name="connsiteY1" fmla="*/ 128111 h 278288"/>
                <a:gd name="connsiteX2" fmla="*/ 92710 w 294004"/>
                <a:gd name="connsiteY2" fmla="*/ 244951 h 278288"/>
                <a:gd name="connsiteX3" fmla="*/ 100330 w 294004"/>
                <a:gd name="connsiteY3" fmla="*/ 268446 h 278288"/>
                <a:gd name="connsiteX4" fmla="*/ 100964 w 294004"/>
                <a:gd name="connsiteY4" fmla="*/ 270986 h 278288"/>
                <a:gd name="connsiteX5" fmla="*/ 102870 w 294004"/>
                <a:gd name="connsiteY5" fmla="*/ 271621 h 278288"/>
                <a:gd name="connsiteX6" fmla="*/ 191770 w 294004"/>
                <a:gd name="connsiteY6" fmla="*/ 271621 h 278288"/>
                <a:gd name="connsiteX7" fmla="*/ 194310 w 294004"/>
                <a:gd name="connsiteY7" fmla="*/ 270986 h 278288"/>
                <a:gd name="connsiteX8" fmla="*/ 194945 w 294004"/>
                <a:gd name="connsiteY8" fmla="*/ 269081 h 278288"/>
                <a:gd name="connsiteX9" fmla="*/ 202564 w 294004"/>
                <a:gd name="connsiteY9" fmla="*/ 244951 h 278288"/>
                <a:gd name="connsiteX10" fmla="*/ 276860 w 294004"/>
                <a:gd name="connsiteY10" fmla="*/ 128746 h 278288"/>
                <a:gd name="connsiteX11" fmla="*/ 276225 w 294004"/>
                <a:gd name="connsiteY11" fmla="*/ 117951 h 278288"/>
                <a:gd name="connsiteX12" fmla="*/ 292735 w 294004"/>
                <a:gd name="connsiteY12" fmla="*/ 99536 h 278288"/>
                <a:gd name="connsiteX13" fmla="*/ 294005 w 294004"/>
                <a:gd name="connsiteY13" fmla="*/ 97631 h 278288"/>
                <a:gd name="connsiteX14" fmla="*/ 293370 w 294004"/>
                <a:gd name="connsiteY14" fmla="*/ 95091 h 278288"/>
                <a:gd name="connsiteX15" fmla="*/ 249555 w 294004"/>
                <a:gd name="connsiteY15" fmla="*/ 18256 h 278288"/>
                <a:gd name="connsiteX16" fmla="*/ 247650 w 294004"/>
                <a:gd name="connsiteY16" fmla="*/ 16986 h 278288"/>
                <a:gd name="connsiteX17" fmla="*/ 245110 w 294004"/>
                <a:gd name="connsiteY17" fmla="*/ 17621 h 278288"/>
                <a:gd name="connsiteX18" fmla="*/ 220980 w 294004"/>
                <a:gd name="connsiteY18" fmla="*/ 23336 h 278288"/>
                <a:gd name="connsiteX19" fmla="*/ 73660 w 294004"/>
                <a:gd name="connsiteY19" fmla="*/ 23336 h 278288"/>
                <a:gd name="connsiteX20" fmla="*/ 49530 w 294004"/>
                <a:gd name="connsiteY20" fmla="*/ 17621 h 278288"/>
                <a:gd name="connsiteX21" fmla="*/ 46989 w 294004"/>
                <a:gd name="connsiteY21" fmla="*/ 16986 h 278288"/>
                <a:gd name="connsiteX22" fmla="*/ 45085 w 294004"/>
                <a:gd name="connsiteY22" fmla="*/ 18256 h 278288"/>
                <a:gd name="connsiteX23" fmla="*/ 635 w 294004"/>
                <a:gd name="connsiteY23" fmla="*/ 95091 h 278288"/>
                <a:gd name="connsiteX24" fmla="*/ 0 w 294004"/>
                <a:gd name="connsiteY24" fmla="*/ 97631 h 278288"/>
                <a:gd name="connsiteX25" fmla="*/ 1270 w 294004"/>
                <a:gd name="connsiteY25" fmla="*/ 98901 h 278288"/>
                <a:gd name="connsiteX26" fmla="*/ 19050 w 294004"/>
                <a:gd name="connsiteY26" fmla="*/ 117316 h 278288"/>
                <a:gd name="connsiteX27" fmla="*/ 26670 w 294004"/>
                <a:gd name="connsiteY27" fmla="*/ 128111 h 278288"/>
                <a:gd name="connsiteX28" fmla="*/ 26670 w 294004"/>
                <a:gd name="connsiteY28" fmla="*/ 126841 h 278288"/>
                <a:gd name="connsiteX29" fmla="*/ 88264 w 294004"/>
                <a:gd name="connsiteY29" fmla="*/ 232886 h 278288"/>
                <a:gd name="connsiteX30" fmla="*/ 26670 w 294004"/>
                <a:gd name="connsiteY30" fmla="*/ 128111 h 278288"/>
                <a:gd name="connsiteX31" fmla="*/ 26670 w 294004"/>
                <a:gd name="connsiteY31" fmla="*/ 128111 h 278288"/>
                <a:gd name="connsiteX32" fmla="*/ 187325 w 294004"/>
                <a:gd name="connsiteY32" fmla="*/ 264636 h 278288"/>
                <a:gd name="connsiteX33" fmla="*/ 107314 w 294004"/>
                <a:gd name="connsiteY33" fmla="*/ 264636 h 278288"/>
                <a:gd name="connsiteX34" fmla="*/ 102870 w 294004"/>
                <a:gd name="connsiteY34" fmla="*/ 250031 h 278288"/>
                <a:gd name="connsiteX35" fmla="*/ 191770 w 294004"/>
                <a:gd name="connsiteY35" fmla="*/ 250031 h 278288"/>
                <a:gd name="connsiteX36" fmla="*/ 187325 w 294004"/>
                <a:gd name="connsiteY36" fmla="*/ 264636 h 278288"/>
                <a:gd name="connsiteX37" fmla="*/ 187325 w 294004"/>
                <a:gd name="connsiteY37" fmla="*/ 264636 h 278288"/>
                <a:gd name="connsiteX38" fmla="*/ 206375 w 294004"/>
                <a:gd name="connsiteY38" fmla="*/ 233521 h 278288"/>
                <a:gd name="connsiteX39" fmla="*/ 267970 w 294004"/>
                <a:gd name="connsiteY39" fmla="*/ 126841 h 278288"/>
                <a:gd name="connsiteX40" fmla="*/ 267970 w 294004"/>
                <a:gd name="connsiteY40" fmla="*/ 128111 h 278288"/>
                <a:gd name="connsiteX41" fmla="*/ 206375 w 294004"/>
                <a:gd name="connsiteY41" fmla="*/ 233521 h 278288"/>
                <a:gd name="connsiteX42" fmla="*/ 206375 w 294004"/>
                <a:gd name="connsiteY42" fmla="*/ 233521 h 278288"/>
                <a:gd name="connsiteX43" fmla="*/ 245110 w 294004"/>
                <a:gd name="connsiteY43" fmla="*/ 26511 h 278288"/>
                <a:gd name="connsiteX44" fmla="*/ 284480 w 294004"/>
                <a:gd name="connsiteY44" fmla="*/ 95091 h 278288"/>
                <a:gd name="connsiteX45" fmla="*/ 274320 w 294004"/>
                <a:gd name="connsiteY45" fmla="*/ 106521 h 278288"/>
                <a:gd name="connsiteX46" fmla="*/ 229870 w 294004"/>
                <a:gd name="connsiteY46" fmla="*/ 29686 h 278288"/>
                <a:gd name="connsiteX47" fmla="*/ 245110 w 294004"/>
                <a:gd name="connsiteY47" fmla="*/ 26511 h 278288"/>
                <a:gd name="connsiteX48" fmla="*/ 245110 w 294004"/>
                <a:gd name="connsiteY48" fmla="*/ 26511 h 278288"/>
                <a:gd name="connsiteX49" fmla="*/ 147320 w 294004"/>
                <a:gd name="connsiteY49" fmla="*/ 8096 h 278288"/>
                <a:gd name="connsiteX50" fmla="*/ 208914 w 294004"/>
                <a:gd name="connsiteY50" fmla="*/ 25241 h 278288"/>
                <a:gd name="connsiteX51" fmla="*/ 147320 w 294004"/>
                <a:gd name="connsiteY51" fmla="*/ 29686 h 278288"/>
                <a:gd name="connsiteX52" fmla="*/ 85725 w 294004"/>
                <a:gd name="connsiteY52" fmla="*/ 24606 h 278288"/>
                <a:gd name="connsiteX53" fmla="*/ 147320 w 294004"/>
                <a:gd name="connsiteY53" fmla="*/ 8096 h 278288"/>
                <a:gd name="connsiteX54" fmla="*/ 147320 w 294004"/>
                <a:gd name="connsiteY54" fmla="*/ 8096 h 278288"/>
                <a:gd name="connsiteX55" fmla="*/ 75564 w 294004"/>
                <a:gd name="connsiteY55" fmla="*/ 31591 h 278288"/>
                <a:gd name="connsiteX56" fmla="*/ 147320 w 294004"/>
                <a:gd name="connsiteY56" fmla="*/ 37941 h 278288"/>
                <a:gd name="connsiteX57" fmla="*/ 219075 w 294004"/>
                <a:gd name="connsiteY57" fmla="*/ 31591 h 278288"/>
                <a:gd name="connsiteX58" fmla="*/ 266700 w 294004"/>
                <a:gd name="connsiteY58" fmla="*/ 114776 h 278288"/>
                <a:gd name="connsiteX59" fmla="*/ 194945 w 294004"/>
                <a:gd name="connsiteY59" fmla="*/ 238601 h 278288"/>
                <a:gd name="connsiteX60" fmla="*/ 98425 w 294004"/>
                <a:gd name="connsiteY60" fmla="*/ 238601 h 278288"/>
                <a:gd name="connsiteX61" fmla="*/ 26670 w 294004"/>
                <a:gd name="connsiteY61" fmla="*/ 114776 h 278288"/>
                <a:gd name="connsiteX62" fmla="*/ 75564 w 294004"/>
                <a:gd name="connsiteY62" fmla="*/ 31591 h 278288"/>
                <a:gd name="connsiteX63" fmla="*/ 49530 w 294004"/>
                <a:gd name="connsiteY63" fmla="*/ 25876 h 278288"/>
                <a:gd name="connsiteX64" fmla="*/ 64770 w 294004"/>
                <a:gd name="connsiteY64" fmla="*/ 29051 h 278288"/>
                <a:gd name="connsiteX65" fmla="*/ 20320 w 294004"/>
                <a:gd name="connsiteY65" fmla="*/ 105886 h 278288"/>
                <a:gd name="connsiteX66" fmla="*/ 9525 w 294004"/>
                <a:gd name="connsiteY66" fmla="*/ 94456 h 278288"/>
                <a:gd name="connsiteX67" fmla="*/ 49530 w 294004"/>
                <a:gd name="connsiteY67" fmla="*/ 25876 h 278288"/>
                <a:gd name="connsiteX68" fmla="*/ 49530 w 294004"/>
                <a:gd name="connsiteY68" fmla="*/ 25876 h 27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94004" h="278288">
                  <a:moveTo>
                    <a:pt x="19050" y="117316"/>
                  </a:moveTo>
                  <a:cubicBezTo>
                    <a:pt x="19050" y="121126"/>
                    <a:pt x="18414" y="124301"/>
                    <a:pt x="18414" y="128111"/>
                  </a:cubicBezTo>
                  <a:cubicBezTo>
                    <a:pt x="18414" y="178276"/>
                    <a:pt x="47625" y="223361"/>
                    <a:pt x="92710" y="244951"/>
                  </a:cubicBezTo>
                  <a:cubicBezTo>
                    <a:pt x="95250" y="252571"/>
                    <a:pt x="98425" y="260826"/>
                    <a:pt x="100330" y="268446"/>
                  </a:cubicBezTo>
                  <a:lnTo>
                    <a:pt x="100964" y="270986"/>
                  </a:lnTo>
                  <a:lnTo>
                    <a:pt x="102870" y="271621"/>
                  </a:lnTo>
                  <a:cubicBezTo>
                    <a:pt x="132080" y="280511"/>
                    <a:pt x="162560" y="280511"/>
                    <a:pt x="191770" y="271621"/>
                  </a:cubicBezTo>
                  <a:lnTo>
                    <a:pt x="194310" y="270986"/>
                  </a:lnTo>
                  <a:lnTo>
                    <a:pt x="194945" y="269081"/>
                  </a:lnTo>
                  <a:cubicBezTo>
                    <a:pt x="197485" y="260826"/>
                    <a:pt x="200025" y="253206"/>
                    <a:pt x="202564" y="244951"/>
                  </a:cubicBezTo>
                  <a:cubicBezTo>
                    <a:pt x="247650" y="223996"/>
                    <a:pt x="276860" y="178276"/>
                    <a:pt x="276860" y="128746"/>
                  </a:cubicBezTo>
                  <a:cubicBezTo>
                    <a:pt x="276860" y="124936"/>
                    <a:pt x="276860" y="121761"/>
                    <a:pt x="276225" y="117951"/>
                  </a:cubicBezTo>
                  <a:cubicBezTo>
                    <a:pt x="281939" y="111601"/>
                    <a:pt x="287020" y="105251"/>
                    <a:pt x="292735" y="99536"/>
                  </a:cubicBezTo>
                  <a:lnTo>
                    <a:pt x="294005" y="97631"/>
                  </a:lnTo>
                  <a:lnTo>
                    <a:pt x="293370" y="95091"/>
                  </a:lnTo>
                  <a:cubicBezTo>
                    <a:pt x="287020" y="65881"/>
                    <a:pt x="271145" y="39211"/>
                    <a:pt x="249555" y="18256"/>
                  </a:cubicBezTo>
                  <a:lnTo>
                    <a:pt x="247650" y="16986"/>
                  </a:lnTo>
                  <a:lnTo>
                    <a:pt x="245110" y="17621"/>
                  </a:lnTo>
                  <a:cubicBezTo>
                    <a:pt x="236855" y="19526"/>
                    <a:pt x="228600" y="21431"/>
                    <a:pt x="220980" y="23336"/>
                  </a:cubicBezTo>
                  <a:cubicBezTo>
                    <a:pt x="176530" y="-7779"/>
                    <a:pt x="117475" y="-7779"/>
                    <a:pt x="73660" y="23336"/>
                  </a:cubicBezTo>
                  <a:cubicBezTo>
                    <a:pt x="65405" y="22066"/>
                    <a:pt x="57150" y="20161"/>
                    <a:pt x="49530" y="17621"/>
                  </a:cubicBezTo>
                  <a:lnTo>
                    <a:pt x="46989" y="16986"/>
                  </a:lnTo>
                  <a:lnTo>
                    <a:pt x="45085" y="18256"/>
                  </a:lnTo>
                  <a:cubicBezTo>
                    <a:pt x="22860" y="38576"/>
                    <a:pt x="6985" y="65881"/>
                    <a:pt x="635" y="95091"/>
                  </a:cubicBezTo>
                  <a:lnTo>
                    <a:pt x="0" y="97631"/>
                  </a:lnTo>
                  <a:lnTo>
                    <a:pt x="1270" y="98901"/>
                  </a:lnTo>
                  <a:cubicBezTo>
                    <a:pt x="7620" y="104616"/>
                    <a:pt x="13335" y="110966"/>
                    <a:pt x="19050" y="117316"/>
                  </a:cubicBezTo>
                  <a:close/>
                  <a:moveTo>
                    <a:pt x="26670" y="128111"/>
                  </a:moveTo>
                  <a:lnTo>
                    <a:pt x="26670" y="126841"/>
                  </a:lnTo>
                  <a:cubicBezTo>
                    <a:pt x="52705" y="159226"/>
                    <a:pt x="73025" y="194786"/>
                    <a:pt x="88264" y="232886"/>
                  </a:cubicBezTo>
                  <a:cubicBezTo>
                    <a:pt x="50164" y="211931"/>
                    <a:pt x="26670" y="171926"/>
                    <a:pt x="26670" y="128111"/>
                  </a:cubicBezTo>
                  <a:lnTo>
                    <a:pt x="26670" y="128111"/>
                  </a:lnTo>
                  <a:close/>
                  <a:moveTo>
                    <a:pt x="187325" y="264636"/>
                  </a:moveTo>
                  <a:cubicBezTo>
                    <a:pt x="161289" y="272256"/>
                    <a:pt x="133350" y="272256"/>
                    <a:pt x="107314" y="264636"/>
                  </a:cubicBezTo>
                  <a:cubicBezTo>
                    <a:pt x="106045" y="259556"/>
                    <a:pt x="104139" y="254476"/>
                    <a:pt x="102870" y="250031"/>
                  </a:cubicBezTo>
                  <a:cubicBezTo>
                    <a:pt x="131445" y="260826"/>
                    <a:pt x="163195" y="260826"/>
                    <a:pt x="191770" y="250031"/>
                  </a:cubicBezTo>
                  <a:cubicBezTo>
                    <a:pt x="190500" y="254476"/>
                    <a:pt x="188595" y="258921"/>
                    <a:pt x="187325" y="264636"/>
                  </a:cubicBezTo>
                  <a:lnTo>
                    <a:pt x="187325" y="264636"/>
                  </a:lnTo>
                  <a:close/>
                  <a:moveTo>
                    <a:pt x="206375" y="233521"/>
                  </a:moveTo>
                  <a:cubicBezTo>
                    <a:pt x="220980" y="195421"/>
                    <a:pt x="241935" y="159226"/>
                    <a:pt x="267970" y="126841"/>
                  </a:cubicBezTo>
                  <a:lnTo>
                    <a:pt x="267970" y="128111"/>
                  </a:lnTo>
                  <a:cubicBezTo>
                    <a:pt x="267970" y="171926"/>
                    <a:pt x="244475" y="211931"/>
                    <a:pt x="206375" y="233521"/>
                  </a:cubicBezTo>
                  <a:lnTo>
                    <a:pt x="206375" y="233521"/>
                  </a:lnTo>
                  <a:close/>
                  <a:moveTo>
                    <a:pt x="245110" y="26511"/>
                  </a:moveTo>
                  <a:cubicBezTo>
                    <a:pt x="264795" y="44926"/>
                    <a:pt x="278130" y="69056"/>
                    <a:pt x="284480" y="95091"/>
                  </a:cubicBezTo>
                  <a:cubicBezTo>
                    <a:pt x="280670" y="98901"/>
                    <a:pt x="277495" y="102711"/>
                    <a:pt x="274320" y="106521"/>
                  </a:cubicBezTo>
                  <a:cubicBezTo>
                    <a:pt x="269239" y="76676"/>
                    <a:pt x="253364" y="49371"/>
                    <a:pt x="229870" y="29686"/>
                  </a:cubicBezTo>
                  <a:cubicBezTo>
                    <a:pt x="234950" y="28416"/>
                    <a:pt x="240030" y="27781"/>
                    <a:pt x="245110" y="26511"/>
                  </a:cubicBezTo>
                  <a:lnTo>
                    <a:pt x="245110" y="26511"/>
                  </a:lnTo>
                  <a:close/>
                  <a:moveTo>
                    <a:pt x="147320" y="8096"/>
                  </a:moveTo>
                  <a:cubicBezTo>
                    <a:pt x="168910" y="8096"/>
                    <a:pt x="190500" y="13811"/>
                    <a:pt x="208914" y="25241"/>
                  </a:cubicBezTo>
                  <a:cubicBezTo>
                    <a:pt x="188595" y="28416"/>
                    <a:pt x="167639" y="29686"/>
                    <a:pt x="147320" y="29686"/>
                  </a:cubicBezTo>
                  <a:cubicBezTo>
                    <a:pt x="126364" y="29686"/>
                    <a:pt x="106045" y="27781"/>
                    <a:pt x="85725" y="24606"/>
                  </a:cubicBezTo>
                  <a:cubicBezTo>
                    <a:pt x="104139" y="13811"/>
                    <a:pt x="125730" y="7461"/>
                    <a:pt x="147320" y="8096"/>
                  </a:cubicBezTo>
                  <a:lnTo>
                    <a:pt x="147320" y="8096"/>
                  </a:lnTo>
                  <a:close/>
                  <a:moveTo>
                    <a:pt x="75564" y="31591"/>
                  </a:moveTo>
                  <a:cubicBezTo>
                    <a:pt x="99060" y="36036"/>
                    <a:pt x="123189" y="37941"/>
                    <a:pt x="147320" y="37941"/>
                  </a:cubicBezTo>
                  <a:cubicBezTo>
                    <a:pt x="171450" y="37941"/>
                    <a:pt x="195580" y="36036"/>
                    <a:pt x="219075" y="31591"/>
                  </a:cubicBezTo>
                  <a:cubicBezTo>
                    <a:pt x="245745" y="51276"/>
                    <a:pt x="262889" y="81756"/>
                    <a:pt x="266700" y="114776"/>
                  </a:cubicBezTo>
                  <a:cubicBezTo>
                    <a:pt x="235585" y="151606"/>
                    <a:pt x="211455" y="193516"/>
                    <a:pt x="194945" y="238601"/>
                  </a:cubicBezTo>
                  <a:cubicBezTo>
                    <a:pt x="164464" y="251936"/>
                    <a:pt x="129539" y="251936"/>
                    <a:pt x="98425" y="238601"/>
                  </a:cubicBezTo>
                  <a:cubicBezTo>
                    <a:pt x="81914" y="193516"/>
                    <a:pt x="57785" y="151606"/>
                    <a:pt x="26670" y="114776"/>
                  </a:cubicBezTo>
                  <a:cubicBezTo>
                    <a:pt x="31114" y="81756"/>
                    <a:pt x="48895" y="51276"/>
                    <a:pt x="75564" y="31591"/>
                  </a:cubicBezTo>
                  <a:close/>
                  <a:moveTo>
                    <a:pt x="49530" y="25876"/>
                  </a:moveTo>
                  <a:cubicBezTo>
                    <a:pt x="54610" y="27146"/>
                    <a:pt x="59689" y="28416"/>
                    <a:pt x="64770" y="29051"/>
                  </a:cubicBezTo>
                  <a:cubicBezTo>
                    <a:pt x="41275" y="48736"/>
                    <a:pt x="25400" y="76041"/>
                    <a:pt x="20320" y="105886"/>
                  </a:cubicBezTo>
                  <a:cubicBezTo>
                    <a:pt x="17145" y="102076"/>
                    <a:pt x="13335" y="98266"/>
                    <a:pt x="9525" y="94456"/>
                  </a:cubicBezTo>
                  <a:cubicBezTo>
                    <a:pt x="15875" y="68421"/>
                    <a:pt x="29845" y="44291"/>
                    <a:pt x="49530" y="25876"/>
                  </a:cubicBezTo>
                  <a:lnTo>
                    <a:pt x="49530" y="25876"/>
                  </a:lnTo>
                  <a:close/>
                </a:path>
              </a:pathLst>
            </a:custGeom>
            <a:solidFill>
              <a:srgbClr val="FFFFFF"/>
            </a:solidFill>
            <a:ln w="6350" cap="flat">
              <a:noFill/>
              <a:prstDash val="solid"/>
              <a:miter/>
            </a:ln>
          </p:spPr>
          <p:txBody>
            <a:bodyPr rtlCol="0" anchor="ctr"/>
            <a:lstStyle/>
            <a:p>
              <a:endParaRPr lang="en-GB"/>
            </a:p>
          </p:txBody>
        </p:sp>
      </p:grpSp>
      <p:sp>
        <p:nvSpPr>
          <p:cNvPr id="3" name="Date Placeholder 2">
            <a:extLst>
              <a:ext uri="{FF2B5EF4-FFF2-40B4-BE49-F238E27FC236}">
                <a16:creationId xmlns:a16="http://schemas.microsoft.com/office/drawing/2014/main" id="{913D0B9C-2929-C1CC-8E44-736E941DE40B}"/>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55AB0611-DC7C-B5C5-6EFF-4DEA04F621BE}"/>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CABEE897-CB57-ECDF-128C-CE29C4FBD3BE}"/>
              </a:ext>
            </a:extLst>
          </p:cNvPr>
          <p:cNvSpPr>
            <a:spLocks noGrp="1"/>
          </p:cNvSpPr>
          <p:nvPr>
            <p:ph type="sldNum" sz="quarter" idx="12"/>
          </p:nvPr>
        </p:nvSpPr>
        <p:spPr/>
        <p:txBody>
          <a:bodyPr/>
          <a:lstStyle/>
          <a:p>
            <a:fld id="{53C98C43-8B83-4748-BA0D-B0C90A16569F}" type="slidenum">
              <a:rPr lang="en-GB" smtClean="0"/>
              <a:pPr/>
              <a:t>‹Nr.›</a:t>
            </a:fld>
            <a:endParaRPr lang="en-GB"/>
          </a:p>
        </p:txBody>
      </p:sp>
      <p:sp>
        <p:nvSpPr>
          <p:cNvPr id="120" name="Rectangle 119">
            <a:extLst>
              <a:ext uri="{FF2B5EF4-FFF2-40B4-BE49-F238E27FC236}">
                <a16:creationId xmlns:a16="http://schemas.microsoft.com/office/drawing/2014/main" id="{418363B1-5F05-8F2D-5F40-568BF5A887E3}"/>
              </a:ext>
            </a:extLst>
          </p:cNvPr>
          <p:cNvSpPr/>
          <p:nvPr userDrawn="1"/>
        </p:nvSpPr>
        <p:spPr>
          <a:xfrm>
            <a:off x="-2078" y="6985348"/>
            <a:ext cx="2160765" cy="47136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90000" tIns="0" rIns="90000" bIns="0" rtlCol="0" anchor="ctr"/>
          <a:lstStyle/>
          <a:p>
            <a:pPr algn="l"/>
            <a:r>
              <a:rPr lang="en-GB" sz="1000" dirty="0">
                <a:solidFill>
                  <a:srgbClr val="002733"/>
                </a:solidFill>
              </a:rPr>
              <a:t>These logos are available </a:t>
            </a:r>
            <a:br>
              <a:rPr lang="en-GB" sz="1000" dirty="0">
                <a:solidFill>
                  <a:srgbClr val="002733"/>
                </a:solidFill>
              </a:rPr>
            </a:br>
            <a:r>
              <a:rPr lang="en-GB" sz="1000" dirty="0">
                <a:solidFill>
                  <a:srgbClr val="002733"/>
                </a:solidFill>
              </a:rPr>
              <a:t>in master view.</a:t>
            </a:r>
          </a:p>
        </p:txBody>
      </p:sp>
      <p:pic>
        <p:nvPicPr>
          <p:cNvPr id="494" name="Picture 10" descr="A black background with white text&#10;&#10;Description automatically generated with low confidence">
            <a:extLst>
              <a:ext uri="{FF2B5EF4-FFF2-40B4-BE49-F238E27FC236}">
                <a16:creationId xmlns:a16="http://schemas.microsoft.com/office/drawing/2014/main" id="{0AE32DD4-D213-8AFB-572F-7D4E644E14F7}"/>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pic>
        <p:nvPicPr>
          <p:cNvPr id="2" name="Graphic 1">
            <a:extLst>
              <a:ext uri="{FF2B5EF4-FFF2-40B4-BE49-F238E27FC236}">
                <a16:creationId xmlns:a16="http://schemas.microsoft.com/office/drawing/2014/main" id="{3FC77E34-B89B-44E9-3A44-EE4581F550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996092" y="3050112"/>
            <a:ext cx="550452" cy="736884"/>
          </a:xfrm>
          <a:prstGeom prst="rect">
            <a:avLst/>
          </a:prstGeom>
        </p:spPr>
      </p:pic>
    </p:spTree>
    <p:extLst>
      <p:ext uri="{BB962C8B-B14F-4D97-AF65-F5344CB8AC3E}">
        <p14:creationId xmlns:p14="http://schemas.microsoft.com/office/powerpoint/2010/main" val="41193073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olkswagen Group brands on White">
    <p:spTree>
      <p:nvGrpSpPr>
        <p:cNvPr id="1" name=""/>
        <p:cNvGrpSpPr/>
        <p:nvPr/>
      </p:nvGrpSpPr>
      <p:grpSpPr>
        <a:xfrm>
          <a:off x="0" y="0"/>
          <a:ext cx="0" cy="0"/>
          <a:chOff x="0" y="0"/>
          <a:chExt cx="0" cy="0"/>
        </a:xfrm>
      </p:grpSpPr>
      <p:sp>
        <p:nvSpPr>
          <p:cNvPr id="98" name="Freeform 97">
            <a:extLst>
              <a:ext uri="{FF2B5EF4-FFF2-40B4-BE49-F238E27FC236}">
                <a16:creationId xmlns:a16="http://schemas.microsoft.com/office/drawing/2014/main" id="{D6A282D3-619B-A152-8788-57A4EACF72B2}"/>
              </a:ext>
            </a:extLst>
          </p:cNvPr>
          <p:cNvSpPr/>
          <p:nvPr/>
        </p:nvSpPr>
        <p:spPr>
          <a:xfrm>
            <a:off x="847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99" name="Freeform 98">
            <a:extLst>
              <a:ext uri="{FF2B5EF4-FFF2-40B4-BE49-F238E27FC236}">
                <a16:creationId xmlns:a16="http://schemas.microsoft.com/office/drawing/2014/main" id="{FBC02195-6D1F-BBDB-C51D-15DBE013B426}"/>
              </a:ext>
            </a:extLst>
          </p:cNvPr>
          <p:cNvSpPr/>
          <p:nvPr/>
        </p:nvSpPr>
        <p:spPr>
          <a:xfrm>
            <a:off x="847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0" name="Freeform 99">
            <a:extLst>
              <a:ext uri="{FF2B5EF4-FFF2-40B4-BE49-F238E27FC236}">
                <a16:creationId xmlns:a16="http://schemas.microsoft.com/office/drawing/2014/main" id="{3EF7EB53-7858-11CC-890E-5BC2AE99CC9D}"/>
              </a:ext>
            </a:extLst>
          </p:cNvPr>
          <p:cNvSpPr/>
          <p:nvPr/>
        </p:nvSpPr>
        <p:spPr>
          <a:xfrm>
            <a:off x="847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1" name="Freeform 100">
            <a:extLst>
              <a:ext uri="{FF2B5EF4-FFF2-40B4-BE49-F238E27FC236}">
                <a16:creationId xmlns:a16="http://schemas.microsoft.com/office/drawing/2014/main" id="{684AA20C-1555-A5A5-45A4-601A91FD3DC2}"/>
              </a:ext>
            </a:extLst>
          </p:cNvPr>
          <p:cNvSpPr/>
          <p:nvPr/>
        </p:nvSpPr>
        <p:spPr>
          <a:xfrm>
            <a:off x="6889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2" name="Freeform 101">
            <a:extLst>
              <a:ext uri="{FF2B5EF4-FFF2-40B4-BE49-F238E27FC236}">
                <a16:creationId xmlns:a16="http://schemas.microsoft.com/office/drawing/2014/main" id="{F0FFAC97-310F-7313-84E4-A903EA0E9C51}"/>
              </a:ext>
            </a:extLst>
          </p:cNvPr>
          <p:cNvSpPr/>
          <p:nvPr/>
        </p:nvSpPr>
        <p:spPr>
          <a:xfrm>
            <a:off x="6889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3" name="Freeform 102">
            <a:extLst>
              <a:ext uri="{FF2B5EF4-FFF2-40B4-BE49-F238E27FC236}">
                <a16:creationId xmlns:a16="http://schemas.microsoft.com/office/drawing/2014/main" id="{C8F6C071-3CA4-9EB9-BC8F-2E1CC990CCAD}"/>
              </a:ext>
            </a:extLst>
          </p:cNvPr>
          <p:cNvSpPr/>
          <p:nvPr/>
        </p:nvSpPr>
        <p:spPr>
          <a:xfrm>
            <a:off x="6889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4" name="Freeform 103">
            <a:extLst>
              <a:ext uri="{FF2B5EF4-FFF2-40B4-BE49-F238E27FC236}">
                <a16:creationId xmlns:a16="http://schemas.microsoft.com/office/drawing/2014/main" id="{515DCB8B-471A-E4BB-4CB8-C15B35C89186}"/>
              </a:ext>
            </a:extLst>
          </p:cNvPr>
          <p:cNvSpPr/>
          <p:nvPr/>
        </p:nvSpPr>
        <p:spPr>
          <a:xfrm>
            <a:off x="5302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5" name="Freeform 104">
            <a:extLst>
              <a:ext uri="{FF2B5EF4-FFF2-40B4-BE49-F238E27FC236}">
                <a16:creationId xmlns:a16="http://schemas.microsoft.com/office/drawing/2014/main" id="{AAF4754E-AC45-48B5-8C38-E6EB7362DE8E}"/>
              </a:ext>
            </a:extLst>
          </p:cNvPr>
          <p:cNvSpPr/>
          <p:nvPr/>
        </p:nvSpPr>
        <p:spPr>
          <a:xfrm>
            <a:off x="5302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6" name="Freeform 105">
            <a:extLst>
              <a:ext uri="{FF2B5EF4-FFF2-40B4-BE49-F238E27FC236}">
                <a16:creationId xmlns:a16="http://schemas.microsoft.com/office/drawing/2014/main" id="{3F6A8B6B-34DF-C344-826D-7D0CA0D462F3}"/>
              </a:ext>
            </a:extLst>
          </p:cNvPr>
          <p:cNvSpPr/>
          <p:nvPr/>
        </p:nvSpPr>
        <p:spPr>
          <a:xfrm>
            <a:off x="5302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7" name="Freeform 106">
            <a:extLst>
              <a:ext uri="{FF2B5EF4-FFF2-40B4-BE49-F238E27FC236}">
                <a16:creationId xmlns:a16="http://schemas.microsoft.com/office/drawing/2014/main" id="{3AF87535-B489-3B35-B12A-AEFCB0D5DF50}"/>
              </a:ext>
            </a:extLst>
          </p:cNvPr>
          <p:cNvSpPr/>
          <p:nvPr/>
        </p:nvSpPr>
        <p:spPr>
          <a:xfrm>
            <a:off x="3714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8" name="Freeform 107">
            <a:extLst>
              <a:ext uri="{FF2B5EF4-FFF2-40B4-BE49-F238E27FC236}">
                <a16:creationId xmlns:a16="http://schemas.microsoft.com/office/drawing/2014/main" id="{56CA7C7D-93FF-0EF7-10B4-BB5BF77AE490}"/>
              </a:ext>
            </a:extLst>
          </p:cNvPr>
          <p:cNvSpPr/>
          <p:nvPr/>
        </p:nvSpPr>
        <p:spPr>
          <a:xfrm>
            <a:off x="3714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9" name="Freeform 108">
            <a:extLst>
              <a:ext uri="{FF2B5EF4-FFF2-40B4-BE49-F238E27FC236}">
                <a16:creationId xmlns:a16="http://schemas.microsoft.com/office/drawing/2014/main" id="{A560D898-2761-9F08-DD71-75DA83243730}"/>
              </a:ext>
            </a:extLst>
          </p:cNvPr>
          <p:cNvSpPr/>
          <p:nvPr/>
        </p:nvSpPr>
        <p:spPr>
          <a:xfrm>
            <a:off x="212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10" name="Freeform 109">
            <a:extLst>
              <a:ext uri="{FF2B5EF4-FFF2-40B4-BE49-F238E27FC236}">
                <a16:creationId xmlns:a16="http://schemas.microsoft.com/office/drawing/2014/main" id="{F70D04D0-042D-49A4-D0F9-36CA8423FEDC}"/>
              </a:ext>
            </a:extLst>
          </p:cNvPr>
          <p:cNvSpPr/>
          <p:nvPr/>
        </p:nvSpPr>
        <p:spPr>
          <a:xfrm>
            <a:off x="212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11" name="Freeform 110">
            <a:extLst>
              <a:ext uri="{FF2B5EF4-FFF2-40B4-BE49-F238E27FC236}">
                <a16:creationId xmlns:a16="http://schemas.microsoft.com/office/drawing/2014/main" id="{6C5A60CE-30D8-73B4-33DC-DB7E62CECC38}"/>
              </a:ext>
            </a:extLst>
          </p:cNvPr>
          <p:cNvSpPr/>
          <p:nvPr/>
        </p:nvSpPr>
        <p:spPr>
          <a:xfrm>
            <a:off x="212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113" name="Graphic 79">
            <a:extLst>
              <a:ext uri="{FF2B5EF4-FFF2-40B4-BE49-F238E27FC236}">
                <a16:creationId xmlns:a16="http://schemas.microsoft.com/office/drawing/2014/main" id="{F2A99AA6-6022-3F00-5B0E-2F6C4CD7F730}"/>
              </a:ext>
            </a:extLst>
          </p:cNvPr>
          <p:cNvGrpSpPr/>
          <p:nvPr/>
        </p:nvGrpSpPr>
        <p:grpSpPr>
          <a:xfrm>
            <a:off x="2448560" y="3166745"/>
            <a:ext cx="943610" cy="524509"/>
            <a:chOff x="2448560" y="3166745"/>
            <a:chExt cx="943610" cy="524509"/>
          </a:xfrm>
          <a:solidFill>
            <a:srgbClr val="002733"/>
          </a:solidFill>
        </p:grpSpPr>
        <p:grpSp>
          <p:nvGrpSpPr>
            <p:cNvPr id="114" name="Graphic 79">
              <a:extLst>
                <a:ext uri="{FF2B5EF4-FFF2-40B4-BE49-F238E27FC236}">
                  <a16:creationId xmlns:a16="http://schemas.microsoft.com/office/drawing/2014/main" id="{4CD39B06-484D-7F68-D170-8804D72E61C7}"/>
                </a:ext>
              </a:extLst>
            </p:cNvPr>
            <p:cNvGrpSpPr/>
            <p:nvPr/>
          </p:nvGrpSpPr>
          <p:grpSpPr>
            <a:xfrm>
              <a:off x="2486660" y="3590925"/>
              <a:ext cx="379729" cy="100329"/>
              <a:chOff x="2486660" y="3590925"/>
              <a:chExt cx="379729" cy="100329"/>
            </a:xfrm>
            <a:solidFill>
              <a:srgbClr val="002733"/>
            </a:solidFill>
          </p:grpSpPr>
          <p:sp>
            <p:nvSpPr>
              <p:cNvPr id="115" name="Freeform 114">
                <a:extLst>
                  <a:ext uri="{FF2B5EF4-FFF2-40B4-BE49-F238E27FC236}">
                    <a16:creationId xmlns:a16="http://schemas.microsoft.com/office/drawing/2014/main" id="{B8417F77-D649-92DE-F55F-339FD0D00A65}"/>
                  </a:ext>
                </a:extLst>
              </p:cNvPr>
              <p:cNvSpPr/>
              <p:nvPr/>
            </p:nvSpPr>
            <p:spPr>
              <a:xfrm>
                <a:off x="2486660" y="3590925"/>
                <a:ext cx="126364" cy="98425"/>
              </a:xfrm>
              <a:custGeom>
                <a:avLst/>
                <a:gdLst>
                  <a:gd name="connsiteX0" fmla="*/ 52070 w 126364"/>
                  <a:gd name="connsiteY0" fmla="*/ 0 h 98425"/>
                  <a:gd name="connsiteX1" fmla="*/ 74930 w 126364"/>
                  <a:gd name="connsiteY1" fmla="*/ 0 h 98425"/>
                  <a:gd name="connsiteX2" fmla="*/ 126365 w 126364"/>
                  <a:gd name="connsiteY2" fmla="*/ 98425 h 98425"/>
                  <a:gd name="connsiteX3" fmla="*/ 101600 w 126364"/>
                  <a:gd name="connsiteY3" fmla="*/ 98425 h 98425"/>
                  <a:gd name="connsiteX4" fmla="*/ 90805 w 126364"/>
                  <a:gd name="connsiteY4" fmla="*/ 78105 h 98425"/>
                  <a:gd name="connsiteX5" fmla="*/ 34290 w 126364"/>
                  <a:gd name="connsiteY5" fmla="*/ 78105 h 98425"/>
                  <a:gd name="connsiteX6" fmla="*/ 24130 w 126364"/>
                  <a:gd name="connsiteY6" fmla="*/ 98425 h 98425"/>
                  <a:gd name="connsiteX7" fmla="*/ 0 w 126364"/>
                  <a:gd name="connsiteY7" fmla="*/ 98425 h 98425"/>
                  <a:gd name="connsiteX8" fmla="*/ 52070 w 126364"/>
                  <a:gd name="connsiteY8" fmla="*/ 0 h 98425"/>
                  <a:gd name="connsiteX9" fmla="*/ 43180 w 126364"/>
                  <a:gd name="connsiteY9" fmla="*/ 61595 h 98425"/>
                  <a:gd name="connsiteX10" fmla="*/ 83185 w 126364"/>
                  <a:gd name="connsiteY10" fmla="*/ 61595 h 98425"/>
                  <a:gd name="connsiteX11" fmla="*/ 63500 w 126364"/>
                  <a:gd name="connsiteY11" fmla="*/ 21590 h 98425"/>
                  <a:gd name="connsiteX12" fmla="*/ 43180 w 126364"/>
                  <a:gd name="connsiteY12" fmla="*/ 6159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64" h="98425">
                    <a:moveTo>
                      <a:pt x="52070" y="0"/>
                    </a:moveTo>
                    <a:lnTo>
                      <a:pt x="74930" y="0"/>
                    </a:lnTo>
                    <a:lnTo>
                      <a:pt x="126365" y="98425"/>
                    </a:lnTo>
                    <a:lnTo>
                      <a:pt x="101600" y="98425"/>
                    </a:lnTo>
                    <a:lnTo>
                      <a:pt x="90805" y="78105"/>
                    </a:lnTo>
                    <a:lnTo>
                      <a:pt x="34290" y="78105"/>
                    </a:lnTo>
                    <a:lnTo>
                      <a:pt x="24130" y="98425"/>
                    </a:lnTo>
                    <a:lnTo>
                      <a:pt x="0" y="98425"/>
                    </a:lnTo>
                    <a:lnTo>
                      <a:pt x="52070" y="0"/>
                    </a:lnTo>
                    <a:close/>
                    <a:moveTo>
                      <a:pt x="43180" y="61595"/>
                    </a:moveTo>
                    <a:lnTo>
                      <a:pt x="83185" y="61595"/>
                    </a:lnTo>
                    <a:lnTo>
                      <a:pt x="63500" y="21590"/>
                    </a:lnTo>
                    <a:lnTo>
                      <a:pt x="43180" y="61595"/>
                    </a:lnTo>
                    <a:close/>
                  </a:path>
                </a:pathLst>
              </a:custGeom>
              <a:solidFill>
                <a:srgbClr val="002733"/>
              </a:solidFill>
              <a:ln w="6350" cap="flat">
                <a:noFill/>
                <a:prstDash val="solid"/>
                <a:miter/>
              </a:ln>
            </p:spPr>
            <p:txBody>
              <a:bodyPr rtlCol="0" anchor="ctr"/>
              <a:lstStyle/>
              <a:p>
                <a:endParaRPr lang="en-GB"/>
              </a:p>
            </p:txBody>
          </p:sp>
          <p:sp>
            <p:nvSpPr>
              <p:cNvPr id="116" name="Freeform 115">
                <a:extLst>
                  <a:ext uri="{FF2B5EF4-FFF2-40B4-BE49-F238E27FC236}">
                    <a16:creationId xmlns:a16="http://schemas.microsoft.com/office/drawing/2014/main" id="{EB65BD1E-7CA1-BCFA-562B-70E78E3D68A3}"/>
                  </a:ext>
                </a:extLst>
              </p:cNvPr>
              <p:cNvSpPr/>
              <p:nvPr/>
            </p:nvSpPr>
            <p:spPr>
              <a:xfrm>
                <a:off x="2625089" y="3619500"/>
                <a:ext cx="83820" cy="71754"/>
              </a:xfrm>
              <a:custGeom>
                <a:avLst/>
                <a:gdLst>
                  <a:gd name="connsiteX0" fmla="*/ 62865 w 83820"/>
                  <a:gd name="connsiteY0" fmla="*/ 62865 h 71754"/>
                  <a:gd name="connsiteX1" fmla="*/ 34290 w 83820"/>
                  <a:gd name="connsiteY1" fmla="*/ 71755 h 71754"/>
                  <a:gd name="connsiteX2" fmla="*/ 0 w 83820"/>
                  <a:gd name="connsiteY2" fmla="*/ 40640 h 71754"/>
                  <a:gd name="connsiteX3" fmla="*/ 0 w 83820"/>
                  <a:gd name="connsiteY3" fmla="*/ 0 h 71754"/>
                  <a:gd name="connsiteX4" fmla="*/ 21590 w 83820"/>
                  <a:gd name="connsiteY4" fmla="*/ 0 h 71754"/>
                  <a:gd name="connsiteX5" fmla="*/ 21590 w 83820"/>
                  <a:gd name="connsiteY5" fmla="*/ 38100 h 71754"/>
                  <a:gd name="connsiteX6" fmla="*/ 40005 w 83820"/>
                  <a:gd name="connsiteY6" fmla="*/ 55245 h 71754"/>
                  <a:gd name="connsiteX7" fmla="*/ 62230 w 83820"/>
                  <a:gd name="connsiteY7" fmla="*/ 49530 h 71754"/>
                  <a:gd name="connsiteX8" fmla="*/ 62230 w 83820"/>
                  <a:gd name="connsiteY8" fmla="*/ 0 h 71754"/>
                  <a:gd name="connsiteX9" fmla="*/ 83820 w 83820"/>
                  <a:gd name="connsiteY9" fmla="*/ 0 h 71754"/>
                  <a:gd name="connsiteX10" fmla="*/ 83820 w 83820"/>
                  <a:gd name="connsiteY10" fmla="*/ 69850 h 71754"/>
                  <a:gd name="connsiteX11" fmla="*/ 65405 w 83820"/>
                  <a:gd name="connsiteY11" fmla="*/ 69850 h 71754"/>
                  <a:gd name="connsiteX12" fmla="*/ 62865 w 83820"/>
                  <a:gd name="connsiteY12" fmla="*/ 62865 h 7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20" h="71754">
                    <a:moveTo>
                      <a:pt x="62865" y="62865"/>
                    </a:moveTo>
                    <a:cubicBezTo>
                      <a:pt x="56515" y="67945"/>
                      <a:pt x="45085" y="71755"/>
                      <a:pt x="34290" y="71755"/>
                    </a:cubicBezTo>
                    <a:cubicBezTo>
                      <a:pt x="16510" y="71755"/>
                      <a:pt x="0" y="66040"/>
                      <a:pt x="0" y="40640"/>
                    </a:cubicBezTo>
                    <a:lnTo>
                      <a:pt x="0" y="0"/>
                    </a:lnTo>
                    <a:lnTo>
                      <a:pt x="21590" y="0"/>
                    </a:lnTo>
                    <a:lnTo>
                      <a:pt x="21590" y="38100"/>
                    </a:lnTo>
                    <a:cubicBezTo>
                      <a:pt x="21590" y="49530"/>
                      <a:pt x="26670" y="55245"/>
                      <a:pt x="40005" y="55245"/>
                    </a:cubicBezTo>
                    <a:cubicBezTo>
                      <a:pt x="48895" y="55245"/>
                      <a:pt x="55245" y="52705"/>
                      <a:pt x="62230" y="49530"/>
                    </a:cubicBezTo>
                    <a:lnTo>
                      <a:pt x="62230" y="0"/>
                    </a:lnTo>
                    <a:lnTo>
                      <a:pt x="83820" y="0"/>
                    </a:lnTo>
                    <a:lnTo>
                      <a:pt x="83820" y="69850"/>
                    </a:lnTo>
                    <a:lnTo>
                      <a:pt x="65405" y="69850"/>
                    </a:lnTo>
                    <a:lnTo>
                      <a:pt x="62865" y="62865"/>
                    </a:lnTo>
                    <a:close/>
                  </a:path>
                </a:pathLst>
              </a:custGeom>
              <a:solidFill>
                <a:srgbClr val="002733"/>
              </a:solidFill>
              <a:ln w="6350" cap="flat">
                <a:noFill/>
                <a:prstDash val="solid"/>
                <a:miter/>
              </a:ln>
            </p:spPr>
            <p:txBody>
              <a:bodyPr rtlCol="0" anchor="ctr"/>
              <a:lstStyle/>
              <a:p>
                <a:endParaRPr lang="en-GB"/>
              </a:p>
            </p:txBody>
          </p:sp>
          <p:sp>
            <p:nvSpPr>
              <p:cNvPr id="117" name="Freeform 116">
                <a:extLst>
                  <a:ext uri="{FF2B5EF4-FFF2-40B4-BE49-F238E27FC236}">
                    <a16:creationId xmlns:a16="http://schemas.microsoft.com/office/drawing/2014/main" id="{9C5B4938-5346-8745-2707-C1895C94D6DE}"/>
                  </a:ext>
                </a:extLst>
              </p:cNvPr>
              <p:cNvSpPr/>
              <p:nvPr/>
            </p:nvSpPr>
            <p:spPr>
              <a:xfrm>
                <a:off x="2729229" y="3590925"/>
                <a:ext cx="89535" cy="100329"/>
              </a:xfrm>
              <a:custGeom>
                <a:avLst/>
                <a:gdLst>
                  <a:gd name="connsiteX0" fmla="*/ 0 w 89535"/>
                  <a:gd name="connsiteY0" fmla="*/ 63500 h 100329"/>
                  <a:gd name="connsiteX1" fmla="*/ 41275 w 89535"/>
                  <a:gd name="connsiteY1" fmla="*/ 26670 h 100329"/>
                  <a:gd name="connsiteX2" fmla="*/ 67945 w 89535"/>
                  <a:gd name="connsiteY2" fmla="*/ 33020 h 100329"/>
                  <a:gd name="connsiteX3" fmla="*/ 67945 w 89535"/>
                  <a:gd name="connsiteY3" fmla="*/ 0 h 100329"/>
                  <a:gd name="connsiteX4" fmla="*/ 89535 w 89535"/>
                  <a:gd name="connsiteY4" fmla="*/ 0 h 100329"/>
                  <a:gd name="connsiteX5" fmla="*/ 89535 w 89535"/>
                  <a:gd name="connsiteY5" fmla="*/ 98425 h 100329"/>
                  <a:gd name="connsiteX6" fmla="*/ 71120 w 89535"/>
                  <a:gd name="connsiteY6" fmla="*/ 98425 h 100329"/>
                  <a:gd name="connsiteX7" fmla="*/ 69850 w 89535"/>
                  <a:gd name="connsiteY7" fmla="*/ 90805 h 100329"/>
                  <a:gd name="connsiteX8" fmla="*/ 40640 w 89535"/>
                  <a:gd name="connsiteY8" fmla="*/ 100330 h 100329"/>
                  <a:gd name="connsiteX9" fmla="*/ 0 w 89535"/>
                  <a:gd name="connsiteY9" fmla="*/ 63500 h 100329"/>
                  <a:gd name="connsiteX10" fmla="*/ 67945 w 89535"/>
                  <a:gd name="connsiteY10" fmla="*/ 78740 h 100329"/>
                  <a:gd name="connsiteX11" fmla="*/ 67945 w 89535"/>
                  <a:gd name="connsiteY11" fmla="*/ 48895 h 100329"/>
                  <a:gd name="connsiteX12" fmla="*/ 43815 w 89535"/>
                  <a:gd name="connsiteY12" fmla="*/ 43180 h 100329"/>
                  <a:gd name="connsiteX13" fmla="*/ 21590 w 89535"/>
                  <a:gd name="connsiteY13" fmla="*/ 63500 h 100329"/>
                  <a:gd name="connsiteX14" fmla="*/ 43815 w 89535"/>
                  <a:gd name="connsiteY14" fmla="*/ 84455 h 100329"/>
                  <a:gd name="connsiteX15" fmla="*/ 67945 w 89535"/>
                  <a:gd name="connsiteY15" fmla="*/ 78740 h 10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535" h="100329">
                    <a:moveTo>
                      <a:pt x="0" y="63500"/>
                    </a:moveTo>
                    <a:cubicBezTo>
                      <a:pt x="0" y="40640"/>
                      <a:pt x="14605" y="26670"/>
                      <a:pt x="41275" y="26670"/>
                    </a:cubicBezTo>
                    <a:cubicBezTo>
                      <a:pt x="51435" y="26670"/>
                      <a:pt x="62230" y="29210"/>
                      <a:pt x="67945" y="33020"/>
                    </a:cubicBezTo>
                    <a:lnTo>
                      <a:pt x="67945" y="0"/>
                    </a:lnTo>
                    <a:lnTo>
                      <a:pt x="89535" y="0"/>
                    </a:lnTo>
                    <a:lnTo>
                      <a:pt x="89535" y="98425"/>
                    </a:lnTo>
                    <a:lnTo>
                      <a:pt x="71120" y="98425"/>
                    </a:lnTo>
                    <a:lnTo>
                      <a:pt x="69850" y="90805"/>
                    </a:lnTo>
                    <a:cubicBezTo>
                      <a:pt x="63500" y="96520"/>
                      <a:pt x="52070" y="100330"/>
                      <a:pt x="40640" y="100330"/>
                    </a:cubicBezTo>
                    <a:cubicBezTo>
                      <a:pt x="13970" y="100330"/>
                      <a:pt x="0" y="86995"/>
                      <a:pt x="0" y="63500"/>
                    </a:cubicBezTo>
                    <a:close/>
                    <a:moveTo>
                      <a:pt x="67945" y="78740"/>
                    </a:moveTo>
                    <a:lnTo>
                      <a:pt x="67945" y="48895"/>
                    </a:lnTo>
                    <a:cubicBezTo>
                      <a:pt x="60325" y="45085"/>
                      <a:pt x="53975" y="43180"/>
                      <a:pt x="43815" y="43180"/>
                    </a:cubicBezTo>
                    <a:cubicBezTo>
                      <a:pt x="29210" y="43180"/>
                      <a:pt x="21590" y="50800"/>
                      <a:pt x="21590" y="63500"/>
                    </a:cubicBezTo>
                    <a:cubicBezTo>
                      <a:pt x="21590" y="76200"/>
                      <a:pt x="29210" y="84455"/>
                      <a:pt x="43815" y="84455"/>
                    </a:cubicBezTo>
                    <a:cubicBezTo>
                      <a:pt x="53975" y="84455"/>
                      <a:pt x="60325" y="82550"/>
                      <a:pt x="67945" y="78740"/>
                    </a:cubicBezTo>
                    <a:close/>
                  </a:path>
                </a:pathLst>
              </a:custGeom>
              <a:solidFill>
                <a:srgbClr val="002733"/>
              </a:solidFill>
              <a:ln w="6350" cap="flat">
                <a:noFill/>
                <a:prstDash val="solid"/>
                <a:miter/>
              </a:ln>
            </p:spPr>
            <p:txBody>
              <a:bodyPr rtlCol="0" anchor="ctr"/>
              <a:lstStyle/>
              <a:p>
                <a:endParaRPr lang="en-GB"/>
              </a:p>
            </p:txBody>
          </p:sp>
          <p:sp>
            <p:nvSpPr>
              <p:cNvPr id="118" name="Freeform 117">
                <a:extLst>
                  <a:ext uri="{FF2B5EF4-FFF2-40B4-BE49-F238E27FC236}">
                    <a16:creationId xmlns:a16="http://schemas.microsoft.com/office/drawing/2014/main" id="{4A80279F-2165-2B85-AD05-D63E42B13C70}"/>
                  </a:ext>
                </a:extLst>
              </p:cNvPr>
              <p:cNvSpPr/>
              <p:nvPr/>
            </p:nvSpPr>
            <p:spPr>
              <a:xfrm>
                <a:off x="2844800" y="3590925"/>
                <a:ext cx="21589" cy="98425"/>
              </a:xfrm>
              <a:custGeom>
                <a:avLst/>
                <a:gdLst>
                  <a:gd name="connsiteX0" fmla="*/ 0 w 21589"/>
                  <a:gd name="connsiteY0" fmla="*/ 0 h 98425"/>
                  <a:gd name="connsiteX1" fmla="*/ 21590 w 21589"/>
                  <a:gd name="connsiteY1" fmla="*/ 0 h 98425"/>
                  <a:gd name="connsiteX2" fmla="*/ 21590 w 21589"/>
                  <a:gd name="connsiteY2" fmla="*/ 18415 h 98425"/>
                  <a:gd name="connsiteX3" fmla="*/ 0 w 21589"/>
                  <a:gd name="connsiteY3" fmla="*/ 18415 h 98425"/>
                  <a:gd name="connsiteX4" fmla="*/ 0 w 21589"/>
                  <a:gd name="connsiteY4" fmla="*/ 0 h 98425"/>
                  <a:gd name="connsiteX5" fmla="*/ 0 w 21589"/>
                  <a:gd name="connsiteY5" fmla="*/ 28575 h 98425"/>
                  <a:gd name="connsiteX6" fmla="*/ 21590 w 21589"/>
                  <a:gd name="connsiteY6" fmla="*/ 28575 h 98425"/>
                  <a:gd name="connsiteX7" fmla="*/ 21590 w 21589"/>
                  <a:gd name="connsiteY7" fmla="*/ 98425 h 98425"/>
                  <a:gd name="connsiteX8" fmla="*/ 0 w 21589"/>
                  <a:gd name="connsiteY8" fmla="*/ 98425 h 98425"/>
                  <a:gd name="connsiteX9" fmla="*/ 0 w 21589"/>
                  <a:gd name="connsiteY9" fmla="*/ 2857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89" h="98425">
                    <a:moveTo>
                      <a:pt x="0" y="0"/>
                    </a:moveTo>
                    <a:lnTo>
                      <a:pt x="21590" y="0"/>
                    </a:lnTo>
                    <a:lnTo>
                      <a:pt x="21590" y="18415"/>
                    </a:lnTo>
                    <a:lnTo>
                      <a:pt x="0" y="18415"/>
                    </a:lnTo>
                    <a:lnTo>
                      <a:pt x="0" y="0"/>
                    </a:lnTo>
                    <a:close/>
                    <a:moveTo>
                      <a:pt x="0" y="28575"/>
                    </a:moveTo>
                    <a:lnTo>
                      <a:pt x="21590" y="28575"/>
                    </a:lnTo>
                    <a:lnTo>
                      <a:pt x="21590" y="98425"/>
                    </a:lnTo>
                    <a:lnTo>
                      <a:pt x="0" y="98425"/>
                    </a:lnTo>
                    <a:lnTo>
                      <a:pt x="0" y="28575"/>
                    </a:lnTo>
                    <a:close/>
                  </a:path>
                </a:pathLst>
              </a:custGeom>
              <a:solidFill>
                <a:srgbClr val="002733"/>
              </a:solidFill>
              <a:ln w="6350" cap="flat">
                <a:noFill/>
                <a:prstDash val="solid"/>
                <a:miter/>
              </a:ln>
            </p:spPr>
            <p:txBody>
              <a:bodyPr rtlCol="0" anchor="ctr"/>
              <a:lstStyle/>
              <a:p>
                <a:endParaRPr lang="en-GB"/>
              </a:p>
            </p:txBody>
          </p:sp>
        </p:grpSp>
        <p:sp>
          <p:nvSpPr>
            <p:cNvPr id="119" name="Freeform 118">
              <a:extLst>
                <a:ext uri="{FF2B5EF4-FFF2-40B4-BE49-F238E27FC236}">
                  <a16:creationId xmlns:a16="http://schemas.microsoft.com/office/drawing/2014/main" id="{FE565DEA-362F-CF42-C650-D0FAC4386973}"/>
                </a:ext>
              </a:extLst>
            </p:cNvPr>
            <p:cNvSpPr/>
            <p:nvPr/>
          </p:nvSpPr>
          <p:spPr>
            <a:xfrm>
              <a:off x="2448560" y="3166745"/>
              <a:ext cx="943610" cy="326389"/>
            </a:xfrm>
            <a:custGeom>
              <a:avLst/>
              <a:gdLst>
                <a:gd name="connsiteX0" fmla="*/ 780415 w 943610"/>
                <a:gd name="connsiteY0" fmla="*/ 0 h 326389"/>
                <a:gd name="connsiteX1" fmla="*/ 677545 w 943610"/>
                <a:gd name="connsiteY1" fmla="*/ 36195 h 326389"/>
                <a:gd name="connsiteX2" fmla="*/ 574675 w 943610"/>
                <a:gd name="connsiteY2" fmla="*/ 0 h 326389"/>
                <a:gd name="connsiteX3" fmla="*/ 471805 w 943610"/>
                <a:gd name="connsiteY3" fmla="*/ 36195 h 326389"/>
                <a:gd name="connsiteX4" fmla="*/ 368935 w 943610"/>
                <a:gd name="connsiteY4" fmla="*/ 0 h 326389"/>
                <a:gd name="connsiteX5" fmla="*/ 266065 w 943610"/>
                <a:gd name="connsiteY5" fmla="*/ 36195 h 326389"/>
                <a:gd name="connsiteX6" fmla="*/ 163195 w 943610"/>
                <a:gd name="connsiteY6" fmla="*/ 0 h 326389"/>
                <a:gd name="connsiteX7" fmla="*/ 0 w 943610"/>
                <a:gd name="connsiteY7" fmla="*/ 163195 h 326389"/>
                <a:gd name="connsiteX8" fmla="*/ 163195 w 943610"/>
                <a:gd name="connsiteY8" fmla="*/ 326390 h 326389"/>
                <a:gd name="connsiteX9" fmla="*/ 266065 w 943610"/>
                <a:gd name="connsiteY9" fmla="*/ 290195 h 326389"/>
                <a:gd name="connsiteX10" fmla="*/ 368935 w 943610"/>
                <a:gd name="connsiteY10" fmla="*/ 326390 h 326389"/>
                <a:gd name="connsiteX11" fmla="*/ 471805 w 943610"/>
                <a:gd name="connsiteY11" fmla="*/ 290195 h 326389"/>
                <a:gd name="connsiteX12" fmla="*/ 574675 w 943610"/>
                <a:gd name="connsiteY12" fmla="*/ 326390 h 326389"/>
                <a:gd name="connsiteX13" fmla="*/ 677545 w 943610"/>
                <a:gd name="connsiteY13" fmla="*/ 290195 h 326389"/>
                <a:gd name="connsiteX14" fmla="*/ 780415 w 943610"/>
                <a:gd name="connsiteY14" fmla="*/ 326390 h 326389"/>
                <a:gd name="connsiteX15" fmla="*/ 943610 w 943610"/>
                <a:gd name="connsiteY15" fmla="*/ 163195 h 326389"/>
                <a:gd name="connsiteX16" fmla="*/ 780415 w 943610"/>
                <a:gd name="connsiteY16" fmla="*/ 0 h 326389"/>
                <a:gd name="connsiteX17" fmla="*/ 677545 w 943610"/>
                <a:gd name="connsiteY17" fmla="*/ 236220 h 326389"/>
                <a:gd name="connsiteX18" fmla="*/ 654050 w 943610"/>
                <a:gd name="connsiteY18" fmla="*/ 163195 h 326389"/>
                <a:gd name="connsiteX19" fmla="*/ 677545 w 943610"/>
                <a:gd name="connsiteY19" fmla="*/ 90170 h 326389"/>
                <a:gd name="connsiteX20" fmla="*/ 701040 w 943610"/>
                <a:gd name="connsiteY20" fmla="*/ 163195 h 326389"/>
                <a:gd name="connsiteX21" fmla="*/ 677545 w 943610"/>
                <a:gd name="connsiteY21" fmla="*/ 236220 h 326389"/>
                <a:gd name="connsiteX22" fmla="*/ 472440 w 943610"/>
                <a:gd name="connsiteY22" fmla="*/ 236220 h 326389"/>
                <a:gd name="connsiteX23" fmla="*/ 448945 w 943610"/>
                <a:gd name="connsiteY23" fmla="*/ 163195 h 326389"/>
                <a:gd name="connsiteX24" fmla="*/ 472440 w 943610"/>
                <a:gd name="connsiteY24" fmla="*/ 90170 h 326389"/>
                <a:gd name="connsiteX25" fmla="*/ 495935 w 943610"/>
                <a:gd name="connsiteY25" fmla="*/ 163195 h 326389"/>
                <a:gd name="connsiteX26" fmla="*/ 472440 w 943610"/>
                <a:gd name="connsiteY26" fmla="*/ 236220 h 326389"/>
                <a:gd name="connsiteX27" fmla="*/ 267335 w 943610"/>
                <a:gd name="connsiteY27" fmla="*/ 236220 h 326389"/>
                <a:gd name="connsiteX28" fmla="*/ 243840 w 943610"/>
                <a:gd name="connsiteY28" fmla="*/ 163195 h 326389"/>
                <a:gd name="connsiteX29" fmla="*/ 267335 w 943610"/>
                <a:gd name="connsiteY29" fmla="*/ 90170 h 326389"/>
                <a:gd name="connsiteX30" fmla="*/ 290830 w 943610"/>
                <a:gd name="connsiteY30" fmla="*/ 163195 h 326389"/>
                <a:gd name="connsiteX31" fmla="*/ 267335 w 943610"/>
                <a:gd name="connsiteY31" fmla="*/ 236220 h 326389"/>
                <a:gd name="connsiteX32" fmla="*/ 38735 w 943610"/>
                <a:gd name="connsiteY32" fmla="*/ 162560 h 326389"/>
                <a:gd name="connsiteX33" fmla="*/ 165100 w 943610"/>
                <a:gd name="connsiteY33" fmla="*/ 36195 h 326389"/>
                <a:gd name="connsiteX34" fmla="*/ 241935 w 943610"/>
                <a:gd name="connsiteY34" fmla="*/ 62230 h 326389"/>
                <a:gd name="connsiteX35" fmla="*/ 207645 w 943610"/>
                <a:gd name="connsiteY35" fmla="*/ 161925 h 326389"/>
                <a:gd name="connsiteX36" fmla="*/ 241935 w 943610"/>
                <a:gd name="connsiteY36" fmla="*/ 261620 h 326389"/>
                <a:gd name="connsiteX37" fmla="*/ 165100 w 943610"/>
                <a:gd name="connsiteY37" fmla="*/ 287655 h 326389"/>
                <a:gd name="connsiteX38" fmla="*/ 38735 w 943610"/>
                <a:gd name="connsiteY38" fmla="*/ 162560 h 326389"/>
                <a:gd name="connsiteX39" fmla="*/ 292735 w 943610"/>
                <a:gd name="connsiteY39" fmla="*/ 262890 h 326389"/>
                <a:gd name="connsiteX40" fmla="*/ 327025 w 943610"/>
                <a:gd name="connsiteY40" fmla="*/ 163195 h 326389"/>
                <a:gd name="connsiteX41" fmla="*/ 292735 w 943610"/>
                <a:gd name="connsiteY41" fmla="*/ 63500 h 326389"/>
                <a:gd name="connsiteX42" fmla="*/ 369570 w 943610"/>
                <a:gd name="connsiteY42" fmla="*/ 37465 h 326389"/>
                <a:gd name="connsiteX43" fmla="*/ 446405 w 943610"/>
                <a:gd name="connsiteY43" fmla="*/ 63500 h 326389"/>
                <a:gd name="connsiteX44" fmla="*/ 412115 w 943610"/>
                <a:gd name="connsiteY44" fmla="*/ 163195 h 326389"/>
                <a:gd name="connsiteX45" fmla="*/ 446405 w 943610"/>
                <a:gd name="connsiteY45" fmla="*/ 262890 h 326389"/>
                <a:gd name="connsiteX46" fmla="*/ 369570 w 943610"/>
                <a:gd name="connsiteY46" fmla="*/ 288925 h 326389"/>
                <a:gd name="connsiteX47" fmla="*/ 292735 w 943610"/>
                <a:gd name="connsiteY47" fmla="*/ 262890 h 326389"/>
                <a:gd name="connsiteX48" fmla="*/ 498475 w 943610"/>
                <a:gd name="connsiteY48" fmla="*/ 262890 h 326389"/>
                <a:gd name="connsiteX49" fmla="*/ 532765 w 943610"/>
                <a:gd name="connsiteY49" fmla="*/ 163195 h 326389"/>
                <a:gd name="connsiteX50" fmla="*/ 498475 w 943610"/>
                <a:gd name="connsiteY50" fmla="*/ 63500 h 326389"/>
                <a:gd name="connsiteX51" fmla="*/ 575310 w 943610"/>
                <a:gd name="connsiteY51" fmla="*/ 37465 h 326389"/>
                <a:gd name="connsiteX52" fmla="*/ 652145 w 943610"/>
                <a:gd name="connsiteY52" fmla="*/ 63500 h 326389"/>
                <a:gd name="connsiteX53" fmla="*/ 617855 w 943610"/>
                <a:gd name="connsiteY53" fmla="*/ 163195 h 326389"/>
                <a:gd name="connsiteX54" fmla="*/ 652145 w 943610"/>
                <a:gd name="connsiteY54" fmla="*/ 262890 h 326389"/>
                <a:gd name="connsiteX55" fmla="*/ 575310 w 943610"/>
                <a:gd name="connsiteY55" fmla="*/ 288925 h 326389"/>
                <a:gd name="connsiteX56" fmla="*/ 498475 w 943610"/>
                <a:gd name="connsiteY56" fmla="*/ 262890 h 326389"/>
                <a:gd name="connsiteX57" fmla="*/ 780415 w 943610"/>
                <a:gd name="connsiteY57" fmla="*/ 288290 h 326389"/>
                <a:gd name="connsiteX58" fmla="*/ 703580 w 943610"/>
                <a:gd name="connsiteY58" fmla="*/ 262255 h 326389"/>
                <a:gd name="connsiteX59" fmla="*/ 737870 w 943610"/>
                <a:gd name="connsiteY59" fmla="*/ 162560 h 326389"/>
                <a:gd name="connsiteX60" fmla="*/ 703580 w 943610"/>
                <a:gd name="connsiteY60" fmla="*/ 62865 h 326389"/>
                <a:gd name="connsiteX61" fmla="*/ 780415 w 943610"/>
                <a:gd name="connsiteY61" fmla="*/ 36830 h 326389"/>
                <a:gd name="connsiteX62" fmla="*/ 906780 w 943610"/>
                <a:gd name="connsiteY62" fmla="*/ 163195 h 326389"/>
                <a:gd name="connsiteX63" fmla="*/ 780415 w 943610"/>
                <a:gd name="connsiteY63" fmla="*/ 288290 h 32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43610" h="326389">
                  <a:moveTo>
                    <a:pt x="780415" y="0"/>
                  </a:moveTo>
                  <a:cubicBezTo>
                    <a:pt x="741680" y="0"/>
                    <a:pt x="705485" y="13970"/>
                    <a:pt x="677545" y="36195"/>
                  </a:cubicBezTo>
                  <a:cubicBezTo>
                    <a:pt x="649605" y="13335"/>
                    <a:pt x="614045" y="0"/>
                    <a:pt x="574675" y="0"/>
                  </a:cubicBezTo>
                  <a:cubicBezTo>
                    <a:pt x="535940" y="0"/>
                    <a:pt x="499745" y="13970"/>
                    <a:pt x="471805" y="36195"/>
                  </a:cubicBezTo>
                  <a:cubicBezTo>
                    <a:pt x="443865" y="13335"/>
                    <a:pt x="408305" y="0"/>
                    <a:pt x="368935" y="0"/>
                  </a:cubicBezTo>
                  <a:cubicBezTo>
                    <a:pt x="330200" y="0"/>
                    <a:pt x="294005" y="13970"/>
                    <a:pt x="266065" y="36195"/>
                  </a:cubicBezTo>
                  <a:cubicBezTo>
                    <a:pt x="238125" y="13335"/>
                    <a:pt x="201930" y="0"/>
                    <a:pt x="163195" y="0"/>
                  </a:cubicBezTo>
                  <a:cubicBezTo>
                    <a:pt x="73025" y="0"/>
                    <a:pt x="0" y="73025"/>
                    <a:pt x="0" y="163195"/>
                  </a:cubicBezTo>
                  <a:cubicBezTo>
                    <a:pt x="0" y="253365"/>
                    <a:pt x="73025" y="326390"/>
                    <a:pt x="163195" y="326390"/>
                  </a:cubicBezTo>
                  <a:cubicBezTo>
                    <a:pt x="201930" y="326390"/>
                    <a:pt x="238125" y="312420"/>
                    <a:pt x="266065" y="290195"/>
                  </a:cubicBezTo>
                  <a:cubicBezTo>
                    <a:pt x="294005" y="313055"/>
                    <a:pt x="329565" y="326390"/>
                    <a:pt x="368935" y="326390"/>
                  </a:cubicBezTo>
                  <a:cubicBezTo>
                    <a:pt x="407670" y="326390"/>
                    <a:pt x="443865" y="312420"/>
                    <a:pt x="471805" y="290195"/>
                  </a:cubicBezTo>
                  <a:cubicBezTo>
                    <a:pt x="499745" y="313055"/>
                    <a:pt x="535305" y="326390"/>
                    <a:pt x="574675" y="326390"/>
                  </a:cubicBezTo>
                  <a:cubicBezTo>
                    <a:pt x="613410" y="326390"/>
                    <a:pt x="649605" y="312420"/>
                    <a:pt x="677545" y="290195"/>
                  </a:cubicBezTo>
                  <a:cubicBezTo>
                    <a:pt x="705485" y="313055"/>
                    <a:pt x="741045" y="326390"/>
                    <a:pt x="780415" y="326390"/>
                  </a:cubicBezTo>
                  <a:cubicBezTo>
                    <a:pt x="870585" y="326390"/>
                    <a:pt x="943610" y="253365"/>
                    <a:pt x="943610" y="163195"/>
                  </a:cubicBezTo>
                  <a:cubicBezTo>
                    <a:pt x="943610" y="72390"/>
                    <a:pt x="870585" y="0"/>
                    <a:pt x="780415" y="0"/>
                  </a:cubicBezTo>
                  <a:close/>
                  <a:moveTo>
                    <a:pt x="677545" y="236220"/>
                  </a:moveTo>
                  <a:cubicBezTo>
                    <a:pt x="662940" y="215265"/>
                    <a:pt x="654050" y="190500"/>
                    <a:pt x="654050" y="163195"/>
                  </a:cubicBezTo>
                  <a:cubicBezTo>
                    <a:pt x="654050" y="135890"/>
                    <a:pt x="662940" y="110490"/>
                    <a:pt x="677545" y="90170"/>
                  </a:cubicBezTo>
                  <a:cubicBezTo>
                    <a:pt x="692150" y="111125"/>
                    <a:pt x="701040" y="135890"/>
                    <a:pt x="701040" y="163195"/>
                  </a:cubicBezTo>
                  <a:cubicBezTo>
                    <a:pt x="701040" y="190500"/>
                    <a:pt x="692785" y="215265"/>
                    <a:pt x="677545" y="236220"/>
                  </a:cubicBezTo>
                  <a:close/>
                  <a:moveTo>
                    <a:pt x="472440" y="236220"/>
                  </a:moveTo>
                  <a:cubicBezTo>
                    <a:pt x="457835" y="215265"/>
                    <a:pt x="448945" y="190500"/>
                    <a:pt x="448945" y="163195"/>
                  </a:cubicBezTo>
                  <a:cubicBezTo>
                    <a:pt x="448945" y="135890"/>
                    <a:pt x="457835" y="110490"/>
                    <a:pt x="472440" y="90170"/>
                  </a:cubicBezTo>
                  <a:cubicBezTo>
                    <a:pt x="487045" y="111125"/>
                    <a:pt x="495935" y="135890"/>
                    <a:pt x="495935" y="163195"/>
                  </a:cubicBezTo>
                  <a:cubicBezTo>
                    <a:pt x="495935" y="190500"/>
                    <a:pt x="487045" y="215265"/>
                    <a:pt x="472440" y="236220"/>
                  </a:cubicBezTo>
                  <a:close/>
                  <a:moveTo>
                    <a:pt x="267335" y="236220"/>
                  </a:moveTo>
                  <a:cubicBezTo>
                    <a:pt x="252730" y="215265"/>
                    <a:pt x="243840" y="190500"/>
                    <a:pt x="243840" y="163195"/>
                  </a:cubicBezTo>
                  <a:cubicBezTo>
                    <a:pt x="243840" y="135890"/>
                    <a:pt x="252730" y="110490"/>
                    <a:pt x="267335" y="90170"/>
                  </a:cubicBezTo>
                  <a:cubicBezTo>
                    <a:pt x="281940" y="111125"/>
                    <a:pt x="290830" y="135890"/>
                    <a:pt x="290830" y="163195"/>
                  </a:cubicBezTo>
                  <a:cubicBezTo>
                    <a:pt x="290830" y="190500"/>
                    <a:pt x="281940" y="215265"/>
                    <a:pt x="267335" y="236220"/>
                  </a:cubicBezTo>
                  <a:close/>
                  <a:moveTo>
                    <a:pt x="38735" y="162560"/>
                  </a:moveTo>
                  <a:cubicBezTo>
                    <a:pt x="38735" y="92710"/>
                    <a:pt x="95250" y="36195"/>
                    <a:pt x="165100" y="36195"/>
                  </a:cubicBezTo>
                  <a:cubicBezTo>
                    <a:pt x="194310" y="36195"/>
                    <a:pt x="220980" y="45720"/>
                    <a:pt x="241935" y="62230"/>
                  </a:cubicBezTo>
                  <a:cubicBezTo>
                    <a:pt x="220345" y="90170"/>
                    <a:pt x="207645" y="124460"/>
                    <a:pt x="207645" y="161925"/>
                  </a:cubicBezTo>
                  <a:cubicBezTo>
                    <a:pt x="207645" y="199390"/>
                    <a:pt x="220345" y="234315"/>
                    <a:pt x="241935" y="261620"/>
                  </a:cubicBezTo>
                  <a:cubicBezTo>
                    <a:pt x="220345" y="278130"/>
                    <a:pt x="193675" y="287655"/>
                    <a:pt x="165100" y="287655"/>
                  </a:cubicBezTo>
                  <a:cubicBezTo>
                    <a:pt x="94615" y="288290"/>
                    <a:pt x="38735" y="232410"/>
                    <a:pt x="38735" y="162560"/>
                  </a:cubicBezTo>
                  <a:close/>
                  <a:moveTo>
                    <a:pt x="292735" y="262890"/>
                  </a:moveTo>
                  <a:cubicBezTo>
                    <a:pt x="314325" y="234950"/>
                    <a:pt x="327025" y="200660"/>
                    <a:pt x="327025" y="163195"/>
                  </a:cubicBezTo>
                  <a:cubicBezTo>
                    <a:pt x="327025" y="125730"/>
                    <a:pt x="314325" y="90805"/>
                    <a:pt x="292735" y="63500"/>
                  </a:cubicBezTo>
                  <a:cubicBezTo>
                    <a:pt x="314325" y="46990"/>
                    <a:pt x="340995" y="37465"/>
                    <a:pt x="369570" y="37465"/>
                  </a:cubicBezTo>
                  <a:cubicBezTo>
                    <a:pt x="398780" y="37465"/>
                    <a:pt x="425450" y="46990"/>
                    <a:pt x="446405" y="63500"/>
                  </a:cubicBezTo>
                  <a:cubicBezTo>
                    <a:pt x="424815" y="91440"/>
                    <a:pt x="412115" y="125730"/>
                    <a:pt x="412115" y="163195"/>
                  </a:cubicBezTo>
                  <a:cubicBezTo>
                    <a:pt x="412115" y="200660"/>
                    <a:pt x="424815" y="235585"/>
                    <a:pt x="446405" y="262890"/>
                  </a:cubicBezTo>
                  <a:cubicBezTo>
                    <a:pt x="424815" y="279400"/>
                    <a:pt x="398145" y="288925"/>
                    <a:pt x="369570" y="288925"/>
                  </a:cubicBezTo>
                  <a:cubicBezTo>
                    <a:pt x="340995" y="288290"/>
                    <a:pt x="314325" y="278765"/>
                    <a:pt x="292735" y="262890"/>
                  </a:cubicBezTo>
                  <a:close/>
                  <a:moveTo>
                    <a:pt x="498475" y="262890"/>
                  </a:moveTo>
                  <a:cubicBezTo>
                    <a:pt x="520065" y="234950"/>
                    <a:pt x="532765" y="200660"/>
                    <a:pt x="532765" y="163195"/>
                  </a:cubicBezTo>
                  <a:cubicBezTo>
                    <a:pt x="532765" y="125730"/>
                    <a:pt x="520065" y="90805"/>
                    <a:pt x="498475" y="63500"/>
                  </a:cubicBezTo>
                  <a:cubicBezTo>
                    <a:pt x="520065" y="46990"/>
                    <a:pt x="546735" y="37465"/>
                    <a:pt x="575310" y="37465"/>
                  </a:cubicBezTo>
                  <a:cubicBezTo>
                    <a:pt x="604520" y="37465"/>
                    <a:pt x="631190" y="46990"/>
                    <a:pt x="652145" y="63500"/>
                  </a:cubicBezTo>
                  <a:cubicBezTo>
                    <a:pt x="630555" y="91440"/>
                    <a:pt x="617855" y="125730"/>
                    <a:pt x="617855" y="163195"/>
                  </a:cubicBezTo>
                  <a:cubicBezTo>
                    <a:pt x="617855" y="200660"/>
                    <a:pt x="630555" y="235585"/>
                    <a:pt x="652145" y="262890"/>
                  </a:cubicBezTo>
                  <a:cubicBezTo>
                    <a:pt x="630555" y="279400"/>
                    <a:pt x="603885" y="288925"/>
                    <a:pt x="575310" y="288925"/>
                  </a:cubicBezTo>
                  <a:cubicBezTo>
                    <a:pt x="546100" y="288290"/>
                    <a:pt x="519430" y="278765"/>
                    <a:pt x="498475" y="262890"/>
                  </a:cubicBezTo>
                  <a:close/>
                  <a:moveTo>
                    <a:pt x="780415" y="288290"/>
                  </a:moveTo>
                  <a:cubicBezTo>
                    <a:pt x="751205" y="288290"/>
                    <a:pt x="724535" y="278765"/>
                    <a:pt x="703580" y="262255"/>
                  </a:cubicBezTo>
                  <a:cubicBezTo>
                    <a:pt x="725170" y="234315"/>
                    <a:pt x="737870" y="200025"/>
                    <a:pt x="737870" y="162560"/>
                  </a:cubicBezTo>
                  <a:cubicBezTo>
                    <a:pt x="737870" y="125095"/>
                    <a:pt x="725170" y="90170"/>
                    <a:pt x="703580" y="62865"/>
                  </a:cubicBezTo>
                  <a:cubicBezTo>
                    <a:pt x="725170" y="46355"/>
                    <a:pt x="751840" y="36830"/>
                    <a:pt x="780415" y="36830"/>
                  </a:cubicBezTo>
                  <a:cubicBezTo>
                    <a:pt x="850265" y="36830"/>
                    <a:pt x="906780" y="93345"/>
                    <a:pt x="906780" y="163195"/>
                  </a:cubicBezTo>
                  <a:cubicBezTo>
                    <a:pt x="906780" y="232410"/>
                    <a:pt x="850265" y="288290"/>
                    <a:pt x="780415" y="288290"/>
                  </a:cubicBezTo>
                  <a:close/>
                </a:path>
              </a:pathLst>
            </a:custGeom>
            <a:solidFill>
              <a:srgbClr val="002733"/>
            </a:solidFill>
            <a:ln w="6350" cap="flat">
              <a:noFill/>
              <a:prstDash val="solid"/>
              <a:miter/>
            </a:ln>
          </p:spPr>
          <p:txBody>
            <a:bodyPr rtlCol="0" anchor="ctr"/>
            <a:lstStyle/>
            <a:p>
              <a:endParaRPr lang="en-GB"/>
            </a:p>
          </p:txBody>
        </p:sp>
      </p:grpSp>
      <p:grpSp>
        <p:nvGrpSpPr>
          <p:cNvPr id="120" name="Graphic 79">
            <a:extLst>
              <a:ext uri="{FF2B5EF4-FFF2-40B4-BE49-F238E27FC236}">
                <a16:creationId xmlns:a16="http://schemas.microsoft.com/office/drawing/2014/main" id="{EA557970-0257-E697-5A05-384CCFA821EF}"/>
              </a:ext>
            </a:extLst>
          </p:cNvPr>
          <p:cNvGrpSpPr/>
          <p:nvPr/>
        </p:nvGrpSpPr>
        <p:grpSpPr>
          <a:xfrm>
            <a:off x="3994908" y="3169920"/>
            <a:ext cx="1031116" cy="520700"/>
            <a:chOff x="3994908" y="3169920"/>
            <a:chExt cx="1031116" cy="520700"/>
          </a:xfrm>
        </p:grpSpPr>
        <p:sp>
          <p:nvSpPr>
            <p:cNvPr id="121" name="Freeform 120">
              <a:extLst>
                <a:ext uri="{FF2B5EF4-FFF2-40B4-BE49-F238E27FC236}">
                  <a16:creationId xmlns:a16="http://schemas.microsoft.com/office/drawing/2014/main" id="{318549C4-0411-87B3-DB29-448889F0BE44}"/>
                </a:ext>
              </a:extLst>
            </p:cNvPr>
            <p:cNvSpPr/>
            <p:nvPr/>
          </p:nvSpPr>
          <p:spPr>
            <a:xfrm>
              <a:off x="4088765" y="3585845"/>
              <a:ext cx="95884" cy="104139"/>
            </a:xfrm>
            <a:custGeom>
              <a:avLst/>
              <a:gdLst>
                <a:gd name="connsiteX0" fmla="*/ 76585 w 95884"/>
                <a:gd name="connsiteY0" fmla="*/ 47935 h 104139"/>
                <a:gd name="connsiteX1" fmla="*/ 88015 w 95884"/>
                <a:gd name="connsiteY1" fmla="*/ 25710 h 104139"/>
                <a:gd name="connsiteX2" fmla="*/ 55630 w 95884"/>
                <a:gd name="connsiteY2" fmla="*/ -325 h 104139"/>
                <a:gd name="connsiteX3" fmla="*/ -250 w 95884"/>
                <a:gd name="connsiteY3" fmla="*/ -325 h 104139"/>
                <a:gd name="connsiteX4" fmla="*/ -250 w 95884"/>
                <a:gd name="connsiteY4" fmla="*/ 103815 h 104139"/>
                <a:gd name="connsiteX5" fmla="*/ 63250 w 95884"/>
                <a:gd name="connsiteY5" fmla="*/ 103815 h 104139"/>
                <a:gd name="connsiteX6" fmla="*/ 81665 w 95884"/>
                <a:gd name="connsiteY6" fmla="*/ 100005 h 104139"/>
                <a:gd name="connsiteX7" fmla="*/ 95635 w 95884"/>
                <a:gd name="connsiteY7" fmla="*/ 74605 h 104139"/>
                <a:gd name="connsiteX8" fmla="*/ 76585 w 95884"/>
                <a:gd name="connsiteY8" fmla="*/ 47935 h 104139"/>
                <a:gd name="connsiteX9" fmla="*/ 20070 w 95884"/>
                <a:gd name="connsiteY9" fmla="*/ 16820 h 104139"/>
                <a:gd name="connsiteX10" fmla="*/ 20070 w 95884"/>
                <a:gd name="connsiteY10" fmla="*/ 16820 h 104139"/>
                <a:gd name="connsiteX11" fmla="*/ 55630 w 95884"/>
                <a:gd name="connsiteY11" fmla="*/ 16820 h 104139"/>
                <a:gd name="connsiteX12" fmla="*/ 68965 w 95884"/>
                <a:gd name="connsiteY12" fmla="*/ 28885 h 104139"/>
                <a:gd name="connsiteX13" fmla="*/ 63885 w 95884"/>
                <a:gd name="connsiteY13" fmla="*/ 39045 h 104139"/>
                <a:gd name="connsiteX14" fmla="*/ 57535 w 95884"/>
                <a:gd name="connsiteY14" fmla="*/ 40950 h 104139"/>
                <a:gd name="connsiteX15" fmla="*/ 20705 w 95884"/>
                <a:gd name="connsiteY15" fmla="*/ 40950 h 104139"/>
                <a:gd name="connsiteX16" fmla="*/ 20070 w 95884"/>
                <a:gd name="connsiteY16" fmla="*/ 16820 h 104139"/>
                <a:gd name="connsiteX17" fmla="*/ 70235 w 95884"/>
                <a:gd name="connsiteY17" fmla="*/ 82860 h 104139"/>
                <a:gd name="connsiteX18" fmla="*/ 57535 w 95884"/>
                <a:gd name="connsiteY18" fmla="*/ 86035 h 104139"/>
                <a:gd name="connsiteX19" fmla="*/ 20070 w 95884"/>
                <a:gd name="connsiteY19" fmla="*/ 86035 h 104139"/>
                <a:gd name="connsiteX20" fmla="*/ 20070 w 95884"/>
                <a:gd name="connsiteY20" fmla="*/ 58730 h 104139"/>
                <a:gd name="connsiteX21" fmla="*/ 20070 w 95884"/>
                <a:gd name="connsiteY21" fmla="*/ 58730 h 104139"/>
                <a:gd name="connsiteX22" fmla="*/ 56900 w 95884"/>
                <a:gd name="connsiteY22" fmla="*/ 58730 h 104139"/>
                <a:gd name="connsiteX23" fmla="*/ 75315 w 95884"/>
                <a:gd name="connsiteY23" fmla="*/ 72700 h 104139"/>
                <a:gd name="connsiteX24" fmla="*/ 70235 w 95884"/>
                <a:gd name="connsiteY24" fmla="*/ 82860 h 10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5884" h="104139">
                  <a:moveTo>
                    <a:pt x="76585" y="47935"/>
                  </a:moveTo>
                  <a:cubicBezTo>
                    <a:pt x="83570" y="44125"/>
                    <a:pt x="88015" y="35235"/>
                    <a:pt x="88015" y="25710"/>
                  </a:cubicBezTo>
                  <a:cubicBezTo>
                    <a:pt x="88015" y="12375"/>
                    <a:pt x="77220" y="-325"/>
                    <a:pt x="55630" y="-325"/>
                  </a:cubicBezTo>
                  <a:cubicBezTo>
                    <a:pt x="37215" y="310"/>
                    <a:pt x="16895" y="310"/>
                    <a:pt x="-250" y="-325"/>
                  </a:cubicBezTo>
                  <a:cubicBezTo>
                    <a:pt x="385" y="34600"/>
                    <a:pt x="385" y="69525"/>
                    <a:pt x="-250" y="103815"/>
                  </a:cubicBezTo>
                  <a:lnTo>
                    <a:pt x="63250" y="103815"/>
                  </a:lnTo>
                  <a:cubicBezTo>
                    <a:pt x="70235" y="103815"/>
                    <a:pt x="75950" y="102545"/>
                    <a:pt x="81665" y="100005"/>
                  </a:cubicBezTo>
                  <a:cubicBezTo>
                    <a:pt x="90555" y="95560"/>
                    <a:pt x="95635" y="87305"/>
                    <a:pt x="95635" y="74605"/>
                  </a:cubicBezTo>
                  <a:cubicBezTo>
                    <a:pt x="95635" y="61905"/>
                    <a:pt x="88650" y="51745"/>
                    <a:pt x="76585" y="47935"/>
                  </a:cubicBezTo>
                  <a:moveTo>
                    <a:pt x="20070" y="16820"/>
                  </a:moveTo>
                  <a:lnTo>
                    <a:pt x="20070" y="16820"/>
                  </a:lnTo>
                  <a:cubicBezTo>
                    <a:pt x="30230" y="16185"/>
                    <a:pt x="47375" y="16185"/>
                    <a:pt x="55630" y="16820"/>
                  </a:cubicBezTo>
                  <a:cubicBezTo>
                    <a:pt x="64520" y="17455"/>
                    <a:pt x="68965" y="21900"/>
                    <a:pt x="68965" y="28885"/>
                  </a:cubicBezTo>
                  <a:cubicBezTo>
                    <a:pt x="68965" y="32695"/>
                    <a:pt x="67695" y="37140"/>
                    <a:pt x="63885" y="39045"/>
                  </a:cubicBezTo>
                  <a:cubicBezTo>
                    <a:pt x="61980" y="40315"/>
                    <a:pt x="60075" y="40950"/>
                    <a:pt x="57535" y="40950"/>
                  </a:cubicBezTo>
                  <a:cubicBezTo>
                    <a:pt x="49280" y="41585"/>
                    <a:pt x="29595" y="41585"/>
                    <a:pt x="20705" y="40950"/>
                  </a:cubicBezTo>
                  <a:cubicBezTo>
                    <a:pt x="20070" y="32695"/>
                    <a:pt x="20070" y="24440"/>
                    <a:pt x="20070" y="16820"/>
                  </a:cubicBezTo>
                  <a:moveTo>
                    <a:pt x="70235" y="82860"/>
                  </a:moveTo>
                  <a:cubicBezTo>
                    <a:pt x="67060" y="84765"/>
                    <a:pt x="63250" y="85400"/>
                    <a:pt x="57535" y="86035"/>
                  </a:cubicBezTo>
                  <a:cubicBezTo>
                    <a:pt x="46105" y="86670"/>
                    <a:pt x="32770" y="86670"/>
                    <a:pt x="20070" y="86035"/>
                  </a:cubicBezTo>
                  <a:cubicBezTo>
                    <a:pt x="19435" y="76510"/>
                    <a:pt x="19435" y="68255"/>
                    <a:pt x="20070" y="58730"/>
                  </a:cubicBezTo>
                  <a:lnTo>
                    <a:pt x="20070" y="58730"/>
                  </a:lnTo>
                  <a:cubicBezTo>
                    <a:pt x="32135" y="58095"/>
                    <a:pt x="46105" y="58095"/>
                    <a:pt x="56900" y="58730"/>
                  </a:cubicBezTo>
                  <a:cubicBezTo>
                    <a:pt x="69600" y="59365"/>
                    <a:pt x="75315" y="64445"/>
                    <a:pt x="75315" y="72700"/>
                  </a:cubicBezTo>
                  <a:cubicBezTo>
                    <a:pt x="75950" y="77145"/>
                    <a:pt x="74045" y="80955"/>
                    <a:pt x="70235" y="82860"/>
                  </a:cubicBezTo>
                </a:path>
              </a:pathLst>
            </a:custGeom>
            <a:solidFill>
              <a:srgbClr val="002733"/>
            </a:solidFill>
            <a:ln w="6350" cap="flat">
              <a:noFill/>
              <a:prstDash val="solid"/>
              <a:miter/>
            </a:ln>
          </p:spPr>
          <p:txBody>
            <a:bodyPr rtlCol="0" anchor="ctr"/>
            <a:lstStyle/>
            <a:p>
              <a:endParaRPr lang="en-GB"/>
            </a:p>
          </p:txBody>
        </p:sp>
        <p:sp>
          <p:nvSpPr>
            <p:cNvPr id="122" name="Freeform 121">
              <a:extLst>
                <a:ext uri="{FF2B5EF4-FFF2-40B4-BE49-F238E27FC236}">
                  <a16:creationId xmlns:a16="http://schemas.microsoft.com/office/drawing/2014/main" id="{61160665-9A87-9CA0-F71B-383A140A75F4}"/>
                </a:ext>
              </a:extLst>
            </p:cNvPr>
            <p:cNvSpPr/>
            <p:nvPr/>
          </p:nvSpPr>
          <p:spPr>
            <a:xfrm>
              <a:off x="4584065" y="3585209"/>
              <a:ext cx="85089" cy="104140"/>
            </a:xfrm>
            <a:custGeom>
              <a:avLst/>
              <a:gdLst>
                <a:gd name="connsiteX0" fmla="*/ 19435 w 85089"/>
                <a:gd name="connsiteY0" fmla="*/ 86035 h 104140"/>
                <a:gd name="connsiteX1" fmla="*/ 19435 w 85089"/>
                <a:gd name="connsiteY1" fmla="*/ -325 h 104140"/>
                <a:gd name="connsiteX2" fmla="*/ -250 w 85089"/>
                <a:gd name="connsiteY2" fmla="*/ -325 h 104140"/>
                <a:gd name="connsiteX3" fmla="*/ -250 w 85089"/>
                <a:gd name="connsiteY3" fmla="*/ -325 h 104140"/>
                <a:gd name="connsiteX4" fmla="*/ -250 w 85089"/>
                <a:gd name="connsiteY4" fmla="*/ -325 h 104140"/>
                <a:gd name="connsiteX5" fmla="*/ -250 w 85089"/>
                <a:gd name="connsiteY5" fmla="*/ 103815 h 104140"/>
                <a:gd name="connsiteX6" fmla="*/ 84840 w 85089"/>
                <a:gd name="connsiteY6" fmla="*/ 103815 h 104140"/>
                <a:gd name="connsiteX7" fmla="*/ 84840 w 85089"/>
                <a:gd name="connsiteY7" fmla="*/ 103815 h 104140"/>
                <a:gd name="connsiteX8" fmla="*/ 84840 w 85089"/>
                <a:gd name="connsiteY8" fmla="*/ 103815 h 104140"/>
                <a:gd name="connsiteX9" fmla="*/ 84840 w 85089"/>
                <a:gd name="connsiteY9" fmla="*/ 85400 h 104140"/>
                <a:gd name="connsiteX10" fmla="*/ 19435 w 85089"/>
                <a:gd name="connsiteY1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089" h="104140">
                  <a:moveTo>
                    <a:pt x="19435" y="86035"/>
                  </a:moveTo>
                  <a:cubicBezTo>
                    <a:pt x="18800" y="57460"/>
                    <a:pt x="18800" y="28885"/>
                    <a:pt x="19435" y="-325"/>
                  </a:cubicBezTo>
                  <a:cubicBezTo>
                    <a:pt x="13085" y="-325"/>
                    <a:pt x="6100" y="-325"/>
                    <a:pt x="-250" y="-325"/>
                  </a:cubicBezTo>
                  <a:lnTo>
                    <a:pt x="-250" y="-325"/>
                  </a:lnTo>
                  <a:lnTo>
                    <a:pt x="-250" y="-325"/>
                  </a:lnTo>
                  <a:cubicBezTo>
                    <a:pt x="385" y="34600"/>
                    <a:pt x="385" y="68890"/>
                    <a:pt x="-250" y="103815"/>
                  </a:cubicBezTo>
                  <a:cubicBezTo>
                    <a:pt x="28325" y="103180"/>
                    <a:pt x="56900" y="103180"/>
                    <a:pt x="84840" y="103815"/>
                  </a:cubicBezTo>
                  <a:lnTo>
                    <a:pt x="84840" y="103815"/>
                  </a:lnTo>
                  <a:lnTo>
                    <a:pt x="84840" y="103815"/>
                  </a:lnTo>
                  <a:cubicBezTo>
                    <a:pt x="84840" y="97465"/>
                    <a:pt x="84840" y="91750"/>
                    <a:pt x="84840" y="85400"/>
                  </a:cubicBezTo>
                  <a:cubicBezTo>
                    <a:pt x="63250" y="86670"/>
                    <a:pt x="41660" y="86670"/>
                    <a:pt x="19435" y="86035"/>
                  </a:cubicBezTo>
                </a:path>
              </a:pathLst>
            </a:custGeom>
            <a:solidFill>
              <a:srgbClr val="002733"/>
            </a:solidFill>
            <a:ln w="6350" cap="flat">
              <a:noFill/>
              <a:prstDash val="solid"/>
              <a:miter/>
            </a:ln>
          </p:spPr>
          <p:txBody>
            <a:bodyPr rtlCol="0" anchor="ctr"/>
            <a:lstStyle/>
            <a:p>
              <a:endParaRPr lang="en-GB"/>
            </a:p>
          </p:txBody>
        </p:sp>
        <p:sp>
          <p:nvSpPr>
            <p:cNvPr id="123" name="Freeform 122">
              <a:extLst>
                <a:ext uri="{FF2B5EF4-FFF2-40B4-BE49-F238E27FC236}">
                  <a16:creationId xmlns:a16="http://schemas.microsoft.com/office/drawing/2014/main" id="{7C9A8DA6-8B5F-4823-315F-70FC4FDB3BEC}"/>
                </a:ext>
              </a:extLst>
            </p:cNvPr>
            <p:cNvSpPr/>
            <p:nvPr/>
          </p:nvSpPr>
          <p:spPr>
            <a:xfrm>
              <a:off x="4335145" y="3585845"/>
              <a:ext cx="95884" cy="104139"/>
            </a:xfrm>
            <a:custGeom>
              <a:avLst/>
              <a:gdLst>
                <a:gd name="connsiteX0" fmla="*/ 77855 w 95884"/>
                <a:gd name="connsiteY0" fmla="*/ -325 h 104139"/>
                <a:gd name="connsiteX1" fmla="*/ 77855 w 95884"/>
                <a:gd name="connsiteY1" fmla="*/ -325 h 104139"/>
                <a:gd name="connsiteX2" fmla="*/ 77855 w 95884"/>
                <a:gd name="connsiteY2" fmla="*/ -325 h 104139"/>
                <a:gd name="connsiteX3" fmla="*/ 77855 w 95884"/>
                <a:gd name="connsiteY3" fmla="*/ 69525 h 104139"/>
                <a:gd name="connsiteX4" fmla="*/ 17530 w 95884"/>
                <a:gd name="connsiteY4" fmla="*/ -325 h 104139"/>
                <a:gd name="connsiteX5" fmla="*/ -250 w 95884"/>
                <a:gd name="connsiteY5" fmla="*/ -325 h 104139"/>
                <a:gd name="connsiteX6" fmla="*/ -250 w 95884"/>
                <a:gd name="connsiteY6" fmla="*/ -325 h 104139"/>
                <a:gd name="connsiteX7" fmla="*/ -250 w 95884"/>
                <a:gd name="connsiteY7" fmla="*/ -325 h 104139"/>
                <a:gd name="connsiteX8" fmla="*/ -250 w 95884"/>
                <a:gd name="connsiteY8" fmla="*/ 103815 h 104139"/>
                <a:gd name="connsiteX9" fmla="*/ 17530 w 95884"/>
                <a:gd name="connsiteY9" fmla="*/ 103815 h 104139"/>
                <a:gd name="connsiteX10" fmla="*/ 17530 w 95884"/>
                <a:gd name="connsiteY10" fmla="*/ 103815 h 104139"/>
                <a:gd name="connsiteX11" fmla="*/ 17530 w 95884"/>
                <a:gd name="connsiteY11" fmla="*/ 103815 h 104139"/>
                <a:gd name="connsiteX12" fmla="*/ 17530 w 95884"/>
                <a:gd name="connsiteY12" fmla="*/ 30155 h 104139"/>
                <a:gd name="connsiteX13" fmla="*/ 80395 w 95884"/>
                <a:gd name="connsiteY13" fmla="*/ 103815 h 104139"/>
                <a:gd name="connsiteX14" fmla="*/ 95635 w 95884"/>
                <a:gd name="connsiteY14" fmla="*/ 103815 h 104139"/>
                <a:gd name="connsiteX15" fmla="*/ 95635 w 95884"/>
                <a:gd name="connsiteY15" fmla="*/ 103815 h 104139"/>
                <a:gd name="connsiteX16" fmla="*/ 95635 w 95884"/>
                <a:gd name="connsiteY16" fmla="*/ 103815 h 104139"/>
                <a:gd name="connsiteX17" fmla="*/ 95635 w 95884"/>
                <a:gd name="connsiteY17" fmla="*/ -325 h 104139"/>
                <a:gd name="connsiteX18" fmla="*/ 77855 w 95884"/>
                <a:gd name="connsiteY18" fmla="*/ -325 h 10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884" h="104139">
                  <a:moveTo>
                    <a:pt x="77855" y="-325"/>
                  </a:moveTo>
                  <a:lnTo>
                    <a:pt x="77855" y="-325"/>
                  </a:lnTo>
                  <a:lnTo>
                    <a:pt x="77855" y="-325"/>
                  </a:lnTo>
                  <a:cubicBezTo>
                    <a:pt x="78490" y="23170"/>
                    <a:pt x="78490" y="46030"/>
                    <a:pt x="77855" y="69525"/>
                  </a:cubicBezTo>
                  <a:cubicBezTo>
                    <a:pt x="56900" y="46030"/>
                    <a:pt x="37215" y="23170"/>
                    <a:pt x="17530" y="-325"/>
                  </a:cubicBezTo>
                  <a:cubicBezTo>
                    <a:pt x="11815" y="-325"/>
                    <a:pt x="5465" y="-325"/>
                    <a:pt x="-250" y="-325"/>
                  </a:cubicBezTo>
                  <a:lnTo>
                    <a:pt x="-250" y="-325"/>
                  </a:lnTo>
                  <a:lnTo>
                    <a:pt x="-250" y="-325"/>
                  </a:lnTo>
                  <a:cubicBezTo>
                    <a:pt x="385" y="34600"/>
                    <a:pt x="385" y="68890"/>
                    <a:pt x="-250" y="103815"/>
                  </a:cubicBezTo>
                  <a:cubicBezTo>
                    <a:pt x="6100" y="103815"/>
                    <a:pt x="11815" y="103815"/>
                    <a:pt x="17530" y="103815"/>
                  </a:cubicBezTo>
                  <a:lnTo>
                    <a:pt x="17530" y="103815"/>
                  </a:lnTo>
                  <a:lnTo>
                    <a:pt x="17530" y="103815"/>
                  </a:lnTo>
                  <a:cubicBezTo>
                    <a:pt x="16895" y="79050"/>
                    <a:pt x="16895" y="54285"/>
                    <a:pt x="17530" y="30155"/>
                  </a:cubicBezTo>
                  <a:cubicBezTo>
                    <a:pt x="39120" y="54920"/>
                    <a:pt x="60710" y="79685"/>
                    <a:pt x="80395" y="103815"/>
                  </a:cubicBezTo>
                  <a:cubicBezTo>
                    <a:pt x="85475" y="103815"/>
                    <a:pt x="90555" y="103815"/>
                    <a:pt x="95635" y="103815"/>
                  </a:cubicBezTo>
                  <a:lnTo>
                    <a:pt x="95635" y="103815"/>
                  </a:lnTo>
                  <a:lnTo>
                    <a:pt x="95635" y="103815"/>
                  </a:lnTo>
                  <a:cubicBezTo>
                    <a:pt x="95000" y="68890"/>
                    <a:pt x="95000" y="33965"/>
                    <a:pt x="95635" y="-325"/>
                  </a:cubicBezTo>
                  <a:cubicBezTo>
                    <a:pt x="89920" y="-325"/>
                    <a:pt x="84205" y="-325"/>
                    <a:pt x="77855" y="-325"/>
                  </a:cubicBezTo>
                </a:path>
              </a:pathLst>
            </a:custGeom>
            <a:solidFill>
              <a:srgbClr val="002733"/>
            </a:solidFill>
            <a:ln w="6350" cap="flat">
              <a:noFill/>
              <a:prstDash val="solid"/>
              <a:miter/>
            </a:ln>
          </p:spPr>
          <p:txBody>
            <a:bodyPr rtlCol="0" anchor="ctr"/>
            <a:lstStyle/>
            <a:p>
              <a:endParaRPr lang="en-GB"/>
            </a:p>
          </p:txBody>
        </p:sp>
        <p:sp>
          <p:nvSpPr>
            <p:cNvPr id="124" name="Freeform 123">
              <a:extLst>
                <a:ext uri="{FF2B5EF4-FFF2-40B4-BE49-F238E27FC236}">
                  <a16:creationId xmlns:a16="http://schemas.microsoft.com/office/drawing/2014/main" id="{E4EE0036-8E91-8DFE-071D-DE750CEAC5A5}"/>
                </a:ext>
              </a:extLst>
            </p:cNvPr>
            <p:cNvSpPr/>
            <p:nvPr/>
          </p:nvSpPr>
          <p:spPr>
            <a:xfrm>
              <a:off x="4215765" y="3585209"/>
              <a:ext cx="88900" cy="104140"/>
            </a:xfrm>
            <a:custGeom>
              <a:avLst/>
              <a:gdLst>
                <a:gd name="connsiteX0" fmla="*/ 19435 w 88900"/>
                <a:gd name="connsiteY0" fmla="*/ 86035 h 104140"/>
                <a:gd name="connsiteX1" fmla="*/ 19435 w 88900"/>
                <a:gd name="connsiteY1" fmla="*/ 60000 h 104140"/>
                <a:gd name="connsiteX2" fmla="*/ 65790 w 88900"/>
                <a:gd name="connsiteY2" fmla="*/ 60000 h 104140"/>
                <a:gd name="connsiteX3" fmla="*/ 65790 w 88900"/>
                <a:gd name="connsiteY3" fmla="*/ 60000 h 104140"/>
                <a:gd name="connsiteX4" fmla="*/ 65790 w 88900"/>
                <a:gd name="connsiteY4" fmla="*/ 60000 h 104140"/>
                <a:gd name="connsiteX5" fmla="*/ 65790 w 88900"/>
                <a:gd name="connsiteY5" fmla="*/ 41585 h 104140"/>
                <a:gd name="connsiteX6" fmla="*/ 19435 w 88900"/>
                <a:gd name="connsiteY6" fmla="*/ 41585 h 104140"/>
                <a:gd name="connsiteX7" fmla="*/ 19435 w 88900"/>
                <a:gd name="connsiteY7" fmla="*/ 18090 h 104140"/>
                <a:gd name="connsiteX8" fmla="*/ 87380 w 88900"/>
                <a:gd name="connsiteY8" fmla="*/ 18090 h 104140"/>
                <a:gd name="connsiteX9" fmla="*/ 87380 w 88900"/>
                <a:gd name="connsiteY9" fmla="*/ 18090 h 104140"/>
                <a:gd name="connsiteX10" fmla="*/ 87380 w 88900"/>
                <a:gd name="connsiteY10" fmla="*/ 18090 h 104140"/>
                <a:gd name="connsiteX11" fmla="*/ 87380 w 88900"/>
                <a:gd name="connsiteY11" fmla="*/ -325 h 104140"/>
                <a:gd name="connsiteX12" fmla="*/ -250 w 88900"/>
                <a:gd name="connsiteY12" fmla="*/ -325 h 104140"/>
                <a:gd name="connsiteX13" fmla="*/ -250 w 88900"/>
                <a:gd name="connsiteY13" fmla="*/ -325 h 104140"/>
                <a:gd name="connsiteX14" fmla="*/ -250 w 88900"/>
                <a:gd name="connsiteY14" fmla="*/ -325 h 104140"/>
                <a:gd name="connsiteX15" fmla="*/ -250 w 88900"/>
                <a:gd name="connsiteY15" fmla="*/ 103815 h 104140"/>
                <a:gd name="connsiteX16" fmla="*/ 88650 w 88900"/>
                <a:gd name="connsiteY16" fmla="*/ 103815 h 104140"/>
                <a:gd name="connsiteX17" fmla="*/ 88650 w 88900"/>
                <a:gd name="connsiteY17" fmla="*/ 103815 h 104140"/>
                <a:gd name="connsiteX18" fmla="*/ 88650 w 88900"/>
                <a:gd name="connsiteY18" fmla="*/ 103815 h 104140"/>
                <a:gd name="connsiteX19" fmla="*/ 88650 w 88900"/>
                <a:gd name="connsiteY19" fmla="*/ 85400 h 104140"/>
                <a:gd name="connsiteX20" fmla="*/ 19435 w 88900"/>
                <a:gd name="connsiteY2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900" h="104140">
                  <a:moveTo>
                    <a:pt x="19435" y="86035"/>
                  </a:moveTo>
                  <a:cubicBezTo>
                    <a:pt x="18800" y="77145"/>
                    <a:pt x="18800" y="68890"/>
                    <a:pt x="19435" y="60000"/>
                  </a:cubicBezTo>
                  <a:cubicBezTo>
                    <a:pt x="35310" y="59365"/>
                    <a:pt x="50550" y="59365"/>
                    <a:pt x="65790" y="60000"/>
                  </a:cubicBezTo>
                  <a:lnTo>
                    <a:pt x="65790" y="60000"/>
                  </a:lnTo>
                  <a:lnTo>
                    <a:pt x="65790" y="60000"/>
                  </a:lnTo>
                  <a:cubicBezTo>
                    <a:pt x="65790" y="53650"/>
                    <a:pt x="65790" y="47935"/>
                    <a:pt x="65790" y="41585"/>
                  </a:cubicBezTo>
                  <a:cubicBezTo>
                    <a:pt x="49915" y="42220"/>
                    <a:pt x="34675" y="42220"/>
                    <a:pt x="19435" y="41585"/>
                  </a:cubicBezTo>
                  <a:cubicBezTo>
                    <a:pt x="18800" y="33965"/>
                    <a:pt x="18800" y="25710"/>
                    <a:pt x="19435" y="18090"/>
                  </a:cubicBezTo>
                  <a:cubicBezTo>
                    <a:pt x="42295" y="17455"/>
                    <a:pt x="65155" y="17455"/>
                    <a:pt x="87380" y="18090"/>
                  </a:cubicBezTo>
                  <a:lnTo>
                    <a:pt x="87380" y="18090"/>
                  </a:lnTo>
                  <a:lnTo>
                    <a:pt x="87380" y="18090"/>
                  </a:lnTo>
                  <a:cubicBezTo>
                    <a:pt x="87380" y="11740"/>
                    <a:pt x="87380" y="6025"/>
                    <a:pt x="87380" y="-325"/>
                  </a:cubicBezTo>
                  <a:cubicBezTo>
                    <a:pt x="58170" y="310"/>
                    <a:pt x="28960" y="310"/>
                    <a:pt x="-250" y="-325"/>
                  </a:cubicBezTo>
                  <a:lnTo>
                    <a:pt x="-250" y="-325"/>
                  </a:lnTo>
                  <a:lnTo>
                    <a:pt x="-250" y="-325"/>
                  </a:lnTo>
                  <a:cubicBezTo>
                    <a:pt x="385" y="34600"/>
                    <a:pt x="385" y="68890"/>
                    <a:pt x="-250" y="103815"/>
                  </a:cubicBezTo>
                  <a:cubicBezTo>
                    <a:pt x="29595" y="103180"/>
                    <a:pt x="58805" y="103180"/>
                    <a:pt x="88650" y="103815"/>
                  </a:cubicBezTo>
                  <a:lnTo>
                    <a:pt x="88650" y="103815"/>
                  </a:lnTo>
                  <a:lnTo>
                    <a:pt x="88650" y="103815"/>
                  </a:lnTo>
                  <a:cubicBezTo>
                    <a:pt x="88650" y="97465"/>
                    <a:pt x="88650" y="91750"/>
                    <a:pt x="88650" y="85400"/>
                  </a:cubicBezTo>
                  <a:cubicBezTo>
                    <a:pt x="65155" y="86670"/>
                    <a:pt x="42295" y="86670"/>
                    <a:pt x="19435" y="86035"/>
                  </a:cubicBezTo>
                </a:path>
              </a:pathLst>
            </a:custGeom>
            <a:solidFill>
              <a:srgbClr val="002733"/>
            </a:solidFill>
            <a:ln w="6350" cap="flat">
              <a:noFill/>
              <a:prstDash val="solid"/>
              <a:miter/>
            </a:ln>
          </p:spPr>
          <p:txBody>
            <a:bodyPr rtlCol="0" anchor="ctr"/>
            <a:lstStyle/>
            <a:p>
              <a:endParaRPr lang="en-GB"/>
            </a:p>
          </p:txBody>
        </p:sp>
        <p:sp>
          <p:nvSpPr>
            <p:cNvPr id="125" name="Freeform 124">
              <a:extLst>
                <a:ext uri="{FF2B5EF4-FFF2-40B4-BE49-F238E27FC236}">
                  <a16:creationId xmlns:a16="http://schemas.microsoft.com/office/drawing/2014/main" id="{5CD0DC27-BCC2-02E3-7D10-96D222E7D03D}"/>
                </a:ext>
              </a:extLst>
            </p:cNvPr>
            <p:cNvSpPr/>
            <p:nvPr/>
          </p:nvSpPr>
          <p:spPr>
            <a:xfrm>
              <a:off x="4814570" y="3585845"/>
              <a:ext cx="114299" cy="104775"/>
            </a:xfrm>
            <a:custGeom>
              <a:avLst/>
              <a:gdLst>
                <a:gd name="connsiteX0" fmla="*/ 114050 w 114299"/>
                <a:gd name="connsiteY0" fmla="*/ -325 h 104775"/>
                <a:gd name="connsiteX1" fmla="*/ 89920 w 114299"/>
                <a:gd name="connsiteY1" fmla="*/ -325 h 104775"/>
                <a:gd name="connsiteX2" fmla="*/ 89920 w 114299"/>
                <a:gd name="connsiteY2" fmla="*/ -325 h 104775"/>
                <a:gd name="connsiteX3" fmla="*/ 89920 w 114299"/>
                <a:gd name="connsiteY3" fmla="*/ -325 h 104775"/>
                <a:gd name="connsiteX4" fmla="*/ 56900 w 114299"/>
                <a:gd name="connsiteY4" fmla="*/ 40315 h 104775"/>
                <a:gd name="connsiteX5" fmla="*/ 23880 w 114299"/>
                <a:gd name="connsiteY5" fmla="*/ -325 h 104775"/>
                <a:gd name="connsiteX6" fmla="*/ -250 w 114299"/>
                <a:gd name="connsiteY6" fmla="*/ -325 h 104775"/>
                <a:gd name="connsiteX7" fmla="*/ -250 w 114299"/>
                <a:gd name="connsiteY7" fmla="*/ -325 h 104775"/>
                <a:gd name="connsiteX8" fmla="*/ -250 w 114299"/>
                <a:gd name="connsiteY8" fmla="*/ -325 h 104775"/>
                <a:gd name="connsiteX9" fmla="*/ 47375 w 114299"/>
                <a:gd name="connsiteY9" fmla="*/ 59365 h 104775"/>
                <a:gd name="connsiteX10" fmla="*/ 47375 w 114299"/>
                <a:gd name="connsiteY10" fmla="*/ 104450 h 104775"/>
                <a:gd name="connsiteX11" fmla="*/ 67060 w 114299"/>
                <a:gd name="connsiteY11" fmla="*/ 104450 h 104775"/>
                <a:gd name="connsiteX12" fmla="*/ 67060 w 114299"/>
                <a:gd name="connsiteY12" fmla="*/ 104450 h 104775"/>
                <a:gd name="connsiteX13" fmla="*/ 67060 w 114299"/>
                <a:gd name="connsiteY13" fmla="*/ 104450 h 104775"/>
                <a:gd name="connsiteX14" fmla="*/ 67060 w 114299"/>
                <a:gd name="connsiteY14" fmla="*/ 59365 h 104775"/>
                <a:gd name="connsiteX15" fmla="*/ 114050 w 114299"/>
                <a:gd name="connsiteY15" fmla="*/ -32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4299" h="104775">
                  <a:moveTo>
                    <a:pt x="114050" y="-325"/>
                  </a:moveTo>
                  <a:cubicBezTo>
                    <a:pt x="105795" y="-325"/>
                    <a:pt x="98175" y="-325"/>
                    <a:pt x="89920" y="-325"/>
                  </a:cubicBezTo>
                  <a:lnTo>
                    <a:pt x="89920" y="-325"/>
                  </a:lnTo>
                  <a:lnTo>
                    <a:pt x="89920" y="-325"/>
                  </a:lnTo>
                  <a:cubicBezTo>
                    <a:pt x="79760" y="13010"/>
                    <a:pt x="68330" y="26345"/>
                    <a:pt x="56900" y="40315"/>
                  </a:cubicBezTo>
                  <a:cubicBezTo>
                    <a:pt x="45470" y="26980"/>
                    <a:pt x="34040" y="13645"/>
                    <a:pt x="23880" y="-325"/>
                  </a:cubicBezTo>
                  <a:cubicBezTo>
                    <a:pt x="15625" y="-325"/>
                    <a:pt x="8005" y="-325"/>
                    <a:pt x="-250" y="-325"/>
                  </a:cubicBezTo>
                  <a:lnTo>
                    <a:pt x="-250" y="-325"/>
                  </a:lnTo>
                  <a:lnTo>
                    <a:pt x="-250" y="-325"/>
                  </a:lnTo>
                  <a:cubicBezTo>
                    <a:pt x="16260" y="19360"/>
                    <a:pt x="32135" y="39045"/>
                    <a:pt x="47375" y="59365"/>
                  </a:cubicBezTo>
                  <a:cubicBezTo>
                    <a:pt x="48010" y="74605"/>
                    <a:pt x="48010" y="89210"/>
                    <a:pt x="47375" y="104450"/>
                  </a:cubicBezTo>
                  <a:cubicBezTo>
                    <a:pt x="53725" y="104450"/>
                    <a:pt x="60710" y="104450"/>
                    <a:pt x="67060" y="104450"/>
                  </a:cubicBezTo>
                  <a:lnTo>
                    <a:pt x="67060" y="104450"/>
                  </a:lnTo>
                  <a:lnTo>
                    <a:pt x="67060" y="104450"/>
                  </a:lnTo>
                  <a:cubicBezTo>
                    <a:pt x="66425" y="89210"/>
                    <a:pt x="66425" y="74605"/>
                    <a:pt x="67060" y="59365"/>
                  </a:cubicBezTo>
                  <a:cubicBezTo>
                    <a:pt x="81665" y="39045"/>
                    <a:pt x="97540" y="19360"/>
                    <a:pt x="114050" y="-325"/>
                  </a:cubicBezTo>
                </a:path>
              </a:pathLst>
            </a:custGeom>
            <a:solidFill>
              <a:srgbClr val="002733"/>
            </a:solidFill>
            <a:ln w="6350" cap="flat">
              <a:noFill/>
              <a:prstDash val="solid"/>
              <a:miter/>
            </a:ln>
          </p:spPr>
          <p:txBody>
            <a:bodyPr rtlCol="0" anchor="ctr"/>
            <a:lstStyle/>
            <a:p>
              <a:endParaRPr lang="en-GB"/>
            </a:p>
          </p:txBody>
        </p:sp>
        <p:sp>
          <p:nvSpPr>
            <p:cNvPr id="126" name="Freeform 125">
              <a:extLst>
                <a:ext uri="{FF2B5EF4-FFF2-40B4-BE49-F238E27FC236}">
                  <a16:creationId xmlns:a16="http://schemas.microsoft.com/office/drawing/2014/main" id="{312DFFB0-02FE-55C5-C7DD-E737B2824B13}"/>
                </a:ext>
              </a:extLst>
            </p:cNvPr>
            <p:cNvSpPr/>
            <p:nvPr/>
          </p:nvSpPr>
          <p:spPr>
            <a:xfrm>
              <a:off x="4697729" y="3585209"/>
              <a:ext cx="88900" cy="104140"/>
            </a:xfrm>
            <a:custGeom>
              <a:avLst/>
              <a:gdLst>
                <a:gd name="connsiteX0" fmla="*/ 19435 w 88900"/>
                <a:gd name="connsiteY0" fmla="*/ 86035 h 104140"/>
                <a:gd name="connsiteX1" fmla="*/ 19435 w 88900"/>
                <a:gd name="connsiteY1" fmla="*/ 60000 h 104140"/>
                <a:gd name="connsiteX2" fmla="*/ 65790 w 88900"/>
                <a:gd name="connsiteY2" fmla="*/ 60000 h 104140"/>
                <a:gd name="connsiteX3" fmla="*/ 65790 w 88900"/>
                <a:gd name="connsiteY3" fmla="*/ 60000 h 104140"/>
                <a:gd name="connsiteX4" fmla="*/ 65790 w 88900"/>
                <a:gd name="connsiteY4" fmla="*/ 60000 h 104140"/>
                <a:gd name="connsiteX5" fmla="*/ 65790 w 88900"/>
                <a:gd name="connsiteY5" fmla="*/ 41585 h 104140"/>
                <a:gd name="connsiteX6" fmla="*/ 19435 w 88900"/>
                <a:gd name="connsiteY6" fmla="*/ 41585 h 104140"/>
                <a:gd name="connsiteX7" fmla="*/ 19435 w 88900"/>
                <a:gd name="connsiteY7" fmla="*/ 18090 h 104140"/>
                <a:gd name="connsiteX8" fmla="*/ 87380 w 88900"/>
                <a:gd name="connsiteY8" fmla="*/ 18090 h 104140"/>
                <a:gd name="connsiteX9" fmla="*/ 87380 w 88900"/>
                <a:gd name="connsiteY9" fmla="*/ 18090 h 104140"/>
                <a:gd name="connsiteX10" fmla="*/ 87380 w 88900"/>
                <a:gd name="connsiteY10" fmla="*/ 18090 h 104140"/>
                <a:gd name="connsiteX11" fmla="*/ 87380 w 88900"/>
                <a:gd name="connsiteY11" fmla="*/ -325 h 104140"/>
                <a:gd name="connsiteX12" fmla="*/ -250 w 88900"/>
                <a:gd name="connsiteY12" fmla="*/ -325 h 104140"/>
                <a:gd name="connsiteX13" fmla="*/ -250 w 88900"/>
                <a:gd name="connsiteY13" fmla="*/ -325 h 104140"/>
                <a:gd name="connsiteX14" fmla="*/ -250 w 88900"/>
                <a:gd name="connsiteY14" fmla="*/ -325 h 104140"/>
                <a:gd name="connsiteX15" fmla="*/ -250 w 88900"/>
                <a:gd name="connsiteY15" fmla="*/ 103815 h 104140"/>
                <a:gd name="connsiteX16" fmla="*/ 88650 w 88900"/>
                <a:gd name="connsiteY16" fmla="*/ 103815 h 104140"/>
                <a:gd name="connsiteX17" fmla="*/ 88650 w 88900"/>
                <a:gd name="connsiteY17" fmla="*/ 103815 h 104140"/>
                <a:gd name="connsiteX18" fmla="*/ 88650 w 88900"/>
                <a:gd name="connsiteY18" fmla="*/ 103815 h 104140"/>
                <a:gd name="connsiteX19" fmla="*/ 88650 w 88900"/>
                <a:gd name="connsiteY19" fmla="*/ 85400 h 104140"/>
                <a:gd name="connsiteX20" fmla="*/ 19435 w 88900"/>
                <a:gd name="connsiteY2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900" h="104140">
                  <a:moveTo>
                    <a:pt x="19435" y="86035"/>
                  </a:moveTo>
                  <a:cubicBezTo>
                    <a:pt x="18800" y="77145"/>
                    <a:pt x="18800" y="68890"/>
                    <a:pt x="19435" y="60000"/>
                  </a:cubicBezTo>
                  <a:cubicBezTo>
                    <a:pt x="35310" y="59365"/>
                    <a:pt x="50550" y="59365"/>
                    <a:pt x="65790" y="60000"/>
                  </a:cubicBezTo>
                  <a:lnTo>
                    <a:pt x="65790" y="60000"/>
                  </a:lnTo>
                  <a:lnTo>
                    <a:pt x="65790" y="60000"/>
                  </a:lnTo>
                  <a:cubicBezTo>
                    <a:pt x="65790" y="53650"/>
                    <a:pt x="65790" y="47935"/>
                    <a:pt x="65790" y="41585"/>
                  </a:cubicBezTo>
                  <a:cubicBezTo>
                    <a:pt x="49915" y="42220"/>
                    <a:pt x="34675" y="42220"/>
                    <a:pt x="19435" y="41585"/>
                  </a:cubicBezTo>
                  <a:cubicBezTo>
                    <a:pt x="18800" y="33965"/>
                    <a:pt x="18800" y="25710"/>
                    <a:pt x="19435" y="18090"/>
                  </a:cubicBezTo>
                  <a:cubicBezTo>
                    <a:pt x="42295" y="17455"/>
                    <a:pt x="65155" y="17455"/>
                    <a:pt x="87380" y="18090"/>
                  </a:cubicBezTo>
                  <a:lnTo>
                    <a:pt x="87380" y="18090"/>
                  </a:lnTo>
                  <a:lnTo>
                    <a:pt x="87380" y="18090"/>
                  </a:lnTo>
                  <a:cubicBezTo>
                    <a:pt x="87380" y="11740"/>
                    <a:pt x="87380" y="6025"/>
                    <a:pt x="87380" y="-325"/>
                  </a:cubicBezTo>
                  <a:cubicBezTo>
                    <a:pt x="58170" y="310"/>
                    <a:pt x="28960" y="310"/>
                    <a:pt x="-250" y="-325"/>
                  </a:cubicBezTo>
                  <a:lnTo>
                    <a:pt x="-250" y="-325"/>
                  </a:lnTo>
                  <a:lnTo>
                    <a:pt x="-250" y="-325"/>
                  </a:lnTo>
                  <a:cubicBezTo>
                    <a:pt x="385" y="34600"/>
                    <a:pt x="385" y="68890"/>
                    <a:pt x="-250" y="103815"/>
                  </a:cubicBezTo>
                  <a:cubicBezTo>
                    <a:pt x="29595" y="103180"/>
                    <a:pt x="58805" y="103180"/>
                    <a:pt x="88650" y="103815"/>
                  </a:cubicBezTo>
                  <a:lnTo>
                    <a:pt x="88650" y="103815"/>
                  </a:lnTo>
                  <a:lnTo>
                    <a:pt x="88650" y="103815"/>
                  </a:lnTo>
                  <a:cubicBezTo>
                    <a:pt x="88650" y="97465"/>
                    <a:pt x="88650" y="91750"/>
                    <a:pt x="88650" y="85400"/>
                  </a:cubicBezTo>
                  <a:cubicBezTo>
                    <a:pt x="65155" y="86670"/>
                    <a:pt x="42295" y="86670"/>
                    <a:pt x="19435" y="86035"/>
                  </a:cubicBezTo>
                </a:path>
              </a:pathLst>
            </a:custGeom>
            <a:solidFill>
              <a:srgbClr val="002733"/>
            </a:solidFill>
            <a:ln w="6350" cap="flat">
              <a:noFill/>
              <a:prstDash val="solid"/>
              <a:miter/>
            </a:ln>
          </p:spPr>
          <p:txBody>
            <a:bodyPr rtlCol="0" anchor="ctr"/>
            <a:lstStyle/>
            <a:p>
              <a:endParaRPr lang="en-GB"/>
            </a:p>
          </p:txBody>
        </p:sp>
        <p:sp>
          <p:nvSpPr>
            <p:cNvPr id="127" name="Freeform 126">
              <a:extLst>
                <a:ext uri="{FF2B5EF4-FFF2-40B4-BE49-F238E27FC236}">
                  <a16:creationId xmlns:a16="http://schemas.microsoft.com/office/drawing/2014/main" id="{7B361575-FB1D-ABAD-D599-7070BE85BD23}"/>
                </a:ext>
              </a:extLst>
            </p:cNvPr>
            <p:cNvSpPr/>
            <p:nvPr/>
          </p:nvSpPr>
          <p:spPr>
            <a:xfrm>
              <a:off x="4462145" y="3585845"/>
              <a:ext cx="94614" cy="104775"/>
            </a:xfrm>
            <a:custGeom>
              <a:avLst/>
              <a:gdLst>
                <a:gd name="connsiteX0" fmla="*/ -250 w 94614"/>
                <a:gd name="connsiteY0" fmla="*/ -325 h 104775"/>
                <a:gd name="connsiteX1" fmla="*/ -250 w 94614"/>
                <a:gd name="connsiteY1" fmla="*/ -325 h 104775"/>
                <a:gd name="connsiteX2" fmla="*/ -250 w 94614"/>
                <a:gd name="connsiteY2" fmla="*/ -325 h 104775"/>
                <a:gd name="connsiteX3" fmla="*/ -250 w 94614"/>
                <a:gd name="connsiteY3" fmla="*/ 18090 h 104775"/>
                <a:gd name="connsiteX4" fmla="*/ 37215 w 94614"/>
                <a:gd name="connsiteY4" fmla="*/ 18090 h 104775"/>
                <a:gd name="connsiteX5" fmla="*/ 37215 w 94614"/>
                <a:gd name="connsiteY5" fmla="*/ 104450 h 104775"/>
                <a:gd name="connsiteX6" fmla="*/ 56900 w 94614"/>
                <a:gd name="connsiteY6" fmla="*/ 104450 h 104775"/>
                <a:gd name="connsiteX7" fmla="*/ 56900 w 94614"/>
                <a:gd name="connsiteY7" fmla="*/ 104450 h 104775"/>
                <a:gd name="connsiteX8" fmla="*/ 56900 w 94614"/>
                <a:gd name="connsiteY8" fmla="*/ 104450 h 104775"/>
                <a:gd name="connsiteX9" fmla="*/ 56900 w 94614"/>
                <a:gd name="connsiteY9" fmla="*/ 18090 h 104775"/>
                <a:gd name="connsiteX10" fmla="*/ 94365 w 94614"/>
                <a:gd name="connsiteY10" fmla="*/ 18090 h 104775"/>
                <a:gd name="connsiteX11" fmla="*/ 94365 w 94614"/>
                <a:gd name="connsiteY11" fmla="*/ 18090 h 104775"/>
                <a:gd name="connsiteX12" fmla="*/ 94365 w 94614"/>
                <a:gd name="connsiteY12" fmla="*/ 18090 h 104775"/>
                <a:gd name="connsiteX13" fmla="*/ 94365 w 94614"/>
                <a:gd name="connsiteY13" fmla="*/ -325 h 104775"/>
                <a:gd name="connsiteX14" fmla="*/ -250 w 94614"/>
                <a:gd name="connsiteY14" fmla="*/ -32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614" h="104775">
                  <a:moveTo>
                    <a:pt x="-250" y="-325"/>
                  </a:moveTo>
                  <a:lnTo>
                    <a:pt x="-250" y="-325"/>
                  </a:lnTo>
                  <a:lnTo>
                    <a:pt x="-250" y="-325"/>
                  </a:lnTo>
                  <a:cubicBezTo>
                    <a:pt x="-250" y="6025"/>
                    <a:pt x="-250" y="11740"/>
                    <a:pt x="-250" y="18090"/>
                  </a:cubicBezTo>
                  <a:cubicBezTo>
                    <a:pt x="12450" y="17455"/>
                    <a:pt x="24515" y="17455"/>
                    <a:pt x="37215" y="18090"/>
                  </a:cubicBezTo>
                  <a:cubicBezTo>
                    <a:pt x="37850" y="47300"/>
                    <a:pt x="37850" y="75875"/>
                    <a:pt x="37215" y="104450"/>
                  </a:cubicBezTo>
                  <a:cubicBezTo>
                    <a:pt x="43565" y="104450"/>
                    <a:pt x="50550" y="104450"/>
                    <a:pt x="56900" y="104450"/>
                  </a:cubicBezTo>
                  <a:lnTo>
                    <a:pt x="56900" y="104450"/>
                  </a:lnTo>
                  <a:lnTo>
                    <a:pt x="56900" y="104450"/>
                  </a:lnTo>
                  <a:cubicBezTo>
                    <a:pt x="56265" y="75875"/>
                    <a:pt x="56265" y="47300"/>
                    <a:pt x="56900" y="18090"/>
                  </a:cubicBezTo>
                  <a:cubicBezTo>
                    <a:pt x="69600" y="17455"/>
                    <a:pt x="81665" y="17455"/>
                    <a:pt x="94365" y="18090"/>
                  </a:cubicBezTo>
                  <a:lnTo>
                    <a:pt x="94365" y="18090"/>
                  </a:lnTo>
                  <a:lnTo>
                    <a:pt x="94365" y="18090"/>
                  </a:lnTo>
                  <a:cubicBezTo>
                    <a:pt x="94365" y="11740"/>
                    <a:pt x="94365" y="6025"/>
                    <a:pt x="94365" y="-325"/>
                  </a:cubicBezTo>
                  <a:cubicBezTo>
                    <a:pt x="62615" y="-325"/>
                    <a:pt x="30865" y="-325"/>
                    <a:pt x="-250" y="-325"/>
                  </a:cubicBezTo>
                </a:path>
              </a:pathLst>
            </a:custGeom>
            <a:solidFill>
              <a:srgbClr val="002733"/>
            </a:solidFill>
            <a:ln w="6350" cap="flat">
              <a:noFill/>
              <a:prstDash val="solid"/>
              <a:miter/>
            </a:ln>
          </p:spPr>
          <p:txBody>
            <a:bodyPr rtlCol="0" anchor="ctr"/>
            <a:lstStyle/>
            <a:p>
              <a:endParaRPr lang="en-GB"/>
            </a:p>
          </p:txBody>
        </p:sp>
        <p:sp>
          <p:nvSpPr>
            <p:cNvPr id="128" name="Freeform 127">
              <a:extLst>
                <a:ext uri="{FF2B5EF4-FFF2-40B4-BE49-F238E27FC236}">
                  <a16:creationId xmlns:a16="http://schemas.microsoft.com/office/drawing/2014/main" id="{BF80C6AE-7E4D-E2BB-3BB3-24BCB9896803}"/>
                </a:ext>
              </a:extLst>
            </p:cNvPr>
            <p:cNvSpPr/>
            <p:nvPr/>
          </p:nvSpPr>
          <p:spPr>
            <a:xfrm>
              <a:off x="3994908" y="3169920"/>
              <a:ext cx="1031116" cy="337184"/>
            </a:xfrm>
            <a:custGeom>
              <a:avLst/>
              <a:gdLst>
                <a:gd name="connsiteX0" fmla="*/ 1030231 w 1031116"/>
                <a:gd name="connsiteY0" fmla="*/ 27615 h 337184"/>
                <a:gd name="connsiteX1" fmla="*/ 1023881 w 1031116"/>
                <a:gd name="connsiteY1" fmla="*/ 19995 h 337184"/>
                <a:gd name="connsiteX2" fmla="*/ 1023881 w 1031116"/>
                <a:gd name="connsiteY2" fmla="*/ 19995 h 337184"/>
                <a:gd name="connsiteX3" fmla="*/ 1015626 w 1031116"/>
                <a:gd name="connsiteY3" fmla="*/ 11740 h 337184"/>
                <a:gd name="connsiteX4" fmla="*/ 995306 w 1031116"/>
                <a:gd name="connsiteY4" fmla="*/ 13010 h 337184"/>
                <a:gd name="connsiteX5" fmla="*/ 995306 w 1031116"/>
                <a:gd name="connsiteY5" fmla="*/ 13010 h 337184"/>
                <a:gd name="connsiteX6" fmla="*/ 995306 w 1031116"/>
                <a:gd name="connsiteY6" fmla="*/ 13010 h 337184"/>
                <a:gd name="connsiteX7" fmla="*/ 995306 w 1031116"/>
                <a:gd name="connsiteY7" fmla="*/ 13010 h 337184"/>
                <a:gd name="connsiteX8" fmla="*/ 978161 w 1031116"/>
                <a:gd name="connsiteY8" fmla="*/ 14915 h 337184"/>
                <a:gd name="connsiteX9" fmla="*/ 957841 w 1031116"/>
                <a:gd name="connsiteY9" fmla="*/ 16185 h 337184"/>
                <a:gd name="connsiteX10" fmla="*/ 945141 w 1031116"/>
                <a:gd name="connsiteY10" fmla="*/ 16820 h 337184"/>
                <a:gd name="connsiteX11" fmla="*/ 933076 w 1031116"/>
                <a:gd name="connsiteY11" fmla="*/ 16820 h 337184"/>
                <a:gd name="connsiteX12" fmla="*/ 924186 w 1031116"/>
                <a:gd name="connsiteY12" fmla="*/ 16820 h 337184"/>
                <a:gd name="connsiteX13" fmla="*/ 909581 w 1031116"/>
                <a:gd name="connsiteY13" fmla="*/ 16185 h 337184"/>
                <a:gd name="connsiteX14" fmla="*/ 896246 w 1031116"/>
                <a:gd name="connsiteY14" fmla="*/ 15550 h 337184"/>
                <a:gd name="connsiteX15" fmla="*/ 879736 w 1031116"/>
                <a:gd name="connsiteY15" fmla="*/ 14280 h 337184"/>
                <a:gd name="connsiteX16" fmla="*/ 876561 w 1031116"/>
                <a:gd name="connsiteY16" fmla="*/ 14280 h 337184"/>
                <a:gd name="connsiteX17" fmla="*/ 872116 w 1031116"/>
                <a:gd name="connsiteY17" fmla="*/ 14280 h 337184"/>
                <a:gd name="connsiteX18" fmla="*/ 864496 w 1031116"/>
                <a:gd name="connsiteY18" fmla="*/ 14280 h 337184"/>
                <a:gd name="connsiteX19" fmla="*/ 839731 w 1031116"/>
                <a:gd name="connsiteY19" fmla="*/ 14280 h 337184"/>
                <a:gd name="connsiteX20" fmla="*/ 831476 w 1031116"/>
                <a:gd name="connsiteY20" fmla="*/ 14280 h 337184"/>
                <a:gd name="connsiteX21" fmla="*/ 807346 w 1031116"/>
                <a:gd name="connsiteY21" fmla="*/ 14915 h 337184"/>
                <a:gd name="connsiteX22" fmla="*/ 780676 w 1031116"/>
                <a:gd name="connsiteY22" fmla="*/ 16820 h 337184"/>
                <a:gd name="connsiteX23" fmla="*/ 777501 w 1031116"/>
                <a:gd name="connsiteY23" fmla="*/ 16820 h 337184"/>
                <a:gd name="connsiteX24" fmla="*/ 776866 w 1031116"/>
                <a:gd name="connsiteY24" fmla="*/ 16820 h 337184"/>
                <a:gd name="connsiteX25" fmla="*/ 771786 w 1031116"/>
                <a:gd name="connsiteY25" fmla="*/ 16820 h 337184"/>
                <a:gd name="connsiteX26" fmla="*/ 764801 w 1031116"/>
                <a:gd name="connsiteY26" fmla="*/ 17455 h 337184"/>
                <a:gd name="connsiteX27" fmla="*/ 735591 w 1031116"/>
                <a:gd name="connsiteY27" fmla="*/ 18725 h 337184"/>
                <a:gd name="connsiteX28" fmla="*/ 733686 w 1031116"/>
                <a:gd name="connsiteY28" fmla="*/ 18725 h 337184"/>
                <a:gd name="connsiteX29" fmla="*/ 693681 w 1031116"/>
                <a:gd name="connsiteY29" fmla="*/ 16185 h 337184"/>
                <a:gd name="connsiteX30" fmla="*/ 666376 w 1031116"/>
                <a:gd name="connsiteY30" fmla="*/ 13645 h 337184"/>
                <a:gd name="connsiteX31" fmla="*/ 658121 w 1031116"/>
                <a:gd name="connsiteY31" fmla="*/ 13645 h 337184"/>
                <a:gd name="connsiteX32" fmla="*/ 656216 w 1031116"/>
                <a:gd name="connsiteY32" fmla="*/ 13645 h 337184"/>
                <a:gd name="connsiteX33" fmla="*/ 618751 w 1031116"/>
                <a:gd name="connsiteY33" fmla="*/ 17455 h 337184"/>
                <a:gd name="connsiteX34" fmla="*/ 607956 w 1031116"/>
                <a:gd name="connsiteY34" fmla="*/ 20630 h 337184"/>
                <a:gd name="connsiteX35" fmla="*/ 513341 w 1031116"/>
                <a:gd name="connsiteY35" fmla="*/ -325 h 337184"/>
                <a:gd name="connsiteX36" fmla="*/ 420631 w 1031116"/>
                <a:gd name="connsiteY36" fmla="*/ 19995 h 337184"/>
                <a:gd name="connsiteX37" fmla="*/ 416821 w 1031116"/>
                <a:gd name="connsiteY37" fmla="*/ 18725 h 337184"/>
                <a:gd name="connsiteX38" fmla="*/ 412376 w 1031116"/>
                <a:gd name="connsiteY38" fmla="*/ 17455 h 337184"/>
                <a:gd name="connsiteX39" fmla="*/ 374911 w 1031116"/>
                <a:gd name="connsiteY39" fmla="*/ 13645 h 337184"/>
                <a:gd name="connsiteX40" fmla="*/ 373006 w 1031116"/>
                <a:gd name="connsiteY40" fmla="*/ 13645 h 337184"/>
                <a:gd name="connsiteX41" fmla="*/ 366656 w 1031116"/>
                <a:gd name="connsiteY41" fmla="*/ 13645 h 337184"/>
                <a:gd name="connsiteX42" fmla="*/ 337446 w 1031116"/>
                <a:gd name="connsiteY42" fmla="*/ 16185 h 337184"/>
                <a:gd name="connsiteX43" fmla="*/ 297441 w 1031116"/>
                <a:gd name="connsiteY43" fmla="*/ 18725 h 337184"/>
                <a:gd name="connsiteX44" fmla="*/ 295536 w 1031116"/>
                <a:gd name="connsiteY44" fmla="*/ 18725 h 337184"/>
                <a:gd name="connsiteX45" fmla="*/ 259341 w 1031116"/>
                <a:gd name="connsiteY45" fmla="*/ 17455 h 337184"/>
                <a:gd name="connsiteX46" fmla="*/ 254261 w 1031116"/>
                <a:gd name="connsiteY46" fmla="*/ 17455 h 337184"/>
                <a:gd name="connsiteX47" fmla="*/ 253626 w 1031116"/>
                <a:gd name="connsiteY47" fmla="*/ 17455 h 337184"/>
                <a:gd name="connsiteX48" fmla="*/ 250451 w 1031116"/>
                <a:gd name="connsiteY48" fmla="*/ 17455 h 337184"/>
                <a:gd name="connsiteX49" fmla="*/ 237116 w 1031116"/>
                <a:gd name="connsiteY49" fmla="*/ 16820 h 337184"/>
                <a:gd name="connsiteX50" fmla="*/ 223781 w 1031116"/>
                <a:gd name="connsiteY50" fmla="*/ 15550 h 337184"/>
                <a:gd name="connsiteX51" fmla="*/ 202826 w 1031116"/>
                <a:gd name="connsiteY51" fmla="*/ 14915 h 337184"/>
                <a:gd name="connsiteX52" fmla="*/ 191396 w 1031116"/>
                <a:gd name="connsiteY52" fmla="*/ 14915 h 337184"/>
                <a:gd name="connsiteX53" fmla="*/ 162821 w 1031116"/>
                <a:gd name="connsiteY53" fmla="*/ 14915 h 337184"/>
                <a:gd name="connsiteX54" fmla="*/ 158376 w 1031116"/>
                <a:gd name="connsiteY54" fmla="*/ 14915 h 337184"/>
                <a:gd name="connsiteX55" fmla="*/ 153931 w 1031116"/>
                <a:gd name="connsiteY55" fmla="*/ 14915 h 337184"/>
                <a:gd name="connsiteX56" fmla="*/ 150756 w 1031116"/>
                <a:gd name="connsiteY56" fmla="*/ 14915 h 337184"/>
                <a:gd name="connsiteX57" fmla="*/ 134246 w 1031116"/>
                <a:gd name="connsiteY57" fmla="*/ 16185 h 337184"/>
                <a:gd name="connsiteX58" fmla="*/ 131071 w 1031116"/>
                <a:gd name="connsiteY58" fmla="*/ 16185 h 337184"/>
                <a:gd name="connsiteX59" fmla="*/ 101861 w 1031116"/>
                <a:gd name="connsiteY59" fmla="*/ 17455 h 337184"/>
                <a:gd name="connsiteX60" fmla="*/ 98051 w 1031116"/>
                <a:gd name="connsiteY60" fmla="*/ 17455 h 337184"/>
                <a:gd name="connsiteX61" fmla="*/ 85986 w 1031116"/>
                <a:gd name="connsiteY61" fmla="*/ 17455 h 337184"/>
                <a:gd name="connsiteX62" fmla="*/ 73286 w 1031116"/>
                <a:gd name="connsiteY62" fmla="*/ 16820 h 337184"/>
                <a:gd name="connsiteX63" fmla="*/ 54236 w 1031116"/>
                <a:gd name="connsiteY63" fmla="*/ 15550 h 337184"/>
                <a:gd name="connsiteX64" fmla="*/ 15501 w 1031116"/>
                <a:gd name="connsiteY64" fmla="*/ 12375 h 337184"/>
                <a:gd name="connsiteX65" fmla="*/ 7246 w 1031116"/>
                <a:gd name="connsiteY65" fmla="*/ 20630 h 337184"/>
                <a:gd name="connsiteX66" fmla="*/ 261 w 1031116"/>
                <a:gd name="connsiteY66" fmla="*/ 28885 h 337184"/>
                <a:gd name="connsiteX67" fmla="*/ 2166 w 1031116"/>
                <a:gd name="connsiteY67" fmla="*/ 32060 h 337184"/>
                <a:gd name="connsiteX68" fmla="*/ 32646 w 1031116"/>
                <a:gd name="connsiteY68" fmla="*/ 49205 h 337184"/>
                <a:gd name="connsiteX69" fmla="*/ 24391 w 1031116"/>
                <a:gd name="connsiteY69" fmla="*/ 68255 h 337184"/>
                <a:gd name="connsiteX70" fmla="*/ 58046 w 1031116"/>
                <a:gd name="connsiteY70" fmla="*/ 82225 h 337184"/>
                <a:gd name="connsiteX71" fmla="*/ 56141 w 1031116"/>
                <a:gd name="connsiteY71" fmla="*/ 100640 h 337184"/>
                <a:gd name="connsiteX72" fmla="*/ 89161 w 1031116"/>
                <a:gd name="connsiteY72" fmla="*/ 110800 h 337184"/>
                <a:gd name="connsiteX73" fmla="*/ 94241 w 1031116"/>
                <a:gd name="connsiteY73" fmla="*/ 131755 h 337184"/>
                <a:gd name="connsiteX74" fmla="*/ 130436 w 1031116"/>
                <a:gd name="connsiteY74" fmla="*/ 138740 h 337184"/>
                <a:gd name="connsiteX75" fmla="*/ 138691 w 1031116"/>
                <a:gd name="connsiteY75" fmla="*/ 157155 h 337184"/>
                <a:gd name="connsiteX76" fmla="*/ 186951 w 1031116"/>
                <a:gd name="connsiteY76" fmla="*/ 161600 h 337184"/>
                <a:gd name="connsiteX77" fmla="*/ 196476 w 1031116"/>
                <a:gd name="connsiteY77" fmla="*/ 180650 h 337184"/>
                <a:gd name="connsiteX78" fmla="*/ 235211 w 1031116"/>
                <a:gd name="connsiteY78" fmla="*/ 181285 h 337184"/>
                <a:gd name="connsiteX79" fmla="*/ 248546 w 1031116"/>
                <a:gd name="connsiteY79" fmla="*/ 197160 h 337184"/>
                <a:gd name="connsiteX80" fmla="*/ 284741 w 1031116"/>
                <a:gd name="connsiteY80" fmla="*/ 191445 h 337184"/>
                <a:gd name="connsiteX81" fmla="*/ 298076 w 1031116"/>
                <a:gd name="connsiteY81" fmla="*/ 204780 h 337184"/>
                <a:gd name="connsiteX82" fmla="*/ 324746 w 1031116"/>
                <a:gd name="connsiteY82" fmla="*/ 198430 h 337184"/>
                <a:gd name="connsiteX83" fmla="*/ 383166 w 1031116"/>
                <a:gd name="connsiteY83" fmla="*/ 284155 h 337184"/>
                <a:gd name="connsiteX84" fmla="*/ 437141 w 1031116"/>
                <a:gd name="connsiteY84" fmla="*/ 313365 h 337184"/>
                <a:gd name="connsiteX85" fmla="*/ 442221 w 1031116"/>
                <a:gd name="connsiteY85" fmla="*/ 323525 h 337184"/>
                <a:gd name="connsiteX86" fmla="*/ 447301 w 1031116"/>
                <a:gd name="connsiteY86" fmla="*/ 321620 h 337184"/>
                <a:gd name="connsiteX87" fmla="*/ 458731 w 1031116"/>
                <a:gd name="connsiteY87" fmla="*/ 317175 h 337184"/>
                <a:gd name="connsiteX88" fmla="*/ 461906 w 1031116"/>
                <a:gd name="connsiteY88" fmla="*/ 322255 h 337184"/>
                <a:gd name="connsiteX89" fmla="*/ 466986 w 1031116"/>
                <a:gd name="connsiteY89" fmla="*/ 330510 h 337184"/>
                <a:gd name="connsiteX90" fmla="*/ 473971 w 1031116"/>
                <a:gd name="connsiteY90" fmla="*/ 326700 h 337184"/>
                <a:gd name="connsiteX91" fmla="*/ 482226 w 1031116"/>
                <a:gd name="connsiteY91" fmla="*/ 322255 h 337184"/>
                <a:gd name="connsiteX92" fmla="*/ 489211 w 1031116"/>
                <a:gd name="connsiteY92" fmla="*/ 331145 h 337184"/>
                <a:gd name="connsiteX93" fmla="*/ 492386 w 1031116"/>
                <a:gd name="connsiteY93" fmla="*/ 334955 h 337184"/>
                <a:gd name="connsiteX94" fmla="*/ 494926 w 1031116"/>
                <a:gd name="connsiteY94" fmla="*/ 333050 h 337184"/>
                <a:gd name="connsiteX95" fmla="*/ 505721 w 1031116"/>
                <a:gd name="connsiteY95" fmla="*/ 325430 h 337184"/>
                <a:gd name="connsiteX96" fmla="*/ 512071 w 1031116"/>
                <a:gd name="connsiteY96" fmla="*/ 331780 h 337184"/>
                <a:gd name="connsiteX97" fmla="*/ 517151 w 1031116"/>
                <a:gd name="connsiteY97" fmla="*/ 336860 h 337184"/>
                <a:gd name="connsiteX98" fmla="*/ 522866 w 1031116"/>
                <a:gd name="connsiteY98" fmla="*/ 331780 h 337184"/>
                <a:gd name="connsiteX99" fmla="*/ 529851 w 1031116"/>
                <a:gd name="connsiteY99" fmla="*/ 325430 h 337184"/>
                <a:gd name="connsiteX100" fmla="*/ 540011 w 1031116"/>
                <a:gd name="connsiteY100" fmla="*/ 333050 h 337184"/>
                <a:gd name="connsiteX101" fmla="*/ 543186 w 1031116"/>
                <a:gd name="connsiteY101" fmla="*/ 335590 h 337184"/>
                <a:gd name="connsiteX102" fmla="*/ 546361 w 1031116"/>
                <a:gd name="connsiteY102" fmla="*/ 331780 h 337184"/>
                <a:gd name="connsiteX103" fmla="*/ 553346 w 1031116"/>
                <a:gd name="connsiteY103" fmla="*/ 323525 h 337184"/>
                <a:gd name="connsiteX104" fmla="*/ 564141 w 1031116"/>
                <a:gd name="connsiteY104" fmla="*/ 329240 h 337184"/>
                <a:gd name="connsiteX105" fmla="*/ 568586 w 1031116"/>
                <a:gd name="connsiteY105" fmla="*/ 331780 h 337184"/>
                <a:gd name="connsiteX106" fmla="*/ 571761 w 1031116"/>
                <a:gd name="connsiteY106" fmla="*/ 326700 h 337184"/>
                <a:gd name="connsiteX107" fmla="*/ 577476 w 1031116"/>
                <a:gd name="connsiteY107" fmla="*/ 318445 h 337184"/>
                <a:gd name="connsiteX108" fmla="*/ 590176 w 1031116"/>
                <a:gd name="connsiteY108" fmla="*/ 323525 h 337184"/>
                <a:gd name="connsiteX109" fmla="*/ 593986 w 1031116"/>
                <a:gd name="connsiteY109" fmla="*/ 324795 h 337184"/>
                <a:gd name="connsiteX110" fmla="*/ 600336 w 1031116"/>
                <a:gd name="connsiteY110" fmla="*/ 311460 h 337184"/>
                <a:gd name="connsiteX111" fmla="*/ 646691 w 1031116"/>
                <a:gd name="connsiteY111" fmla="*/ 284790 h 337184"/>
                <a:gd name="connsiteX112" fmla="*/ 703206 w 1031116"/>
                <a:gd name="connsiteY112" fmla="*/ 204780 h 337184"/>
                <a:gd name="connsiteX113" fmla="*/ 707651 w 1031116"/>
                <a:gd name="connsiteY113" fmla="*/ 206685 h 337184"/>
                <a:gd name="connsiteX114" fmla="*/ 713366 w 1031116"/>
                <a:gd name="connsiteY114" fmla="*/ 208590 h 337184"/>
                <a:gd name="connsiteX115" fmla="*/ 725431 w 1031116"/>
                <a:gd name="connsiteY115" fmla="*/ 207955 h 337184"/>
                <a:gd name="connsiteX116" fmla="*/ 733051 w 1031116"/>
                <a:gd name="connsiteY116" fmla="*/ 197160 h 337184"/>
                <a:gd name="connsiteX117" fmla="*/ 766071 w 1031116"/>
                <a:gd name="connsiteY117" fmla="*/ 201605 h 337184"/>
                <a:gd name="connsiteX118" fmla="*/ 774326 w 1031116"/>
                <a:gd name="connsiteY118" fmla="*/ 190175 h 337184"/>
                <a:gd name="connsiteX119" fmla="*/ 810521 w 1031116"/>
                <a:gd name="connsiteY119" fmla="*/ 193350 h 337184"/>
                <a:gd name="connsiteX120" fmla="*/ 821951 w 1031116"/>
                <a:gd name="connsiteY120" fmla="*/ 174300 h 337184"/>
                <a:gd name="connsiteX121" fmla="*/ 861321 w 1031116"/>
                <a:gd name="connsiteY121" fmla="*/ 173665 h 337184"/>
                <a:gd name="connsiteX122" fmla="*/ 870846 w 1031116"/>
                <a:gd name="connsiteY122" fmla="*/ 154615 h 337184"/>
                <a:gd name="connsiteX123" fmla="*/ 903866 w 1031116"/>
                <a:gd name="connsiteY123" fmla="*/ 155250 h 337184"/>
                <a:gd name="connsiteX124" fmla="*/ 918471 w 1031116"/>
                <a:gd name="connsiteY124" fmla="*/ 131120 h 337184"/>
                <a:gd name="connsiteX125" fmla="*/ 948951 w 1031116"/>
                <a:gd name="connsiteY125" fmla="*/ 126675 h 337184"/>
                <a:gd name="connsiteX126" fmla="*/ 954666 w 1031116"/>
                <a:gd name="connsiteY126" fmla="*/ 104450 h 337184"/>
                <a:gd name="connsiteX127" fmla="*/ 983241 w 1031116"/>
                <a:gd name="connsiteY127" fmla="*/ 96195 h 337184"/>
                <a:gd name="connsiteX128" fmla="*/ 983876 w 1031116"/>
                <a:gd name="connsiteY128" fmla="*/ 76510 h 337184"/>
                <a:gd name="connsiteX129" fmla="*/ 1009911 w 1031116"/>
                <a:gd name="connsiteY129" fmla="*/ 66350 h 337184"/>
                <a:gd name="connsiteX130" fmla="*/ 1003561 w 1031116"/>
                <a:gd name="connsiteY130" fmla="*/ 46665 h 337184"/>
                <a:gd name="connsiteX131" fmla="*/ 1030866 w 1031116"/>
                <a:gd name="connsiteY131" fmla="*/ 33965 h 337184"/>
                <a:gd name="connsiteX132" fmla="*/ 1030231 w 1031116"/>
                <a:gd name="connsiteY132" fmla="*/ 27615 h 337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1031116" h="337184">
                  <a:moveTo>
                    <a:pt x="1030231" y="27615"/>
                  </a:moveTo>
                  <a:cubicBezTo>
                    <a:pt x="1028961" y="26345"/>
                    <a:pt x="1027056" y="23805"/>
                    <a:pt x="1023881" y="19995"/>
                  </a:cubicBezTo>
                  <a:lnTo>
                    <a:pt x="1023881" y="19995"/>
                  </a:lnTo>
                  <a:cubicBezTo>
                    <a:pt x="1020072" y="16185"/>
                    <a:pt x="1016261" y="11740"/>
                    <a:pt x="1015626" y="11740"/>
                  </a:cubicBezTo>
                  <a:cubicBezTo>
                    <a:pt x="1013722" y="11105"/>
                    <a:pt x="1006101" y="12375"/>
                    <a:pt x="995306" y="13010"/>
                  </a:cubicBezTo>
                  <a:cubicBezTo>
                    <a:pt x="995306" y="13010"/>
                    <a:pt x="995306" y="13010"/>
                    <a:pt x="995306" y="13010"/>
                  </a:cubicBezTo>
                  <a:lnTo>
                    <a:pt x="995306" y="13010"/>
                  </a:lnTo>
                  <a:lnTo>
                    <a:pt x="995306" y="13010"/>
                  </a:lnTo>
                  <a:lnTo>
                    <a:pt x="978161" y="14915"/>
                  </a:lnTo>
                  <a:cubicBezTo>
                    <a:pt x="971176" y="15550"/>
                    <a:pt x="964826" y="15550"/>
                    <a:pt x="957841" y="16185"/>
                  </a:cubicBezTo>
                  <a:cubicBezTo>
                    <a:pt x="954031" y="16185"/>
                    <a:pt x="949586" y="16185"/>
                    <a:pt x="945141" y="16820"/>
                  </a:cubicBezTo>
                  <a:cubicBezTo>
                    <a:pt x="941331" y="16820"/>
                    <a:pt x="937522" y="16820"/>
                    <a:pt x="933076" y="16820"/>
                  </a:cubicBezTo>
                  <a:cubicBezTo>
                    <a:pt x="929901" y="16820"/>
                    <a:pt x="927361" y="16820"/>
                    <a:pt x="924186" y="16820"/>
                  </a:cubicBezTo>
                  <a:cubicBezTo>
                    <a:pt x="919106" y="16820"/>
                    <a:pt x="914661" y="16185"/>
                    <a:pt x="909581" y="16185"/>
                  </a:cubicBezTo>
                  <a:cubicBezTo>
                    <a:pt x="905136" y="16185"/>
                    <a:pt x="900691" y="15550"/>
                    <a:pt x="896246" y="15550"/>
                  </a:cubicBezTo>
                  <a:cubicBezTo>
                    <a:pt x="890531" y="14915"/>
                    <a:pt x="884816" y="14915"/>
                    <a:pt x="879736" y="14280"/>
                  </a:cubicBezTo>
                  <a:cubicBezTo>
                    <a:pt x="878466" y="14280"/>
                    <a:pt x="877196" y="14280"/>
                    <a:pt x="876561" y="14280"/>
                  </a:cubicBezTo>
                  <a:cubicBezTo>
                    <a:pt x="875291" y="14280"/>
                    <a:pt x="873386" y="14280"/>
                    <a:pt x="872116" y="14280"/>
                  </a:cubicBezTo>
                  <a:cubicBezTo>
                    <a:pt x="870846" y="14280"/>
                    <a:pt x="868306" y="14280"/>
                    <a:pt x="864496" y="14280"/>
                  </a:cubicBezTo>
                  <a:cubicBezTo>
                    <a:pt x="858146" y="14280"/>
                    <a:pt x="848621" y="14280"/>
                    <a:pt x="839731" y="14280"/>
                  </a:cubicBezTo>
                  <a:cubicBezTo>
                    <a:pt x="837191" y="14280"/>
                    <a:pt x="834651" y="14280"/>
                    <a:pt x="831476" y="14280"/>
                  </a:cubicBezTo>
                  <a:cubicBezTo>
                    <a:pt x="822586" y="14280"/>
                    <a:pt x="813061" y="14280"/>
                    <a:pt x="807346" y="14915"/>
                  </a:cubicBezTo>
                  <a:cubicBezTo>
                    <a:pt x="799091" y="15550"/>
                    <a:pt x="790201" y="16185"/>
                    <a:pt x="780676" y="16820"/>
                  </a:cubicBezTo>
                  <a:lnTo>
                    <a:pt x="777501" y="16820"/>
                  </a:lnTo>
                  <a:lnTo>
                    <a:pt x="776866" y="16820"/>
                  </a:lnTo>
                  <a:lnTo>
                    <a:pt x="771786" y="16820"/>
                  </a:lnTo>
                  <a:cubicBezTo>
                    <a:pt x="769246" y="16820"/>
                    <a:pt x="767341" y="16820"/>
                    <a:pt x="764801" y="17455"/>
                  </a:cubicBezTo>
                  <a:cubicBezTo>
                    <a:pt x="755276" y="18090"/>
                    <a:pt x="745116" y="18090"/>
                    <a:pt x="735591" y="18725"/>
                  </a:cubicBezTo>
                  <a:cubicBezTo>
                    <a:pt x="734956" y="18725"/>
                    <a:pt x="734321" y="18725"/>
                    <a:pt x="733686" y="18725"/>
                  </a:cubicBezTo>
                  <a:cubicBezTo>
                    <a:pt x="720986" y="18725"/>
                    <a:pt x="708286" y="18090"/>
                    <a:pt x="693681" y="16185"/>
                  </a:cubicBezTo>
                  <a:cubicBezTo>
                    <a:pt x="683521" y="14915"/>
                    <a:pt x="674631" y="14280"/>
                    <a:pt x="666376" y="13645"/>
                  </a:cubicBezTo>
                  <a:cubicBezTo>
                    <a:pt x="663836" y="13645"/>
                    <a:pt x="660661" y="13645"/>
                    <a:pt x="658121" y="13645"/>
                  </a:cubicBezTo>
                  <a:cubicBezTo>
                    <a:pt x="657486" y="13645"/>
                    <a:pt x="656851" y="13645"/>
                    <a:pt x="656216" y="13645"/>
                  </a:cubicBezTo>
                  <a:cubicBezTo>
                    <a:pt x="641611" y="13645"/>
                    <a:pt x="630181" y="14915"/>
                    <a:pt x="618751" y="17455"/>
                  </a:cubicBezTo>
                  <a:cubicBezTo>
                    <a:pt x="614941" y="18090"/>
                    <a:pt x="611131" y="19360"/>
                    <a:pt x="607956" y="20630"/>
                  </a:cubicBezTo>
                  <a:cubicBezTo>
                    <a:pt x="579381" y="6660"/>
                    <a:pt x="546996" y="-325"/>
                    <a:pt x="513341" y="-325"/>
                  </a:cubicBezTo>
                  <a:cubicBezTo>
                    <a:pt x="479686" y="-325"/>
                    <a:pt x="448571" y="6660"/>
                    <a:pt x="420631" y="19995"/>
                  </a:cubicBezTo>
                  <a:cubicBezTo>
                    <a:pt x="419361" y="19360"/>
                    <a:pt x="418091" y="19360"/>
                    <a:pt x="416821" y="18725"/>
                  </a:cubicBezTo>
                  <a:cubicBezTo>
                    <a:pt x="415551" y="18090"/>
                    <a:pt x="413646" y="18090"/>
                    <a:pt x="412376" y="17455"/>
                  </a:cubicBezTo>
                  <a:cubicBezTo>
                    <a:pt x="401581" y="14915"/>
                    <a:pt x="389516" y="13645"/>
                    <a:pt x="374911" y="13645"/>
                  </a:cubicBezTo>
                  <a:cubicBezTo>
                    <a:pt x="374276" y="13645"/>
                    <a:pt x="373641" y="13645"/>
                    <a:pt x="373006" y="13645"/>
                  </a:cubicBezTo>
                  <a:cubicBezTo>
                    <a:pt x="371101" y="13645"/>
                    <a:pt x="369196" y="13645"/>
                    <a:pt x="366656" y="13645"/>
                  </a:cubicBezTo>
                  <a:cubicBezTo>
                    <a:pt x="357766" y="13645"/>
                    <a:pt x="348876" y="14915"/>
                    <a:pt x="337446" y="16185"/>
                  </a:cubicBezTo>
                  <a:cubicBezTo>
                    <a:pt x="323476" y="18090"/>
                    <a:pt x="310141" y="18725"/>
                    <a:pt x="297441" y="18725"/>
                  </a:cubicBezTo>
                  <a:cubicBezTo>
                    <a:pt x="296806" y="18725"/>
                    <a:pt x="296171" y="18725"/>
                    <a:pt x="295536" y="18725"/>
                  </a:cubicBezTo>
                  <a:cubicBezTo>
                    <a:pt x="283471" y="18725"/>
                    <a:pt x="271406" y="18090"/>
                    <a:pt x="259341" y="17455"/>
                  </a:cubicBezTo>
                  <a:lnTo>
                    <a:pt x="254261" y="17455"/>
                  </a:lnTo>
                  <a:lnTo>
                    <a:pt x="253626" y="17455"/>
                  </a:lnTo>
                  <a:lnTo>
                    <a:pt x="250451" y="17455"/>
                  </a:lnTo>
                  <a:cubicBezTo>
                    <a:pt x="245371" y="17455"/>
                    <a:pt x="240926" y="16820"/>
                    <a:pt x="237116" y="16820"/>
                  </a:cubicBezTo>
                  <a:cubicBezTo>
                    <a:pt x="232671" y="16820"/>
                    <a:pt x="228226" y="16185"/>
                    <a:pt x="223781" y="15550"/>
                  </a:cubicBezTo>
                  <a:cubicBezTo>
                    <a:pt x="218701" y="14915"/>
                    <a:pt x="210446" y="14915"/>
                    <a:pt x="202826" y="14915"/>
                  </a:cubicBezTo>
                  <a:cubicBezTo>
                    <a:pt x="199016" y="14915"/>
                    <a:pt x="195206" y="14915"/>
                    <a:pt x="191396" y="14915"/>
                  </a:cubicBezTo>
                  <a:cubicBezTo>
                    <a:pt x="179966" y="14915"/>
                    <a:pt x="169171" y="14915"/>
                    <a:pt x="162821" y="14915"/>
                  </a:cubicBezTo>
                  <a:cubicBezTo>
                    <a:pt x="160916" y="14915"/>
                    <a:pt x="159646" y="14915"/>
                    <a:pt x="158376" y="14915"/>
                  </a:cubicBezTo>
                  <a:cubicBezTo>
                    <a:pt x="157106" y="14915"/>
                    <a:pt x="155201" y="14915"/>
                    <a:pt x="153931" y="14915"/>
                  </a:cubicBezTo>
                  <a:cubicBezTo>
                    <a:pt x="152661" y="14915"/>
                    <a:pt x="151391" y="14915"/>
                    <a:pt x="150756" y="14915"/>
                  </a:cubicBezTo>
                  <a:cubicBezTo>
                    <a:pt x="145041" y="14915"/>
                    <a:pt x="139326" y="15550"/>
                    <a:pt x="134246" y="16185"/>
                  </a:cubicBezTo>
                  <a:cubicBezTo>
                    <a:pt x="132976" y="16185"/>
                    <a:pt x="132341" y="16185"/>
                    <a:pt x="131071" y="16185"/>
                  </a:cubicBezTo>
                  <a:cubicBezTo>
                    <a:pt x="120911" y="16820"/>
                    <a:pt x="110751" y="17455"/>
                    <a:pt x="101861" y="17455"/>
                  </a:cubicBezTo>
                  <a:cubicBezTo>
                    <a:pt x="100591" y="17455"/>
                    <a:pt x="99321" y="17455"/>
                    <a:pt x="98051" y="17455"/>
                  </a:cubicBezTo>
                  <a:cubicBezTo>
                    <a:pt x="93606" y="17455"/>
                    <a:pt x="89796" y="17455"/>
                    <a:pt x="85986" y="17455"/>
                  </a:cubicBezTo>
                  <a:cubicBezTo>
                    <a:pt x="81541" y="17455"/>
                    <a:pt x="77731" y="16820"/>
                    <a:pt x="73286" y="16820"/>
                  </a:cubicBezTo>
                  <a:cubicBezTo>
                    <a:pt x="66936" y="16820"/>
                    <a:pt x="60586" y="16185"/>
                    <a:pt x="54236" y="15550"/>
                  </a:cubicBezTo>
                  <a:cubicBezTo>
                    <a:pt x="35186" y="13645"/>
                    <a:pt x="18041" y="11740"/>
                    <a:pt x="15501" y="12375"/>
                  </a:cubicBezTo>
                  <a:cubicBezTo>
                    <a:pt x="14231" y="12375"/>
                    <a:pt x="10421" y="16820"/>
                    <a:pt x="7246" y="20630"/>
                  </a:cubicBezTo>
                  <a:cubicBezTo>
                    <a:pt x="7246" y="20630"/>
                    <a:pt x="1531" y="27615"/>
                    <a:pt x="261" y="28885"/>
                  </a:cubicBezTo>
                  <a:cubicBezTo>
                    <a:pt x="-1009" y="30155"/>
                    <a:pt x="261" y="30790"/>
                    <a:pt x="2166" y="32060"/>
                  </a:cubicBezTo>
                  <a:cubicBezTo>
                    <a:pt x="4071" y="33330"/>
                    <a:pt x="32646" y="49205"/>
                    <a:pt x="32646" y="49205"/>
                  </a:cubicBezTo>
                  <a:cubicBezTo>
                    <a:pt x="32646" y="49205"/>
                    <a:pt x="22486" y="65715"/>
                    <a:pt x="24391" y="68255"/>
                  </a:cubicBezTo>
                  <a:cubicBezTo>
                    <a:pt x="26931" y="72065"/>
                    <a:pt x="58046" y="82225"/>
                    <a:pt x="58046" y="82225"/>
                  </a:cubicBezTo>
                  <a:cubicBezTo>
                    <a:pt x="58046" y="82225"/>
                    <a:pt x="54236" y="98100"/>
                    <a:pt x="56141" y="100640"/>
                  </a:cubicBezTo>
                  <a:cubicBezTo>
                    <a:pt x="58046" y="102545"/>
                    <a:pt x="89161" y="110800"/>
                    <a:pt x="89161" y="110800"/>
                  </a:cubicBezTo>
                  <a:cubicBezTo>
                    <a:pt x="89161" y="110800"/>
                    <a:pt x="91701" y="130485"/>
                    <a:pt x="94241" y="131755"/>
                  </a:cubicBezTo>
                  <a:cubicBezTo>
                    <a:pt x="98051" y="134295"/>
                    <a:pt x="130436" y="138740"/>
                    <a:pt x="130436" y="138740"/>
                  </a:cubicBezTo>
                  <a:cubicBezTo>
                    <a:pt x="130436" y="138740"/>
                    <a:pt x="134881" y="154615"/>
                    <a:pt x="138691" y="157155"/>
                  </a:cubicBezTo>
                  <a:cubicBezTo>
                    <a:pt x="143771" y="160330"/>
                    <a:pt x="176791" y="162235"/>
                    <a:pt x="186951" y="161600"/>
                  </a:cubicBezTo>
                  <a:cubicBezTo>
                    <a:pt x="186951" y="161600"/>
                    <a:pt x="190761" y="178745"/>
                    <a:pt x="196476" y="180650"/>
                  </a:cubicBezTo>
                  <a:cubicBezTo>
                    <a:pt x="206636" y="183825"/>
                    <a:pt x="235211" y="181285"/>
                    <a:pt x="235211" y="181285"/>
                  </a:cubicBezTo>
                  <a:cubicBezTo>
                    <a:pt x="235211" y="181285"/>
                    <a:pt x="239021" y="194620"/>
                    <a:pt x="248546" y="197160"/>
                  </a:cubicBezTo>
                  <a:cubicBezTo>
                    <a:pt x="258706" y="199700"/>
                    <a:pt x="284741" y="191445"/>
                    <a:pt x="284741" y="191445"/>
                  </a:cubicBezTo>
                  <a:cubicBezTo>
                    <a:pt x="284741" y="191445"/>
                    <a:pt x="289186" y="203510"/>
                    <a:pt x="298076" y="204780"/>
                  </a:cubicBezTo>
                  <a:cubicBezTo>
                    <a:pt x="309506" y="206050"/>
                    <a:pt x="320301" y="200970"/>
                    <a:pt x="324746" y="198430"/>
                  </a:cubicBezTo>
                  <a:cubicBezTo>
                    <a:pt x="333001" y="231450"/>
                    <a:pt x="353321" y="261295"/>
                    <a:pt x="383166" y="284155"/>
                  </a:cubicBezTo>
                  <a:cubicBezTo>
                    <a:pt x="399041" y="296220"/>
                    <a:pt x="417456" y="306380"/>
                    <a:pt x="437141" y="313365"/>
                  </a:cubicBezTo>
                  <a:cubicBezTo>
                    <a:pt x="439046" y="317175"/>
                    <a:pt x="442221" y="323525"/>
                    <a:pt x="442221" y="323525"/>
                  </a:cubicBezTo>
                  <a:lnTo>
                    <a:pt x="447301" y="321620"/>
                  </a:lnTo>
                  <a:lnTo>
                    <a:pt x="458731" y="317175"/>
                  </a:lnTo>
                  <a:lnTo>
                    <a:pt x="461906" y="322255"/>
                  </a:lnTo>
                  <a:lnTo>
                    <a:pt x="466986" y="330510"/>
                  </a:lnTo>
                  <a:lnTo>
                    <a:pt x="473971" y="326700"/>
                  </a:lnTo>
                  <a:lnTo>
                    <a:pt x="482226" y="322255"/>
                  </a:lnTo>
                  <a:lnTo>
                    <a:pt x="489211" y="331145"/>
                  </a:lnTo>
                  <a:lnTo>
                    <a:pt x="492386" y="334955"/>
                  </a:lnTo>
                  <a:lnTo>
                    <a:pt x="494926" y="333050"/>
                  </a:lnTo>
                  <a:lnTo>
                    <a:pt x="505721" y="325430"/>
                  </a:lnTo>
                  <a:lnTo>
                    <a:pt x="512071" y="331780"/>
                  </a:lnTo>
                  <a:lnTo>
                    <a:pt x="517151" y="336860"/>
                  </a:lnTo>
                  <a:lnTo>
                    <a:pt x="522866" y="331780"/>
                  </a:lnTo>
                  <a:lnTo>
                    <a:pt x="529851" y="325430"/>
                  </a:lnTo>
                  <a:lnTo>
                    <a:pt x="540011" y="333050"/>
                  </a:lnTo>
                  <a:lnTo>
                    <a:pt x="543186" y="335590"/>
                  </a:lnTo>
                  <a:lnTo>
                    <a:pt x="546361" y="331780"/>
                  </a:lnTo>
                  <a:lnTo>
                    <a:pt x="553346" y="323525"/>
                  </a:lnTo>
                  <a:lnTo>
                    <a:pt x="564141" y="329240"/>
                  </a:lnTo>
                  <a:lnTo>
                    <a:pt x="568586" y="331780"/>
                  </a:lnTo>
                  <a:lnTo>
                    <a:pt x="571761" y="326700"/>
                  </a:lnTo>
                  <a:lnTo>
                    <a:pt x="577476" y="318445"/>
                  </a:lnTo>
                  <a:lnTo>
                    <a:pt x="590176" y="323525"/>
                  </a:lnTo>
                  <a:lnTo>
                    <a:pt x="593986" y="324795"/>
                  </a:lnTo>
                  <a:lnTo>
                    <a:pt x="600336" y="311460"/>
                  </a:lnTo>
                  <a:cubicBezTo>
                    <a:pt x="616846" y="304475"/>
                    <a:pt x="632721" y="295585"/>
                    <a:pt x="646691" y="284790"/>
                  </a:cubicBezTo>
                  <a:cubicBezTo>
                    <a:pt x="674631" y="263200"/>
                    <a:pt x="694316" y="235260"/>
                    <a:pt x="703206" y="204780"/>
                  </a:cubicBezTo>
                  <a:cubicBezTo>
                    <a:pt x="703841" y="204780"/>
                    <a:pt x="704476" y="205415"/>
                    <a:pt x="707651" y="206685"/>
                  </a:cubicBezTo>
                  <a:cubicBezTo>
                    <a:pt x="709556" y="207320"/>
                    <a:pt x="711461" y="207955"/>
                    <a:pt x="713366" y="208590"/>
                  </a:cubicBezTo>
                  <a:cubicBezTo>
                    <a:pt x="717176" y="209860"/>
                    <a:pt x="721621" y="209860"/>
                    <a:pt x="725431" y="207955"/>
                  </a:cubicBezTo>
                  <a:cubicBezTo>
                    <a:pt x="729241" y="206050"/>
                    <a:pt x="731781" y="201605"/>
                    <a:pt x="733051" y="197160"/>
                  </a:cubicBezTo>
                  <a:cubicBezTo>
                    <a:pt x="742576" y="200970"/>
                    <a:pt x="757816" y="206050"/>
                    <a:pt x="766071" y="201605"/>
                  </a:cubicBezTo>
                  <a:cubicBezTo>
                    <a:pt x="770516" y="199065"/>
                    <a:pt x="774326" y="190175"/>
                    <a:pt x="774326" y="190175"/>
                  </a:cubicBezTo>
                  <a:cubicBezTo>
                    <a:pt x="779406" y="191445"/>
                    <a:pt x="799726" y="196525"/>
                    <a:pt x="810521" y="193350"/>
                  </a:cubicBezTo>
                  <a:cubicBezTo>
                    <a:pt x="818776" y="190810"/>
                    <a:pt x="821316" y="178110"/>
                    <a:pt x="821951" y="174300"/>
                  </a:cubicBezTo>
                  <a:cubicBezTo>
                    <a:pt x="823856" y="174300"/>
                    <a:pt x="849256" y="177475"/>
                    <a:pt x="861321" y="173665"/>
                  </a:cubicBezTo>
                  <a:cubicBezTo>
                    <a:pt x="867671" y="171760"/>
                    <a:pt x="869576" y="162235"/>
                    <a:pt x="870846" y="154615"/>
                  </a:cubicBezTo>
                  <a:cubicBezTo>
                    <a:pt x="882276" y="156520"/>
                    <a:pt x="896246" y="156520"/>
                    <a:pt x="903866" y="155250"/>
                  </a:cubicBezTo>
                  <a:cubicBezTo>
                    <a:pt x="912756" y="153980"/>
                    <a:pt x="913391" y="146995"/>
                    <a:pt x="918471" y="131120"/>
                  </a:cubicBezTo>
                  <a:cubicBezTo>
                    <a:pt x="924822" y="130485"/>
                    <a:pt x="945141" y="128580"/>
                    <a:pt x="948951" y="126675"/>
                  </a:cubicBezTo>
                  <a:cubicBezTo>
                    <a:pt x="953397" y="124770"/>
                    <a:pt x="953397" y="115245"/>
                    <a:pt x="954666" y="104450"/>
                  </a:cubicBezTo>
                  <a:cubicBezTo>
                    <a:pt x="962286" y="102545"/>
                    <a:pt x="978161" y="98100"/>
                    <a:pt x="983241" y="96195"/>
                  </a:cubicBezTo>
                  <a:cubicBezTo>
                    <a:pt x="986416" y="94925"/>
                    <a:pt x="985147" y="86035"/>
                    <a:pt x="983876" y="76510"/>
                  </a:cubicBezTo>
                  <a:cubicBezTo>
                    <a:pt x="998481" y="72065"/>
                    <a:pt x="1008006" y="69525"/>
                    <a:pt x="1009911" y="66350"/>
                  </a:cubicBezTo>
                  <a:cubicBezTo>
                    <a:pt x="1011181" y="65080"/>
                    <a:pt x="1005466" y="51745"/>
                    <a:pt x="1003561" y="46665"/>
                  </a:cubicBezTo>
                  <a:cubicBezTo>
                    <a:pt x="1003561" y="46665"/>
                    <a:pt x="1012451" y="44125"/>
                    <a:pt x="1030866" y="33965"/>
                  </a:cubicBezTo>
                  <a:cubicBezTo>
                    <a:pt x="1028961" y="30790"/>
                    <a:pt x="1032136" y="29520"/>
                    <a:pt x="1030231" y="27615"/>
                  </a:cubicBezTo>
                </a:path>
              </a:pathLst>
            </a:custGeom>
            <a:solidFill>
              <a:srgbClr val="002733"/>
            </a:solidFill>
            <a:ln w="6350" cap="flat">
              <a:noFill/>
              <a:prstDash val="solid"/>
              <a:miter/>
            </a:ln>
          </p:spPr>
          <p:txBody>
            <a:bodyPr rtlCol="0" anchor="ctr"/>
            <a:lstStyle/>
            <a:p>
              <a:endParaRPr lang="en-GB"/>
            </a:p>
          </p:txBody>
        </p:sp>
        <p:sp>
          <p:nvSpPr>
            <p:cNvPr id="129" name="Freeform 128">
              <a:extLst>
                <a:ext uri="{FF2B5EF4-FFF2-40B4-BE49-F238E27FC236}">
                  <a16:creationId xmlns:a16="http://schemas.microsoft.com/office/drawing/2014/main" id="{23387413-9AC1-A4F6-A561-5D81A44C338E}"/>
                </a:ext>
              </a:extLst>
            </p:cNvPr>
            <p:cNvSpPr/>
            <p:nvPr/>
          </p:nvSpPr>
          <p:spPr>
            <a:xfrm>
              <a:off x="4430346" y="3255591"/>
              <a:ext cx="155007" cy="153742"/>
            </a:xfrm>
            <a:custGeom>
              <a:avLst/>
              <a:gdLst>
                <a:gd name="connsiteX0" fmla="*/ 132514 w 155007"/>
                <a:gd name="connsiteY0" fmla="*/ 74024 h 153742"/>
                <a:gd name="connsiteX1" fmla="*/ 130609 w 155007"/>
                <a:gd name="connsiteY1" fmla="*/ 72118 h 153742"/>
                <a:gd name="connsiteX2" fmla="*/ 132514 w 155007"/>
                <a:gd name="connsiteY2" fmla="*/ 69578 h 153742"/>
                <a:gd name="connsiteX3" fmla="*/ 150929 w 155007"/>
                <a:gd name="connsiteY3" fmla="*/ 39733 h 153742"/>
                <a:gd name="connsiteX4" fmla="*/ 74729 w 155007"/>
                <a:gd name="connsiteY4" fmla="*/ -272 h 153742"/>
                <a:gd name="connsiteX5" fmla="*/ 7419 w 155007"/>
                <a:gd name="connsiteY5" fmla="*/ 21953 h 153742"/>
                <a:gd name="connsiteX6" fmla="*/ -201 w 155007"/>
                <a:gd name="connsiteY6" fmla="*/ 30843 h 153742"/>
                <a:gd name="connsiteX7" fmla="*/ 2974 w 155007"/>
                <a:gd name="connsiteY7" fmla="*/ 35288 h 153742"/>
                <a:gd name="connsiteX8" fmla="*/ 9324 w 155007"/>
                <a:gd name="connsiteY8" fmla="*/ 42274 h 153742"/>
                <a:gd name="connsiteX9" fmla="*/ 9324 w 155007"/>
                <a:gd name="connsiteY9" fmla="*/ 114028 h 153742"/>
                <a:gd name="connsiteX10" fmla="*/ 2974 w 155007"/>
                <a:gd name="connsiteY10" fmla="*/ 120378 h 153742"/>
                <a:gd name="connsiteX11" fmla="*/ -201 w 155007"/>
                <a:gd name="connsiteY11" fmla="*/ 124824 h 153742"/>
                <a:gd name="connsiteX12" fmla="*/ 8689 w 155007"/>
                <a:gd name="connsiteY12" fmla="*/ 133078 h 153742"/>
                <a:gd name="connsiteX13" fmla="*/ 77904 w 155007"/>
                <a:gd name="connsiteY13" fmla="*/ 153399 h 153742"/>
                <a:gd name="connsiteX14" fmla="*/ 154739 w 155007"/>
                <a:gd name="connsiteY14" fmla="*/ 108949 h 153742"/>
                <a:gd name="connsiteX15" fmla="*/ 132514 w 155007"/>
                <a:gd name="connsiteY15" fmla="*/ 74024 h 153742"/>
                <a:gd name="connsiteX16" fmla="*/ 77269 w 155007"/>
                <a:gd name="connsiteY16" fmla="*/ 10524 h 153742"/>
                <a:gd name="connsiteX17" fmla="*/ 110924 w 155007"/>
                <a:gd name="connsiteY17" fmla="*/ 40368 h 153742"/>
                <a:gd name="connsiteX18" fmla="*/ 79174 w 155007"/>
                <a:gd name="connsiteY18" fmla="*/ 70849 h 153742"/>
                <a:gd name="connsiteX19" fmla="*/ 46789 w 155007"/>
                <a:gd name="connsiteY19" fmla="*/ 41003 h 153742"/>
                <a:gd name="connsiteX20" fmla="*/ 77269 w 155007"/>
                <a:gd name="connsiteY20" fmla="*/ 10524 h 153742"/>
                <a:gd name="connsiteX21" fmla="*/ 81079 w 155007"/>
                <a:gd name="connsiteY21" fmla="*/ 143238 h 153742"/>
                <a:gd name="connsiteX22" fmla="*/ 46154 w 155007"/>
                <a:gd name="connsiteY22" fmla="*/ 110853 h 153742"/>
                <a:gd name="connsiteX23" fmla="*/ 79174 w 155007"/>
                <a:gd name="connsiteY23" fmla="*/ 77833 h 153742"/>
                <a:gd name="connsiteX24" fmla="*/ 115369 w 155007"/>
                <a:gd name="connsiteY24" fmla="*/ 110218 h 153742"/>
                <a:gd name="connsiteX25" fmla="*/ 81079 w 155007"/>
                <a:gd name="connsiteY25" fmla="*/ 143238 h 15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5007" h="153742">
                  <a:moveTo>
                    <a:pt x="132514" y="74024"/>
                  </a:moveTo>
                  <a:cubicBezTo>
                    <a:pt x="131879" y="73388"/>
                    <a:pt x="131244" y="73388"/>
                    <a:pt x="130609" y="72118"/>
                  </a:cubicBezTo>
                  <a:cubicBezTo>
                    <a:pt x="130609" y="71483"/>
                    <a:pt x="131244" y="70849"/>
                    <a:pt x="132514" y="69578"/>
                  </a:cubicBezTo>
                  <a:cubicBezTo>
                    <a:pt x="140134" y="64499"/>
                    <a:pt x="151564" y="58149"/>
                    <a:pt x="150929" y="39733"/>
                  </a:cubicBezTo>
                  <a:cubicBezTo>
                    <a:pt x="150294" y="20049"/>
                    <a:pt x="127434" y="-1542"/>
                    <a:pt x="74729" y="-272"/>
                  </a:cubicBezTo>
                  <a:cubicBezTo>
                    <a:pt x="48059" y="363"/>
                    <a:pt x="22024" y="8618"/>
                    <a:pt x="7419" y="21953"/>
                  </a:cubicBezTo>
                  <a:cubicBezTo>
                    <a:pt x="4879" y="23858"/>
                    <a:pt x="-836" y="28938"/>
                    <a:pt x="-201" y="30843"/>
                  </a:cubicBezTo>
                  <a:cubicBezTo>
                    <a:pt x="-201" y="32113"/>
                    <a:pt x="1069" y="33383"/>
                    <a:pt x="2974" y="35288"/>
                  </a:cubicBezTo>
                  <a:cubicBezTo>
                    <a:pt x="5514" y="37828"/>
                    <a:pt x="9324" y="42274"/>
                    <a:pt x="9324" y="42274"/>
                  </a:cubicBezTo>
                  <a:lnTo>
                    <a:pt x="9324" y="114028"/>
                  </a:lnTo>
                  <a:cubicBezTo>
                    <a:pt x="7419" y="115933"/>
                    <a:pt x="5514" y="117838"/>
                    <a:pt x="2974" y="120378"/>
                  </a:cubicBezTo>
                  <a:cubicBezTo>
                    <a:pt x="1704" y="121649"/>
                    <a:pt x="-201" y="122918"/>
                    <a:pt x="-201" y="124824"/>
                  </a:cubicBezTo>
                  <a:cubicBezTo>
                    <a:pt x="-201" y="126093"/>
                    <a:pt x="6149" y="131174"/>
                    <a:pt x="8689" y="133078"/>
                  </a:cubicBezTo>
                  <a:cubicBezTo>
                    <a:pt x="18849" y="140699"/>
                    <a:pt x="43614" y="152128"/>
                    <a:pt x="77904" y="153399"/>
                  </a:cubicBezTo>
                  <a:cubicBezTo>
                    <a:pt x="121084" y="154033"/>
                    <a:pt x="154739" y="138793"/>
                    <a:pt x="154739" y="108949"/>
                  </a:cubicBezTo>
                  <a:cubicBezTo>
                    <a:pt x="155374" y="90533"/>
                    <a:pt x="140134" y="79103"/>
                    <a:pt x="132514" y="74024"/>
                  </a:cubicBezTo>
                  <a:moveTo>
                    <a:pt x="77269" y="10524"/>
                  </a:moveTo>
                  <a:cubicBezTo>
                    <a:pt x="88699" y="10524"/>
                    <a:pt x="111559" y="11793"/>
                    <a:pt x="110924" y="40368"/>
                  </a:cubicBezTo>
                  <a:cubicBezTo>
                    <a:pt x="110289" y="63863"/>
                    <a:pt x="96954" y="70849"/>
                    <a:pt x="79174" y="70849"/>
                  </a:cubicBezTo>
                  <a:cubicBezTo>
                    <a:pt x="60124" y="70213"/>
                    <a:pt x="47424" y="64499"/>
                    <a:pt x="46789" y="41003"/>
                  </a:cubicBezTo>
                  <a:cubicBezTo>
                    <a:pt x="45519" y="14968"/>
                    <a:pt x="64569" y="10524"/>
                    <a:pt x="77269" y="10524"/>
                  </a:cubicBezTo>
                  <a:moveTo>
                    <a:pt x="81079" y="143238"/>
                  </a:moveTo>
                  <a:cubicBezTo>
                    <a:pt x="60759" y="142603"/>
                    <a:pt x="47424" y="136253"/>
                    <a:pt x="46154" y="110853"/>
                  </a:cubicBezTo>
                  <a:cubicBezTo>
                    <a:pt x="44884" y="84183"/>
                    <a:pt x="65839" y="78468"/>
                    <a:pt x="79174" y="77833"/>
                  </a:cubicBezTo>
                  <a:cubicBezTo>
                    <a:pt x="91239" y="77833"/>
                    <a:pt x="116004" y="79103"/>
                    <a:pt x="115369" y="110218"/>
                  </a:cubicBezTo>
                  <a:cubicBezTo>
                    <a:pt x="114099" y="136253"/>
                    <a:pt x="100129" y="143874"/>
                    <a:pt x="81079" y="143238"/>
                  </a:cubicBezTo>
                </a:path>
              </a:pathLst>
            </a:custGeom>
            <a:solidFill>
              <a:srgbClr val="FFFFFF"/>
            </a:solidFill>
            <a:ln w="6350" cap="flat">
              <a:noFill/>
              <a:prstDash val="solid"/>
              <a:miter/>
            </a:ln>
          </p:spPr>
          <p:txBody>
            <a:bodyPr rtlCol="0" anchor="ctr"/>
            <a:lstStyle/>
            <a:p>
              <a:endParaRPr lang="en-GB"/>
            </a:p>
          </p:txBody>
        </p:sp>
        <p:sp>
          <p:nvSpPr>
            <p:cNvPr id="130" name="Freeform 129">
              <a:extLst>
                <a:ext uri="{FF2B5EF4-FFF2-40B4-BE49-F238E27FC236}">
                  <a16:creationId xmlns:a16="http://schemas.microsoft.com/office/drawing/2014/main" id="{8F24BB31-94FD-B8CD-B479-E731F1144AD8}"/>
                </a:ext>
              </a:extLst>
            </p:cNvPr>
            <p:cNvSpPr/>
            <p:nvPr/>
          </p:nvSpPr>
          <p:spPr>
            <a:xfrm>
              <a:off x="4590415" y="3374390"/>
              <a:ext cx="93979" cy="95250"/>
            </a:xfrm>
            <a:custGeom>
              <a:avLst/>
              <a:gdLst>
                <a:gd name="connsiteX0" fmla="*/ 37215 w 93979"/>
                <a:gd name="connsiteY0" fmla="*/ 65715 h 95250"/>
                <a:gd name="connsiteX1" fmla="*/ -250 w 93979"/>
                <a:gd name="connsiteY1" fmla="*/ 87940 h 95250"/>
                <a:gd name="connsiteX2" fmla="*/ 1655 w 93979"/>
                <a:gd name="connsiteY2" fmla="*/ 91115 h 95250"/>
                <a:gd name="connsiteX3" fmla="*/ 2925 w 93979"/>
                <a:gd name="connsiteY3" fmla="*/ 94925 h 95250"/>
                <a:gd name="connsiteX4" fmla="*/ 41660 w 93979"/>
                <a:gd name="connsiteY4" fmla="*/ 71430 h 95250"/>
                <a:gd name="connsiteX5" fmla="*/ 93730 w 93979"/>
                <a:gd name="connsiteY5" fmla="*/ -325 h 95250"/>
                <a:gd name="connsiteX6" fmla="*/ 86110 w 93979"/>
                <a:gd name="connsiteY6" fmla="*/ 310 h 95250"/>
                <a:gd name="connsiteX7" fmla="*/ 37215 w 93979"/>
                <a:gd name="connsiteY7" fmla="*/ 6571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979" h="95250">
                  <a:moveTo>
                    <a:pt x="37215" y="65715"/>
                  </a:moveTo>
                  <a:cubicBezTo>
                    <a:pt x="25785" y="74605"/>
                    <a:pt x="13085" y="82225"/>
                    <a:pt x="-250" y="87940"/>
                  </a:cubicBezTo>
                  <a:lnTo>
                    <a:pt x="1655" y="91115"/>
                  </a:lnTo>
                  <a:cubicBezTo>
                    <a:pt x="1655" y="91115"/>
                    <a:pt x="2290" y="92385"/>
                    <a:pt x="2925" y="94925"/>
                  </a:cubicBezTo>
                  <a:cubicBezTo>
                    <a:pt x="16895" y="88575"/>
                    <a:pt x="30230" y="80955"/>
                    <a:pt x="41660" y="71430"/>
                  </a:cubicBezTo>
                  <a:cubicBezTo>
                    <a:pt x="66425" y="51745"/>
                    <a:pt x="84205" y="26980"/>
                    <a:pt x="93730" y="-325"/>
                  </a:cubicBezTo>
                  <a:cubicBezTo>
                    <a:pt x="91190" y="310"/>
                    <a:pt x="88650" y="310"/>
                    <a:pt x="86110" y="310"/>
                  </a:cubicBezTo>
                  <a:cubicBezTo>
                    <a:pt x="76585" y="25710"/>
                    <a:pt x="60075" y="47935"/>
                    <a:pt x="37215" y="65715"/>
                  </a:cubicBezTo>
                </a:path>
              </a:pathLst>
            </a:custGeom>
            <a:solidFill>
              <a:srgbClr val="FFFFFF"/>
            </a:solidFill>
            <a:ln w="6350" cap="flat">
              <a:noFill/>
              <a:prstDash val="solid"/>
              <a:miter/>
            </a:ln>
          </p:spPr>
          <p:txBody>
            <a:bodyPr rtlCol="0" anchor="ctr"/>
            <a:lstStyle/>
            <a:p>
              <a:endParaRPr lang="en-GB"/>
            </a:p>
          </p:txBody>
        </p:sp>
        <p:sp>
          <p:nvSpPr>
            <p:cNvPr id="131" name="Freeform 130">
              <a:extLst>
                <a:ext uri="{FF2B5EF4-FFF2-40B4-BE49-F238E27FC236}">
                  <a16:creationId xmlns:a16="http://schemas.microsoft.com/office/drawing/2014/main" id="{1BD163A8-B670-3CE0-3F34-E65002BC258F}"/>
                </a:ext>
              </a:extLst>
            </p:cNvPr>
            <p:cNvSpPr/>
            <p:nvPr/>
          </p:nvSpPr>
          <p:spPr>
            <a:xfrm>
              <a:off x="4424045" y="3176270"/>
              <a:ext cx="166370" cy="22225"/>
            </a:xfrm>
            <a:custGeom>
              <a:avLst/>
              <a:gdLst>
                <a:gd name="connsiteX0" fmla="*/ 81665 w 166370"/>
                <a:gd name="connsiteY0" fmla="*/ 7295 h 22225"/>
                <a:gd name="connsiteX1" fmla="*/ 159135 w 166370"/>
                <a:gd name="connsiteY1" fmla="*/ 21900 h 22225"/>
                <a:gd name="connsiteX2" fmla="*/ 166120 w 166370"/>
                <a:gd name="connsiteY2" fmla="*/ 16820 h 22225"/>
                <a:gd name="connsiteX3" fmla="*/ 81665 w 166370"/>
                <a:gd name="connsiteY3" fmla="*/ -325 h 22225"/>
                <a:gd name="connsiteX4" fmla="*/ -250 w 166370"/>
                <a:gd name="connsiteY4" fmla="*/ 15550 h 22225"/>
                <a:gd name="connsiteX5" fmla="*/ 7370 w 166370"/>
                <a:gd name="connsiteY5" fmla="*/ 19995 h 22225"/>
                <a:gd name="connsiteX6" fmla="*/ 81665 w 166370"/>
                <a:gd name="connsiteY6" fmla="*/ 7295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370" h="22225">
                  <a:moveTo>
                    <a:pt x="81665" y="7295"/>
                  </a:moveTo>
                  <a:cubicBezTo>
                    <a:pt x="108970" y="7295"/>
                    <a:pt x="135005" y="12375"/>
                    <a:pt x="159135" y="21900"/>
                  </a:cubicBezTo>
                  <a:cubicBezTo>
                    <a:pt x="161040" y="19995"/>
                    <a:pt x="163580" y="18090"/>
                    <a:pt x="166120" y="16820"/>
                  </a:cubicBezTo>
                  <a:cubicBezTo>
                    <a:pt x="140085" y="6025"/>
                    <a:pt x="111510" y="-325"/>
                    <a:pt x="81665" y="-325"/>
                  </a:cubicBezTo>
                  <a:cubicBezTo>
                    <a:pt x="51820" y="-325"/>
                    <a:pt x="25150" y="5390"/>
                    <a:pt x="-250" y="15550"/>
                  </a:cubicBezTo>
                  <a:cubicBezTo>
                    <a:pt x="2290" y="16820"/>
                    <a:pt x="4830" y="18090"/>
                    <a:pt x="7370" y="19995"/>
                  </a:cubicBezTo>
                  <a:cubicBezTo>
                    <a:pt x="30865" y="11740"/>
                    <a:pt x="55630" y="7295"/>
                    <a:pt x="81665" y="7295"/>
                  </a:cubicBezTo>
                </a:path>
              </a:pathLst>
            </a:custGeom>
            <a:solidFill>
              <a:srgbClr val="FFFFFF"/>
            </a:solidFill>
            <a:ln w="6350" cap="flat">
              <a:noFill/>
              <a:prstDash val="solid"/>
              <a:miter/>
            </a:ln>
          </p:spPr>
          <p:txBody>
            <a:bodyPr rtlCol="0" anchor="ctr"/>
            <a:lstStyle/>
            <a:p>
              <a:endParaRPr lang="en-GB"/>
            </a:p>
          </p:txBody>
        </p:sp>
        <p:sp>
          <p:nvSpPr>
            <p:cNvPr id="132" name="Freeform 131">
              <a:extLst>
                <a:ext uri="{FF2B5EF4-FFF2-40B4-BE49-F238E27FC236}">
                  <a16:creationId xmlns:a16="http://schemas.microsoft.com/office/drawing/2014/main" id="{CCC496A4-6F9B-C2B2-5B24-85D7818E6240}"/>
                </a:ext>
              </a:extLst>
            </p:cNvPr>
            <p:cNvSpPr/>
            <p:nvPr/>
          </p:nvSpPr>
          <p:spPr>
            <a:xfrm>
              <a:off x="4327525" y="3373120"/>
              <a:ext cx="99059" cy="99059"/>
            </a:xfrm>
            <a:custGeom>
              <a:avLst/>
              <a:gdLst>
                <a:gd name="connsiteX0" fmla="*/ 8005 w 99059"/>
                <a:gd name="connsiteY0" fmla="*/ 1580 h 99059"/>
                <a:gd name="connsiteX1" fmla="*/ -250 w 99059"/>
                <a:gd name="connsiteY1" fmla="*/ -325 h 99059"/>
                <a:gd name="connsiteX2" fmla="*/ 52455 w 99059"/>
                <a:gd name="connsiteY2" fmla="*/ 73335 h 99059"/>
                <a:gd name="connsiteX3" fmla="*/ 96270 w 99059"/>
                <a:gd name="connsiteY3" fmla="*/ 98735 h 99059"/>
                <a:gd name="connsiteX4" fmla="*/ 98175 w 99059"/>
                <a:gd name="connsiteY4" fmla="*/ 92385 h 99059"/>
                <a:gd name="connsiteX5" fmla="*/ 98810 w 99059"/>
                <a:gd name="connsiteY5" fmla="*/ 91750 h 99059"/>
                <a:gd name="connsiteX6" fmla="*/ 56900 w 99059"/>
                <a:gd name="connsiteY6" fmla="*/ 67620 h 99059"/>
                <a:gd name="connsiteX7" fmla="*/ 8005 w 99059"/>
                <a:gd name="connsiteY7" fmla="*/ 1580 h 99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059" h="99059">
                  <a:moveTo>
                    <a:pt x="8005" y="1580"/>
                  </a:moveTo>
                  <a:cubicBezTo>
                    <a:pt x="3560" y="1580"/>
                    <a:pt x="1020" y="310"/>
                    <a:pt x="-250" y="-325"/>
                  </a:cubicBezTo>
                  <a:cubicBezTo>
                    <a:pt x="8640" y="27615"/>
                    <a:pt x="27055" y="53650"/>
                    <a:pt x="52455" y="73335"/>
                  </a:cubicBezTo>
                  <a:cubicBezTo>
                    <a:pt x="65790" y="83495"/>
                    <a:pt x="80395" y="92385"/>
                    <a:pt x="96270" y="98735"/>
                  </a:cubicBezTo>
                  <a:cubicBezTo>
                    <a:pt x="96270" y="96830"/>
                    <a:pt x="96905" y="94925"/>
                    <a:pt x="98175" y="92385"/>
                  </a:cubicBezTo>
                  <a:cubicBezTo>
                    <a:pt x="98175" y="92385"/>
                    <a:pt x="98175" y="91750"/>
                    <a:pt x="98810" y="91750"/>
                  </a:cubicBezTo>
                  <a:cubicBezTo>
                    <a:pt x="83570" y="85400"/>
                    <a:pt x="69600" y="77145"/>
                    <a:pt x="56900" y="67620"/>
                  </a:cubicBezTo>
                  <a:cubicBezTo>
                    <a:pt x="33405" y="49205"/>
                    <a:pt x="16895" y="26345"/>
                    <a:pt x="8005" y="1580"/>
                  </a:cubicBezTo>
                </a:path>
              </a:pathLst>
            </a:custGeom>
            <a:solidFill>
              <a:srgbClr val="FFFFFF"/>
            </a:solidFill>
            <a:ln w="6350" cap="flat">
              <a:noFill/>
              <a:prstDash val="solid"/>
              <a:miter/>
            </a:ln>
          </p:spPr>
          <p:txBody>
            <a:bodyPr rtlCol="0" anchor="ctr"/>
            <a:lstStyle/>
            <a:p>
              <a:endParaRPr lang="en-GB"/>
            </a:p>
          </p:txBody>
        </p:sp>
        <p:sp>
          <p:nvSpPr>
            <p:cNvPr id="133" name="Freeform 132">
              <a:extLst>
                <a:ext uri="{FF2B5EF4-FFF2-40B4-BE49-F238E27FC236}">
                  <a16:creationId xmlns:a16="http://schemas.microsoft.com/office/drawing/2014/main" id="{D5CCEF39-8D4D-4F7C-2FA2-CAD39A1EA1EA}"/>
                </a:ext>
              </a:extLst>
            </p:cNvPr>
            <p:cNvSpPr/>
            <p:nvPr/>
          </p:nvSpPr>
          <p:spPr>
            <a:xfrm>
              <a:off x="4570095" y="3369945"/>
              <a:ext cx="99695" cy="86995"/>
            </a:xfrm>
            <a:custGeom>
              <a:avLst/>
              <a:gdLst>
                <a:gd name="connsiteX0" fmla="*/ 99445 w 99695"/>
                <a:gd name="connsiteY0" fmla="*/ 4755 h 86995"/>
                <a:gd name="connsiteX1" fmla="*/ 85475 w 99695"/>
                <a:gd name="connsiteY1" fmla="*/ -325 h 86995"/>
                <a:gd name="connsiteX2" fmla="*/ 84205 w 99695"/>
                <a:gd name="connsiteY2" fmla="*/ 3485 h 86995"/>
                <a:gd name="connsiteX3" fmla="*/ 70870 w 99695"/>
                <a:gd name="connsiteY3" fmla="*/ 9200 h 86995"/>
                <a:gd name="connsiteX4" fmla="*/ 68330 w 99695"/>
                <a:gd name="connsiteY4" fmla="*/ 9200 h 86995"/>
                <a:gd name="connsiteX5" fmla="*/ 62615 w 99695"/>
                <a:gd name="connsiteY5" fmla="*/ 7930 h 86995"/>
                <a:gd name="connsiteX6" fmla="*/ 60075 w 99695"/>
                <a:gd name="connsiteY6" fmla="*/ 7295 h 86995"/>
                <a:gd name="connsiteX7" fmla="*/ -250 w 99695"/>
                <a:gd name="connsiteY7" fmla="*/ 56825 h 86995"/>
                <a:gd name="connsiteX8" fmla="*/ 385 w 99695"/>
                <a:gd name="connsiteY8" fmla="*/ 60635 h 86995"/>
                <a:gd name="connsiteX9" fmla="*/ 15625 w 99695"/>
                <a:gd name="connsiteY9" fmla="*/ 86670 h 86995"/>
                <a:gd name="connsiteX10" fmla="*/ 52455 w 99695"/>
                <a:gd name="connsiteY10" fmla="*/ 65080 h 86995"/>
                <a:gd name="connsiteX11" fmla="*/ 99445 w 99695"/>
                <a:gd name="connsiteY11" fmla="*/ 475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695" h="86995">
                  <a:moveTo>
                    <a:pt x="99445" y="4755"/>
                  </a:moveTo>
                  <a:cubicBezTo>
                    <a:pt x="94365" y="4120"/>
                    <a:pt x="89920" y="2215"/>
                    <a:pt x="85475" y="-325"/>
                  </a:cubicBezTo>
                  <a:cubicBezTo>
                    <a:pt x="84840" y="945"/>
                    <a:pt x="84840" y="2215"/>
                    <a:pt x="84205" y="3485"/>
                  </a:cubicBezTo>
                  <a:cubicBezTo>
                    <a:pt x="81665" y="8565"/>
                    <a:pt x="75950" y="9835"/>
                    <a:pt x="70870" y="9200"/>
                  </a:cubicBezTo>
                  <a:cubicBezTo>
                    <a:pt x="70235" y="9200"/>
                    <a:pt x="69600" y="9200"/>
                    <a:pt x="68330" y="9200"/>
                  </a:cubicBezTo>
                  <a:cubicBezTo>
                    <a:pt x="66425" y="9200"/>
                    <a:pt x="64520" y="8565"/>
                    <a:pt x="62615" y="7930"/>
                  </a:cubicBezTo>
                  <a:cubicBezTo>
                    <a:pt x="61980" y="7930"/>
                    <a:pt x="61345" y="7295"/>
                    <a:pt x="60075" y="7295"/>
                  </a:cubicBezTo>
                  <a:cubicBezTo>
                    <a:pt x="47375" y="28885"/>
                    <a:pt x="26420" y="46030"/>
                    <a:pt x="-250" y="56825"/>
                  </a:cubicBezTo>
                  <a:cubicBezTo>
                    <a:pt x="-250" y="58095"/>
                    <a:pt x="-250" y="59365"/>
                    <a:pt x="385" y="60635"/>
                  </a:cubicBezTo>
                  <a:lnTo>
                    <a:pt x="15625" y="86670"/>
                  </a:lnTo>
                  <a:cubicBezTo>
                    <a:pt x="28960" y="80955"/>
                    <a:pt x="41025" y="73335"/>
                    <a:pt x="52455" y="65080"/>
                  </a:cubicBezTo>
                  <a:cubicBezTo>
                    <a:pt x="75315" y="48570"/>
                    <a:pt x="90555" y="27615"/>
                    <a:pt x="99445" y="4755"/>
                  </a:cubicBezTo>
                </a:path>
              </a:pathLst>
            </a:custGeom>
            <a:solidFill>
              <a:srgbClr val="FFFFFF"/>
            </a:solidFill>
            <a:ln w="6350" cap="flat">
              <a:noFill/>
              <a:prstDash val="solid"/>
              <a:miter/>
            </a:ln>
          </p:spPr>
          <p:txBody>
            <a:bodyPr rtlCol="0" anchor="ctr"/>
            <a:lstStyle/>
            <a:p>
              <a:endParaRPr lang="en-GB"/>
            </a:p>
          </p:txBody>
        </p:sp>
        <p:sp>
          <p:nvSpPr>
            <p:cNvPr id="134" name="Freeform 133">
              <a:extLst>
                <a:ext uri="{FF2B5EF4-FFF2-40B4-BE49-F238E27FC236}">
                  <a16:creationId xmlns:a16="http://schemas.microsoft.com/office/drawing/2014/main" id="{C556E429-B15D-2EA0-BA2A-8E3C428C5A15}"/>
                </a:ext>
              </a:extLst>
            </p:cNvPr>
            <p:cNvSpPr/>
            <p:nvPr/>
          </p:nvSpPr>
          <p:spPr>
            <a:xfrm>
              <a:off x="4398833" y="3190240"/>
              <a:ext cx="219968" cy="80009"/>
            </a:xfrm>
            <a:custGeom>
              <a:avLst/>
              <a:gdLst>
                <a:gd name="connsiteX0" fmla="*/ 29407 w 219968"/>
                <a:gd name="connsiteY0" fmla="*/ 38410 h 80009"/>
                <a:gd name="connsiteX1" fmla="*/ 19247 w 219968"/>
                <a:gd name="connsiteY1" fmla="*/ 49205 h 80009"/>
                <a:gd name="connsiteX2" fmla="*/ 12897 w 219968"/>
                <a:gd name="connsiteY2" fmla="*/ 55555 h 80009"/>
                <a:gd name="connsiteX3" fmla="*/ 11627 w 219968"/>
                <a:gd name="connsiteY3" fmla="*/ 56825 h 80009"/>
                <a:gd name="connsiteX4" fmla="*/ 197 w 219968"/>
                <a:gd name="connsiteY4" fmla="*/ 77145 h 80009"/>
                <a:gd name="connsiteX5" fmla="*/ 832 w 219968"/>
                <a:gd name="connsiteY5" fmla="*/ 77780 h 80009"/>
                <a:gd name="connsiteX6" fmla="*/ 1467 w 219968"/>
                <a:gd name="connsiteY6" fmla="*/ 79050 h 80009"/>
                <a:gd name="connsiteX7" fmla="*/ 109417 w 219968"/>
                <a:gd name="connsiteY7" fmla="*/ 36505 h 80009"/>
                <a:gd name="connsiteX8" fmla="*/ 218002 w 219968"/>
                <a:gd name="connsiteY8" fmla="*/ 79685 h 80009"/>
                <a:gd name="connsiteX9" fmla="*/ 218637 w 219968"/>
                <a:gd name="connsiteY9" fmla="*/ 78415 h 80009"/>
                <a:gd name="connsiteX10" fmla="*/ 219272 w 219968"/>
                <a:gd name="connsiteY10" fmla="*/ 77780 h 80009"/>
                <a:gd name="connsiteX11" fmla="*/ 207842 w 219968"/>
                <a:gd name="connsiteY11" fmla="*/ 57460 h 80009"/>
                <a:gd name="connsiteX12" fmla="*/ 206572 w 219968"/>
                <a:gd name="connsiteY12" fmla="*/ 56190 h 80009"/>
                <a:gd name="connsiteX13" fmla="*/ 200222 w 219968"/>
                <a:gd name="connsiteY13" fmla="*/ 49840 h 80009"/>
                <a:gd name="connsiteX14" fmla="*/ 190062 w 219968"/>
                <a:gd name="connsiteY14" fmla="*/ 39045 h 80009"/>
                <a:gd name="connsiteX15" fmla="*/ 189427 w 219968"/>
                <a:gd name="connsiteY15" fmla="*/ 37775 h 80009"/>
                <a:gd name="connsiteX16" fmla="*/ 180537 w 219968"/>
                <a:gd name="connsiteY16" fmla="*/ 18725 h 80009"/>
                <a:gd name="connsiteX17" fmla="*/ 181807 w 219968"/>
                <a:gd name="connsiteY17" fmla="*/ 13645 h 80009"/>
                <a:gd name="connsiteX18" fmla="*/ 108147 w 219968"/>
                <a:gd name="connsiteY18" fmla="*/ -325 h 80009"/>
                <a:gd name="connsiteX19" fmla="*/ 38297 w 219968"/>
                <a:gd name="connsiteY19" fmla="*/ 11740 h 80009"/>
                <a:gd name="connsiteX20" fmla="*/ 40202 w 219968"/>
                <a:gd name="connsiteY20" fmla="*/ 18725 h 80009"/>
                <a:gd name="connsiteX21" fmla="*/ 31312 w 219968"/>
                <a:gd name="connsiteY21" fmla="*/ 37775 h 80009"/>
                <a:gd name="connsiteX22" fmla="*/ 29407 w 219968"/>
                <a:gd name="connsiteY22" fmla="*/ 38410 h 80009"/>
                <a:gd name="connsiteX23" fmla="*/ 29407 w 219968"/>
                <a:gd name="connsiteY23" fmla="*/ 38410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9968" h="80009">
                  <a:moveTo>
                    <a:pt x="29407" y="38410"/>
                  </a:moveTo>
                  <a:cubicBezTo>
                    <a:pt x="26232" y="42220"/>
                    <a:pt x="22422" y="45395"/>
                    <a:pt x="19247" y="49205"/>
                  </a:cubicBezTo>
                  <a:cubicBezTo>
                    <a:pt x="16707" y="51110"/>
                    <a:pt x="14802" y="53650"/>
                    <a:pt x="12897" y="55555"/>
                  </a:cubicBezTo>
                  <a:cubicBezTo>
                    <a:pt x="12262" y="56190"/>
                    <a:pt x="12262" y="56190"/>
                    <a:pt x="11627" y="56825"/>
                  </a:cubicBezTo>
                  <a:cubicBezTo>
                    <a:pt x="6547" y="61905"/>
                    <a:pt x="-2343" y="71430"/>
                    <a:pt x="197" y="77145"/>
                  </a:cubicBezTo>
                  <a:cubicBezTo>
                    <a:pt x="197" y="77145"/>
                    <a:pt x="197" y="77780"/>
                    <a:pt x="832" y="77780"/>
                  </a:cubicBezTo>
                  <a:cubicBezTo>
                    <a:pt x="832" y="78415"/>
                    <a:pt x="1467" y="78415"/>
                    <a:pt x="1467" y="79050"/>
                  </a:cubicBezTo>
                  <a:cubicBezTo>
                    <a:pt x="26232" y="53015"/>
                    <a:pt x="65602" y="36505"/>
                    <a:pt x="109417" y="36505"/>
                  </a:cubicBezTo>
                  <a:cubicBezTo>
                    <a:pt x="153867" y="36505"/>
                    <a:pt x="193237" y="53650"/>
                    <a:pt x="218002" y="79685"/>
                  </a:cubicBezTo>
                  <a:cubicBezTo>
                    <a:pt x="218002" y="79050"/>
                    <a:pt x="218637" y="79050"/>
                    <a:pt x="218637" y="78415"/>
                  </a:cubicBezTo>
                  <a:cubicBezTo>
                    <a:pt x="218637" y="78415"/>
                    <a:pt x="218637" y="77780"/>
                    <a:pt x="219272" y="77780"/>
                  </a:cubicBezTo>
                  <a:cubicBezTo>
                    <a:pt x="221812" y="72065"/>
                    <a:pt x="212922" y="62540"/>
                    <a:pt x="207842" y="57460"/>
                  </a:cubicBezTo>
                  <a:cubicBezTo>
                    <a:pt x="207207" y="56825"/>
                    <a:pt x="207207" y="56190"/>
                    <a:pt x="206572" y="56190"/>
                  </a:cubicBezTo>
                  <a:cubicBezTo>
                    <a:pt x="204667" y="54285"/>
                    <a:pt x="202127" y="51745"/>
                    <a:pt x="200222" y="49840"/>
                  </a:cubicBezTo>
                  <a:cubicBezTo>
                    <a:pt x="197047" y="46665"/>
                    <a:pt x="193237" y="42855"/>
                    <a:pt x="190062" y="39045"/>
                  </a:cubicBezTo>
                  <a:lnTo>
                    <a:pt x="189427" y="37775"/>
                  </a:lnTo>
                  <a:cubicBezTo>
                    <a:pt x="185617" y="33330"/>
                    <a:pt x="179902" y="26980"/>
                    <a:pt x="180537" y="18725"/>
                  </a:cubicBezTo>
                  <a:cubicBezTo>
                    <a:pt x="180537" y="16820"/>
                    <a:pt x="181172" y="14915"/>
                    <a:pt x="181807" y="13645"/>
                  </a:cubicBezTo>
                  <a:cubicBezTo>
                    <a:pt x="158947" y="4755"/>
                    <a:pt x="133547" y="-325"/>
                    <a:pt x="108147" y="-325"/>
                  </a:cubicBezTo>
                  <a:cubicBezTo>
                    <a:pt x="84017" y="-325"/>
                    <a:pt x="59887" y="4120"/>
                    <a:pt x="38297" y="11740"/>
                  </a:cubicBezTo>
                  <a:cubicBezTo>
                    <a:pt x="39567" y="13645"/>
                    <a:pt x="40202" y="16185"/>
                    <a:pt x="40202" y="18725"/>
                  </a:cubicBezTo>
                  <a:cubicBezTo>
                    <a:pt x="40837" y="26980"/>
                    <a:pt x="35122" y="33330"/>
                    <a:pt x="31312" y="37775"/>
                  </a:cubicBezTo>
                  <a:lnTo>
                    <a:pt x="29407" y="38410"/>
                  </a:lnTo>
                  <a:lnTo>
                    <a:pt x="29407" y="38410"/>
                  </a:lnTo>
                  <a:close/>
                </a:path>
              </a:pathLst>
            </a:custGeom>
            <a:solidFill>
              <a:srgbClr val="FFFFFF"/>
            </a:solidFill>
            <a:ln w="6350" cap="flat">
              <a:noFill/>
              <a:prstDash val="solid"/>
              <a:miter/>
            </a:ln>
          </p:spPr>
          <p:txBody>
            <a:bodyPr rtlCol="0" anchor="ctr"/>
            <a:lstStyle/>
            <a:p>
              <a:endParaRPr lang="en-GB"/>
            </a:p>
          </p:txBody>
        </p:sp>
        <p:sp>
          <p:nvSpPr>
            <p:cNvPr id="135" name="Freeform 134">
              <a:extLst>
                <a:ext uri="{FF2B5EF4-FFF2-40B4-BE49-F238E27FC236}">
                  <a16:creationId xmlns:a16="http://schemas.microsoft.com/office/drawing/2014/main" id="{B0F63055-3992-CC83-6531-A75E68D103C0}"/>
                </a:ext>
              </a:extLst>
            </p:cNvPr>
            <p:cNvSpPr/>
            <p:nvPr/>
          </p:nvSpPr>
          <p:spPr>
            <a:xfrm>
              <a:off x="4341495" y="3368675"/>
              <a:ext cx="106045" cy="90170"/>
            </a:xfrm>
            <a:custGeom>
              <a:avLst/>
              <a:gdLst>
                <a:gd name="connsiteX0" fmla="*/ 105795 w 106045"/>
                <a:gd name="connsiteY0" fmla="*/ 59365 h 90170"/>
                <a:gd name="connsiteX1" fmla="*/ 41025 w 106045"/>
                <a:gd name="connsiteY1" fmla="*/ 4755 h 90170"/>
                <a:gd name="connsiteX2" fmla="*/ 30865 w 106045"/>
                <a:gd name="connsiteY2" fmla="*/ 7295 h 90170"/>
                <a:gd name="connsiteX3" fmla="*/ 26420 w 106045"/>
                <a:gd name="connsiteY3" fmla="*/ 6660 h 90170"/>
                <a:gd name="connsiteX4" fmla="*/ 20070 w 106045"/>
                <a:gd name="connsiteY4" fmla="*/ 3485 h 90170"/>
                <a:gd name="connsiteX5" fmla="*/ 16895 w 106045"/>
                <a:gd name="connsiteY5" fmla="*/ -325 h 90170"/>
                <a:gd name="connsiteX6" fmla="*/ 1655 w 106045"/>
                <a:gd name="connsiteY6" fmla="*/ 4120 h 90170"/>
                <a:gd name="connsiteX7" fmla="*/ -250 w 106045"/>
                <a:gd name="connsiteY7" fmla="*/ 4755 h 90170"/>
                <a:gd name="connsiteX8" fmla="*/ 46105 w 106045"/>
                <a:gd name="connsiteY8" fmla="*/ 66350 h 90170"/>
                <a:gd name="connsiteX9" fmla="*/ 87380 w 106045"/>
                <a:gd name="connsiteY9" fmla="*/ 89845 h 90170"/>
                <a:gd name="connsiteX10" fmla="*/ 104525 w 106045"/>
                <a:gd name="connsiteY10" fmla="*/ 61905 h 90170"/>
                <a:gd name="connsiteX11" fmla="*/ 105795 w 106045"/>
                <a:gd name="connsiteY11" fmla="*/ 59365 h 90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045" h="90170">
                  <a:moveTo>
                    <a:pt x="105795" y="59365"/>
                  </a:moveTo>
                  <a:cubicBezTo>
                    <a:pt x="76585" y="47935"/>
                    <a:pt x="53725" y="28250"/>
                    <a:pt x="41025" y="4755"/>
                  </a:cubicBezTo>
                  <a:cubicBezTo>
                    <a:pt x="37850" y="6660"/>
                    <a:pt x="34040" y="7295"/>
                    <a:pt x="30865" y="7295"/>
                  </a:cubicBezTo>
                  <a:cubicBezTo>
                    <a:pt x="29595" y="7295"/>
                    <a:pt x="27690" y="7295"/>
                    <a:pt x="26420" y="6660"/>
                  </a:cubicBezTo>
                  <a:cubicBezTo>
                    <a:pt x="23880" y="6025"/>
                    <a:pt x="21975" y="4755"/>
                    <a:pt x="20070" y="3485"/>
                  </a:cubicBezTo>
                  <a:cubicBezTo>
                    <a:pt x="20070" y="3485"/>
                    <a:pt x="18165" y="1580"/>
                    <a:pt x="16895" y="-325"/>
                  </a:cubicBezTo>
                  <a:cubicBezTo>
                    <a:pt x="9910" y="2215"/>
                    <a:pt x="6100" y="2850"/>
                    <a:pt x="1655" y="4120"/>
                  </a:cubicBezTo>
                  <a:cubicBezTo>
                    <a:pt x="1020" y="4120"/>
                    <a:pt x="385" y="4120"/>
                    <a:pt x="-250" y="4755"/>
                  </a:cubicBezTo>
                  <a:cubicBezTo>
                    <a:pt x="8640" y="28250"/>
                    <a:pt x="23880" y="49205"/>
                    <a:pt x="46105" y="66350"/>
                  </a:cubicBezTo>
                  <a:cubicBezTo>
                    <a:pt x="58805" y="75875"/>
                    <a:pt x="72140" y="84130"/>
                    <a:pt x="87380" y="89845"/>
                  </a:cubicBezTo>
                  <a:cubicBezTo>
                    <a:pt x="91825" y="82225"/>
                    <a:pt x="99445" y="70160"/>
                    <a:pt x="104525" y="61905"/>
                  </a:cubicBezTo>
                  <a:cubicBezTo>
                    <a:pt x="104525" y="62540"/>
                    <a:pt x="105795" y="61270"/>
                    <a:pt x="105795" y="59365"/>
                  </a:cubicBezTo>
                </a:path>
              </a:pathLst>
            </a:custGeom>
            <a:solidFill>
              <a:srgbClr val="FFFFFF"/>
            </a:solidFill>
            <a:ln w="6350" cap="flat">
              <a:noFill/>
              <a:prstDash val="solid"/>
              <a:miter/>
            </a:ln>
          </p:spPr>
          <p:txBody>
            <a:bodyPr rtlCol="0" anchor="ctr"/>
            <a:lstStyle/>
            <a:p>
              <a:endParaRPr lang="en-GB"/>
            </a:p>
          </p:txBody>
        </p:sp>
        <p:sp>
          <p:nvSpPr>
            <p:cNvPr id="136" name="Freeform 135">
              <a:extLst>
                <a:ext uri="{FF2B5EF4-FFF2-40B4-BE49-F238E27FC236}">
                  <a16:creationId xmlns:a16="http://schemas.microsoft.com/office/drawing/2014/main" id="{EED69DF1-2344-49B1-74CE-A95BBF020442}"/>
                </a:ext>
              </a:extLst>
            </p:cNvPr>
            <p:cNvSpPr/>
            <p:nvPr/>
          </p:nvSpPr>
          <p:spPr>
            <a:xfrm>
              <a:off x="4520565" y="3438525"/>
              <a:ext cx="18042" cy="50800"/>
            </a:xfrm>
            <a:custGeom>
              <a:avLst/>
              <a:gdLst>
                <a:gd name="connsiteX0" fmla="*/ 10545 w 18042"/>
                <a:gd name="connsiteY0" fmla="*/ 945 h 50800"/>
                <a:gd name="connsiteX1" fmla="*/ 9910 w 18042"/>
                <a:gd name="connsiteY1" fmla="*/ -325 h 50800"/>
                <a:gd name="connsiteX2" fmla="*/ 385 w 18042"/>
                <a:gd name="connsiteY2" fmla="*/ 945 h 50800"/>
                <a:gd name="connsiteX3" fmla="*/ -250 w 18042"/>
                <a:gd name="connsiteY3" fmla="*/ 2850 h 50800"/>
                <a:gd name="connsiteX4" fmla="*/ 1655 w 18042"/>
                <a:gd name="connsiteY4" fmla="*/ 35870 h 50800"/>
                <a:gd name="connsiteX5" fmla="*/ 2925 w 18042"/>
                <a:gd name="connsiteY5" fmla="*/ 44760 h 50800"/>
                <a:gd name="connsiteX6" fmla="*/ 11180 w 18042"/>
                <a:gd name="connsiteY6" fmla="*/ 50475 h 50800"/>
                <a:gd name="connsiteX7" fmla="*/ 17530 w 18042"/>
                <a:gd name="connsiteY7" fmla="*/ 44125 h 50800"/>
                <a:gd name="connsiteX8" fmla="*/ 16895 w 18042"/>
                <a:gd name="connsiteY8" fmla="*/ 33965 h 50800"/>
                <a:gd name="connsiteX9" fmla="*/ 10545 w 18042"/>
                <a:gd name="connsiteY9" fmla="*/ 945 h 5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42" h="50800">
                  <a:moveTo>
                    <a:pt x="10545" y="945"/>
                  </a:moveTo>
                  <a:cubicBezTo>
                    <a:pt x="10545" y="310"/>
                    <a:pt x="9910" y="310"/>
                    <a:pt x="9910" y="-325"/>
                  </a:cubicBezTo>
                  <a:cubicBezTo>
                    <a:pt x="6735" y="310"/>
                    <a:pt x="3560" y="310"/>
                    <a:pt x="385" y="945"/>
                  </a:cubicBezTo>
                  <a:cubicBezTo>
                    <a:pt x="385" y="1580"/>
                    <a:pt x="-250" y="2215"/>
                    <a:pt x="-250" y="2850"/>
                  </a:cubicBezTo>
                  <a:cubicBezTo>
                    <a:pt x="-250" y="5390"/>
                    <a:pt x="1020" y="26980"/>
                    <a:pt x="1655" y="35870"/>
                  </a:cubicBezTo>
                  <a:cubicBezTo>
                    <a:pt x="1655" y="39045"/>
                    <a:pt x="1655" y="42220"/>
                    <a:pt x="2925" y="44760"/>
                  </a:cubicBezTo>
                  <a:cubicBezTo>
                    <a:pt x="3560" y="46665"/>
                    <a:pt x="8640" y="50475"/>
                    <a:pt x="11180" y="50475"/>
                  </a:cubicBezTo>
                  <a:cubicBezTo>
                    <a:pt x="14355" y="49840"/>
                    <a:pt x="16895" y="46665"/>
                    <a:pt x="17530" y="44125"/>
                  </a:cubicBezTo>
                  <a:cubicBezTo>
                    <a:pt x="18165" y="40950"/>
                    <a:pt x="17530" y="37140"/>
                    <a:pt x="16895" y="33965"/>
                  </a:cubicBezTo>
                  <a:cubicBezTo>
                    <a:pt x="15625" y="25075"/>
                    <a:pt x="11815" y="3485"/>
                    <a:pt x="10545" y="945"/>
                  </a:cubicBezTo>
                </a:path>
              </a:pathLst>
            </a:custGeom>
            <a:solidFill>
              <a:srgbClr val="FFFFFF"/>
            </a:solidFill>
            <a:ln w="6350" cap="flat">
              <a:noFill/>
              <a:prstDash val="solid"/>
              <a:miter/>
            </a:ln>
          </p:spPr>
          <p:txBody>
            <a:bodyPr rtlCol="0" anchor="ctr"/>
            <a:lstStyle/>
            <a:p>
              <a:endParaRPr lang="en-GB"/>
            </a:p>
          </p:txBody>
        </p:sp>
        <p:sp>
          <p:nvSpPr>
            <p:cNvPr id="137" name="Freeform 136">
              <a:extLst>
                <a:ext uri="{FF2B5EF4-FFF2-40B4-BE49-F238E27FC236}">
                  <a16:creationId xmlns:a16="http://schemas.microsoft.com/office/drawing/2014/main" id="{27458338-39AD-7D7E-9DA1-3B1134AF9AF9}"/>
                </a:ext>
              </a:extLst>
            </p:cNvPr>
            <p:cNvSpPr/>
            <p:nvPr/>
          </p:nvSpPr>
          <p:spPr>
            <a:xfrm>
              <a:off x="4537709" y="3435350"/>
              <a:ext cx="24765" cy="49186"/>
            </a:xfrm>
            <a:custGeom>
              <a:avLst/>
              <a:gdLst>
                <a:gd name="connsiteX0" fmla="*/ 9910 w 24765"/>
                <a:gd name="connsiteY0" fmla="*/ -325 h 49186"/>
                <a:gd name="connsiteX1" fmla="*/ 9910 w 24765"/>
                <a:gd name="connsiteY1" fmla="*/ -325 h 49186"/>
                <a:gd name="connsiteX2" fmla="*/ -250 w 24765"/>
                <a:gd name="connsiteY2" fmla="*/ 1580 h 49186"/>
                <a:gd name="connsiteX3" fmla="*/ -250 w 24765"/>
                <a:gd name="connsiteY3" fmla="*/ 2850 h 49186"/>
                <a:gd name="connsiteX4" fmla="*/ 7370 w 24765"/>
                <a:gd name="connsiteY4" fmla="*/ 35870 h 49186"/>
                <a:gd name="connsiteX5" fmla="*/ 9910 w 24765"/>
                <a:gd name="connsiteY5" fmla="*/ 44760 h 49186"/>
                <a:gd name="connsiteX6" fmla="*/ 19435 w 24765"/>
                <a:gd name="connsiteY6" fmla="*/ 48570 h 49186"/>
                <a:gd name="connsiteX7" fmla="*/ 24515 w 24765"/>
                <a:gd name="connsiteY7" fmla="*/ 40950 h 49186"/>
                <a:gd name="connsiteX8" fmla="*/ 21975 w 24765"/>
                <a:gd name="connsiteY8" fmla="*/ 30790 h 49186"/>
                <a:gd name="connsiteX9" fmla="*/ 9910 w 24765"/>
                <a:gd name="connsiteY9" fmla="*/ -325 h 49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65" h="49186">
                  <a:moveTo>
                    <a:pt x="9910" y="-325"/>
                  </a:moveTo>
                  <a:cubicBezTo>
                    <a:pt x="9910" y="-325"/>
                    <a:pt x="9910" y="-325"/>
                    <a:pt x="9910" y="-325"/>
                  </a:cubicBezTo>
                  <a:cubicBezTo>
                    <a:pt x="6735" y="310"/>
                    <a:pt x="2925" y="945"/>
                    <a:pt x="-250" y="1580"/>
                  </a:cubicBezTo>
                  <a:cubicBezTo>
                    <a:pt x="-250" y="2215"/>
                    <a:pt x="-250" y="2850"/>
                    <a:pt x="-250" y="2850"/>
                  </a:cubicBezTo>
                  <a:cubicBezTo>
                    <a:pt x="385" y="5390"/>
                    <a:pt x="5465" y="26980"/>
                    <a:pt x="7370" y="35870"/>
                  </a:cubicBezTo>
                  <a:cubicBezTo>
                    <a:pt x="8005" y="39045"/>
                    <a:pt x="8640" y="42220"/>
                    <a:pt x="9910" y="44760"/>
                  </a:cubicBezTo>
                  <a:cubicBezTo>
                    <a:pt x="11180" y="46665"/>
                    <a:pt x="16895" y="49840"/>
                    <a:pt x="19435" y="48570"/>
                  </a:cubicBezTo>
                  <a:cubicBezTo>
                    <a:pt x="22610" y="47300"/>
                    <a:pt x="24515" y="43490"/>
                    <a:pt x="24515" y="40950"/>
                  </a:cubicBezTo>
                  <a:cubicBezTo>
                    <a:pt x="24515" y="37775"/>
                    <a:pt x="22610" y="33965"/>
                    <a:pt x="21975" y="30790"/>
                  </a:cubicBezTo>
                  <a:cubicBezTo>
                    <a:pt x="19435" y="23170"/>
                    <a:pt x="11815" y="1580"/>
                    <a:pt x="9910" y="-325"/>
                  </a:cubicBezTo>
                </a:path>
              </a:pathLst>
            </a:custGeom>
            <a:solidFill>
              <a:srgbClr val="FFFFFF"/>
            </a:solidFill>
            <a:ln w="6350" cap="flat">
              <a:noFill/>
              <a:prstDash val="solid"/>
              <a:miter/>
            </a:ln>
          </p:spPr>
          <p:txBody>
            <a:bodyPr rtlCol="0" anchor="ctr"/>
            <a:lstStyle/>
            <a:p>
              <a:endParaRPr lang="en-GB"/>
            </a:p>
          </p:txBody>
        </p:sp>
        <p:sp>
          <p:nvSpPr>
            <p:cNvPr id="138" name="Freeform 137">
              <a:extLst>
                <a:ext uri="{FF2B5EF4-FFF2-40B4-BE49-F238E27FC236}">
                  <a16:creationId xmlns:a16="http://schemas.microsoft.com/office/drawing/2014/main" id="{A6D19F13-15B1-7C1A-0A06-FF53D8660530}"/>
                </a:ext>
              </a:extLst>
            </p:cNvPr>
            <p:cNvSpPr/>
            <p:nvPr/>
          </p:nvSpPr>
          <p:spPr>
            <a:xfrm>
              <a:off x="4500597" y="3439795"/>
              <a:ext cx="15363" cy="50164"/>
            </a:xfrm>
            <a:custGeom>
              <a:avLst/>
              <a:gdLst>
                <a:gd name="connsiteX0" fmla="*/ 12732 w 15363"/>
                <a:gd name="connsiteY0" fmla="*/ 945 h 50164"/>
                <a:gd name="connsiteX1" fmla="*/ 12097 w 15363"/>
                <a:gd name="connsiteY1" fmla="*/ -325 h 50164"/>
                <a:gd name="connsiteX2" fmla="*/ 7652 w 15363"/>
                <a:gd name="connsiteY2" fmla="*/ -325 h 50164"/>
                <a:gd name="connsiteX3" fmla="*/ 2572 w 15363"/>
                <a:gd name="connsiteY3" fmla="*/ -325 h 50164"/>
                <a:gd name="connsiteX4" fmla="*/ 1937 w 15363"/>
                <a:gd name="connsiteY4" fmla="*/ 1580 h 50164"/>
                <a:gd name="connsiteX5" fmla="*/ 32 w 15363"/>
                <a:gd name="connsiteY5" fmla="*/ 34600 h 50164"/>
                <a:gd name="connsiteX6" fmla="*/ 32 w 15363"/>
                <a:gd name="connsiteY6" fmla="*/ 43490 h 50164"/>
                <a:gd name="connsiteX7" fmla="*/ 7652 w 15363"/>
                <a:gd name="connsiteY7" fmla="*/ 49840 h 50164"/>
                <a:gd name="connsiteX8" fmla="*/ 14637 w 15363"/>
                <a:gd name="connsiteY8" fmla="*/ 44125 h 50164"/>
                <a:gd name="connsiteX9" fmla="*/ 14637 w 15363"/>
                <a:gd name="connsiteY9" fmla="*/ 33965 h 50164"/>
                <a:gd name="connsiteX10" fmla="*/ 12732 w 15363"/>
                <a:gd name="connsiteY10" fmla="*/ 945 h 5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63" h="50164">
                  <a:moveTo>
                    <a:pt x="12732" y="945"/>
                  </a:moveTo>
                  <a:cubicBezTo>
                    <a:pt x="12732" y="310"/>
                    <a:pt x="12097" y="310"/>
                    <a:pt x="12097" y="-325"/>
                  </a:cubicBezTo>
                  <a:cubicBezTo>
                    <a:pt x="10827" y="-325"/>
                    <a:pt x="8922" y="-325"/>
                    <a:pt x="7652" y="-325"/>
                  </a:cubicBezTo>
                  <a:cubicBezTo>
                    <a:pt x="5747" y="-325"/>
                    <a:pt x="4477" y="-325"/>
                    <a:pt x="2572" y="-325"/>
                  </a:cubicBezTo>
                  <a:cubicBezTo>
                    <a:pt x="2572" y="310"/>
                    <a:pt x="1937" y="945"/>
                    <a:pt x="1937" y="1580"/>
                  </a:cubicBezTo>
                  <a:cubicBezTo>
                    <a:pt x="1937" y="4120"/>
                    <a:pt x="32" y="25710"/>
                    <a:pt x="32" y="34600"/>
                  </a:cubicBezTo>
                  <a:cubicBezTo>
                    <a:pt x="32" y="37775"/>
                    <a:pt x="-603" y="40950"/>
                    <a:pt x="32" y="43490"/>
                  </a:cubicBezTo>
                  <a:cubicBezTo>
                    <a:pt x="667" y="45395"/>
                    <a:pt x="5112" y="49840"/>
                    <a:pt x="7652" y="49840"/>
                  </a:cubicBezTo>
                  <a:cubicBezTo>
                    <a:pt x="10827" y="49840"/>
                    <a:pt x="14002" y="46665"/>
                    <a:pt x="14637" y="44125"/>
                  </a:cubicBezTo>
                  <a:cubicBezTo>
                    <a:pt x="15272" y="41585"/>
                    <a:pt x="15272" y="37140"/>
                    <a:pt x="14637" y="33965"/>
                  </a:cubicBezTo>
                  <a:cubicBezTo>
                    <a:pt x="14637" y="25710"/>
                    <a:pt x="13367" y="3485"/>
                    <a:pt x="12732" y="945"/>
                  </a:cubicBezTo>
                </a:path>
              </a:pathLst>
            </a:custGeom>
            <a:solidFill>
              <a:srgbClr val="FFFFFF"/>
            </a:solidFill>
            <a:ln w="6350" cap="flat">
              <a:noFill/>
              <a:prstDash val="solid"/>
              <a:miter/>
            </a:ln>
          </p:spPr>
          <p:txBody>
            <a:bodyPr rtlCol="0" anchor="ctr"/>
            <a:lstStyle/>
            <a:p>
              <a:endParaRPr lang="en-GB"/>
            </a:p>
          </p:txBody>
        </p:sp>
        <p:sp>
          <p:nvSpPr>
            <p:cNvPr id="139" name="Freeform 138">
              <a:extLst>
                <a:ext uri="{FF2B5EF4-FFF2-40B4-BE49-F238E27FC236}">
                  <a16:creationId xmlns:a16="http://schemas.microsoft.com/office/drawing/2014/main" id="{1B9FEC3E-582C-8DAF-7F4A-D1D0BD8FCA3D}"/>
                </a:ext>
              </a:extLst>
            </p:cNvPr>
            <p:cNvSpPr/>
            <p:nvPr/>
          </p:nvSpPr>
          <p:spPr>
            <a:xfrm>
              <a:off x="4477211" y="3437890"/>
              <a:ext cx="19858" cy="50263"/>
            </a:xfrm>
            <a:custGeom>
              <a:avLst/>
              <a:gdLst>
                <a:gd name="connsiteX0" fmla="*/ 18338 w 19858"/>
                <a:gd name="connsiteY0" fmla="*/ 945 h 50263"/>
                <a:gd name="connsiteX1" fmla="*/ 8813 w 19858"/>
                <a:gd name="connsiteY1" fmla="*/ -325 h 50263"/>
                <a:gd name="connsiteX2" fmla="*/ 8178 w 19858"/>
                <a:gd name="connsiteY2" fmla="*/ 945 h 50263"/>
                <a:gd name="connsiteX3" fmla="*/ 1193 w 19858"/>
                <a:gd name="connsiteY3" fmla="*/ 33330 h 50263"/>
                <a:gd name="connsiteX4" fmla="*/ -77 w 19858"/>
                <a:gd name="connsiteY4" fmla="*/ 42220 h 50263"/>
                <a:gd name="connsiteX5" fmla="*/ 6908 w 19858"/>
                <a:gd name="connsiteY5" fmla="*/ 49840 h 50263"/>
                <a:gd name="connsiteX6" fmla="*/ 15163 w 19858"/>
                <a:gd name="connsiteY6" fmla="*/ 45395 h 50263"/>
                <a:gd name="connsiteX7" fmla="*/ 17068 w 19858"/>
                <a:gd name="connsiteY7" fmla="*/ 35235 h 50263"/>
                <a:gd name="connsiteX8" fmla="*/ 19608 w 19858"/>
                <a:gd name="connsiteY8" fmla="*/ 2215 h 50263"/>
                <a:gd name="connsiteX9" fmla="*/ 18338 w 19858"/>
                <a:gd name="connsiteY9" fmla="*/ 945 h 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58" h="50263">
                  <a:moveTo>
                    <a:pt x="18338" y="945"/>
                  </a:moveTo>
                  <a:cubicBezTo>
                    <a:pt x="15163" y="945"/>
                    <a:pt x="11988" y="310"/>
                    <a:pt x="8813" y="-325"/>
                  </a:cubicBezTo>
                  <a:cubicBezTo>
                    <a:pt x="8813" y="310"/>
                    <a:pt x="8178" y="310"/>
                    <a:pt x="8178" y="945"/>
                  </a:cubicBezTo>
                  <a:cubicBezTo>
                    <a:pt x="7543" y="3485"/>
                    <a:pt x="3098" y="24440"/>
                    <a:pt x="1193" y="33330"/>
                  </a:cubicBezTo>
                  <a:cubicBezTo>
                    <a:pt x="558" y="36505"/>
                    <a:pt x="-712" y="39045"/>
                    <a:pt x="-77" y="42220"/>
                  </a:cubicBezTo>
                  <a:cubicBezTo>
                    <a:pt x="-77" y="44125"/>
                    <a:pt x="4368" y="49205"/>
                    <a:pt x="6908" y="49840"/>
                  </a:cubicBezTo>
                  <a:cubicBezTo>
                    <a:pt x="10083" y="50475"/>
                    <a:pt x="13893" y="47935"/>
                    <a:pt x="15163" y="45395"/>
                  </a:cubicBezTo>
                  <a:cubicBezTo>
                    <a:pt x="16433" y="42855"/>
                    <a:pt x="17068" y="38410"/>
                    <a:pt x="17068" y="35235"/>
                  </a:cubicBezTo>
                  <a:cubicBezTo>
                    <a:pt x="17703" y="26345"/>
                    <a:pt x="19608" y="4755"/>
                    <a:pt x="19608" y="2215"/>
                  </a:cubicBezTo>
                  <a:cubicBezTo>
                    <a:pt x="18973" y="2215"/>
                    <a:pt x="18973" y="1580"/>
                    <a:pt x="18338" y="945"/>
                  </a:cubicBezTo>
                </a:path>
              </a:pathLst>
            </a:custGeom>
            <a:solidFill>
              <a:srgbClr val="FFFFFF"/>
            </a:solidFill>
            <a:ln w="6350" cap="flat">
              <a:noFill/>
              <a:prstDash val="solid"/>
              <a:miter/>
            </a:ln>
          </p:spPr>
          <p:txBody>
            <a:bodyPr rtlCol="0" anchor="ctr"/>
            <a:lstStyle/>
            <a:p>
              <a:endParaRPr lang="en-GB"/>
            </a:p>
          </p:txBody>
        </p:sp>
        <p:sp>
          <p:nvSpPr>
            <p:cNvPr id="140" name="Freeform 139">
              <a:extLst>
                <a:ext uri="{FF2B5EF4-FFF2-40B4-BE49-F238E27FC236}">
                  <a16:creationId xmlns:a16="http://schemas.microsoft.com/office/drawing/2014/main" id="{F496C01C-6F13-8018-15A2-16E9FF71EE75}"/>
                </a:ext>
              </a:extLst>
            </p:cNvPr>
            <p:cNvSpPr/>
            <p:nvPr/>
          </p:nvSpPr>
          <p:spPr>
            <a:xfrm>
              <a:off x="4453890" y="3435350"/>
              <a:ext cx="26034" cy="49236"/>
            </a:xfrm>
            <a:custGeom>
              <a:avLst/>
              <a:gdLst>
                <a:gd name="connsiteX0" fmla="*/ 25150 w 26034"/>
                <a:gd name="connsiteY0" fmla="*/ 1580 h 49236"/>
                <a:gd name="connsiteX1" fmla="*/ 15625 w 26034"/>
                <a:gd name="connsiteY1" fmla="*/ -325 h 49236"/>
                <a:gd name="connsiteX2" fmla="*/ 14990 w 26034"/>
                <a:gd name="connsiteY2" fmla="*/ 945 h 49236"/>
                <a:gd name="connsiteX3" fmla="*/ 2290 w 26034"/>
                <a:gd name="connsiteY3" fmla="*/ 31425 h 49236"/>
                <a:gd name="connsiteX4" fmla="*/ -250 w 26034"/>
                <a:gd name="connsiteY4" fmla="*/ 39680 h 49236"/>
                <a:gd name="connsiteX5" fmla="*/ 4830 w 26034"/>
                <a:gd name="connsiteY5" fmla="*/ 48570 h 49236"/>
                <a:gd name="connsiteX6" fmla="*/ 13720 w 26034"/>
                <a:gd name="connsiteY6" fmla="*/ 45395 h 49236"/>
                <a:gd name="connsiteX7" fmla="*/ 17530 w 26034"/>
                <a:gd name="connsiteY7" fmla="*/ 35870 h 49236"/>
                <a:gd name="connsiteX8" fmla="*/ 25785 w 26034"/>
                <a:gd name="connsiteY8" fmla="*/ 4120 h 49236"/>
                <a:gd name="connsiteX9" fmla="*/ 25150 w 26034"/>
                <a:gd name="connsiteY9" fmla="*/ 1580 h 4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034" h="49236">
                  <a:moveTo>
                    <a:pt x="25150" y="1580"/>
                  </a:moveTo>
                  <a:cubicBezTo>
                    <a:pt x="21975" y="945"/>
                    <a:pt x="18800" y="310"/>
                    <a:pt x="15625" y="-325"/>
                  </a:cubicBezTo>
                  <a:cubicBezTo>
                    <a:pt x="15625" y="310"/>
                    <a:pt x="14990" y="310"/>
                    <a:pt x="14990" y="945"/>
                  </a:cubicBezTo>
                  <a:cubicBezTo>
                    <a:pt x="13720" y="2850"/>
                    <a:pt x="5465" y="23170"/>
                    <a:pt x="2290" y="31425"/>
                  </a:cubicBezTo>
                  <a:cubicBezTo>
                    <a:pt x="1020" y="33965"/>
                    <a:pt x="-250" y="37140"/>
                    <a:pt x="-250" y="39680"/>
                  </a:cubicBezTo>
                  <a:cubicBezTo>
                    <a:pt x="-250" y="41585"/>
                    <a:pt x="2290" y="47300"/>
                    <a:pt x="4830" y="48570"/>
                  </a:cubicBezTo>
                  <a:cubicBezTo>
                    <a:pt x="8005" y="49840"/>
                    <a:pt x="11815" y="47300"/>
                    <a:pt x="13720" y="45395"/>
                  </a:cubicBezTo>
                  <a:cubicBezTo>
                    <a:pt x="15625" y="42855"/>
                    <a:pt x="16895" y="39045"/>
                    <a:pt x="17530" y="35870"/>
                  </a:cubicBezTo>
                  <a:cubicBezTo>
                    <a:pt x="19435" y="27615"/>
                    <a:pt x="25785" y="6660"/>
                    <a:pt x="25785" y="4120"/>
                  </a:cubicBezTo>
                  <a:cubicBezTo>
                    <a:pt x="25785" y="3485"/>
                    <a:pt x="25785" y="2850"/>
                    <a:pt x="25150" y="1580"/>
                  </a:cubicBezTo>
                </a:path>
              </a:pathLst>
            </a:custGeom>
            <a:solidFill>
              <a:srgbClr val="FFFFFF"/>
            </a:solidFill>
            <a:ln w="6350" cap="flat">
              <a:noFill/>
              <a:prstDash val="solid"/>
              <a:miter/>
            </a:ln>
          </p:spPr>
          <p:txBody>
            <a:bodyPr rtlCol="0" anchor="ctr"/>
            <a:lstStyle/>
            <a:p>
              <a:endParaRPr lang="en-GB"/>
            </a:p>
          </p:txBody>
        </p:sp>
        <p:sp>
          <p:nvSpPr>
            <p:cNvPr id="141" name="Freeform 140">
              <a:extLst>
                <a:ext uri="{FF2B5EF4-FFF2-40B4-BE49-F238E27FC236}">
                  <a16:creationId xmlns:a16="http://schemas.microsoft.com/office/drawing/2014/main" id="{CE388855-10A4-5F06-50B4-A5D56F995551}"/>
                </a:ext>
              </a:extLst>
            </p:cNvPr>
            <p:cNvSpPr/>
            <p:nvPr/>
          </p:nvSpPr>
          <p:spPr>
            <a:xfrm>
              <a:off x="4432176" y="3430270"/>
              <a:ext cx="30602" cy="46866"/>
            </a:xfrm>
            <a:custGeom>
              <a:avLst/>
              <a:gdLst>
                <a:gd name="connsiteX0" fmla="*/ 30353 w 30602"/>
                <a:gd name="connsiteY0" fmla="*/ 2850 h 46866"/>
                <a:gd name="connsiteX1" fmla="*/ 21463 w 30602"/>
                <a:gd name="connsiteY1" fmla="*/ -325 h 46866"/>
                <a:gd name="connsiteX2" fmla="*/ 20828 w 30602"/>
                <a:gd name="connsiteY2" fmla="*/ 310 h 46866"/>
                <a:gd name="connsiteX3" fmla="*/ 3683 w 30602"/>
                <a:gd name="connsiteY3" fmla="*/ 28885 h 46866"/>
                <a:gd name="connsiteX4" fmla="*/ -127 w 30602"/>
                <a:gd name="connsiteY4" fmla="*/ 36505 h 46866"/>
                <a:gd name="connsiteX5" fmla="*/ 3683 w 30602"/>
                <a:gd name="connsiteY5" fmla="*/ 46030 h 46866"/>
                <a:gd name="connsiteX6" fmla="*/ 12573 w 30602"/>
                <a:gd name="connsiteY6" fmla="*/ 44125 h 46866"/>
                <a:gd name="connsiteX7" fmla="*/ 17653 w 30602"/>
                <a:gd name="connsiteY7" fmla="*/ 35235 h 46866"/>
                <a:gd name="connsiteX8" fmla="*/ 30353 w 30602"/>
                <a:gd name="connsiteY8" fmla="*/ 4755 h 46866"/>
                <a:gd name="connsiteX9" fmla="*/ 30353 w 30602"/>
                <a:gd name="connsiteY9" fmla="*/ 2850 h 4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02" h="46866">
                  <a:moveTo>
                    <a:pt x="30353" y="2850"/>
                  </a:moveTo>
                  <a:cubicBezTo>
                    <a:pt x="27178" y="2215"/>
                    <a:pt x="24003" y="945"/>
                    <a:pt x="21463" y="-325"/>
                  </a:cubicBezTo>
                  <a:cubicBezTo>
                    <a:pt x="21463" y="-325"/>
                    <a:pt x="20828" y="310"/>
                    <a:pt x="20828" y="310"/>
                  </a:cubicBezTo>
                  <a:cubicBezTo>
                    <a:pt x="19558" y="2215"/>
                    <a:pt x="8128" y="20630"/>
                    <a:pt x="3683" y="28885"/>
                  </a:cubicBezTo>
                  <a:cubicBezTo>
                    <a:pt x="2413" y="31425"/>
                    <a:pt x="508" y="33965"/>
                    <a:pt x="-127" y="36505"/>
                  </a:cubicBezTo>
                  <a:cubicBezTo>
                    <a:pt x="-762" y="38410"/>
                    <a:pt x="1143" y="44760"/>
                    <a:pt x="3683" y="46030"/>
                  </a:cubicBezTo>
                  <a:cubicBezTo>
                    <a:pt x="6223" y="47300"/>
                    <a:pt x="10668" y="46030"/>
                    <a:pt x="12573" y="44125"/>
                  </a:cubicBezTo>
                  <a:cubicBezTo>
                    <a:pt x="14478" y="42220"/>
                    <a:pt x="16383" y="37775"/>
                    <a:pt x="17653" y="35235"/>
                  </a:cubicBezTo>
                  <a:cubicBezTo>
                    <a:pt x="20828" y="26980"/>
                    <a:pt x="30353" y="7295"/>
                    <a:pt x="30353" y="4755"/>
                  </a:cubicBezTo>
                  <a:cubicBezTo>
                    <a:pt x="30353" y="4755"/>
                    <a:pt x="30353" y="4120"/>
                    <a:pt x="30353" y="2850"/>
                  </a:cubicBezTo>
                </a:path>
              </a:pathLst>
            </a:custGeom>
            <a:solidFill>
              <a:srgbClr val="FFFFFF"/>
            </a:solidFill>
            <a:ln w="6350" cap="flat">
              <a:noFill/>
              <a:prstDash val="solid"/>
              <a:miter/>
            </a:ln>
          </p:spPr>
          <p:txBody>
            <a:bodyPr rtlCol="0" anchor="ctr"/>
            <a:lstStyle/>
            <a:p>
              <a:endParaRPr lang="en-GB"/>
            </a:p>
          </p:txBody>
        </p:sp>
        <p:sp>
          <p:nvSpPr>
            <p:cNvPr id="142" name="Freeform 141">
              <a:extLst>
                <a:ext uri="{FF2B5EF4-FFF2-40B4-BE49-F238E27FC236}">
                  <a16:creationId xmlns:a16="http://schemas.microsoft.com/office/drawing/2014/main" id="{EA4361CA-4693-DADA-047C-1CEEB3E846ED}"/>
                </a:ext>
              </a:extLst>
            </p:cNvPr>
            <p:cNvSpPr/>
            <p:nvPr/>
          </p:nvSpPr>
          <p:spPr>
            <a:xfrm>
              <a:off x="4554220" y="3430270"/>
              <a:ext cx="30479" cy="48036"/>
            </a:xfrm>
            <a:custGeom>
              <a:avLst/>
              <a:gdLst>
                <a:gd name="connsiteX0" fmla="*/ 26420 w 30479"/>
                <a:gd name="connsiteY0" fmla="*/ 30155 h 48036"/>
                <a:gd name="connsiteX1" fmla="*/ 9910 w 30479"/>
                <a:gd name="connsiteY1" fmla="*/ 310 h 48036"/>
                <a:gd name="connsiteX2" fmla="*/ 9275 w 30479"/>
                <a:gd name="connsiteY2" fmla="*/ -325 h 48036"/>
                <a:gd name="connsiteX3" fmla="*/ -250 w 30479"/>
                <a:gd name="connsiteY3" fmla="*/ 2850 h 48036"/>
                <a:gd name="connsiteX4" fmla="*/ -250 w 30479"/>
                <a:gd name="connsiteY4" fmla="*/ 4755 h 48036"/>
                <a:gd name="connsiteX5" fmla="*/ 11815 w 30479"/>
                <a:gd name="connsiteY5" fmla="*/ 36505 h 48036"/>
                <a:gd name="connsiteX6" fmla="*/ 15625 w 30479"/>
                <a:gd name="connsiteY6" fmla="*/ 44760 h 48036"/>
                <a:gd name="connsiteX7" fmla="*/ 25785 w 30479"/>
                <a:gd name="connsiteY7" fmla="*/ 47300 h 48036"/>
                <a:gd name="connsiteX8" fmla="*/ 30230 w 30479"/>
                <a:gd name="connsiteY8" fmla="*/ 39045 h 48036"/>
                <a:gd name="connsiteX9" fmla="*/ 26420 w 30479"/>
                <a:gd name="connsiteY9" fmla="*/ 30155 h 4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79" h="48036">
                  <a:moveTo>
                    <a:pt x="26420" y="30155"/>
                  </a:moveTo>
                  <a:cubicBezTo>
                    <a:pt x="21975" y="22535"/>
                    <a:pt x="11815" y="2215"/>
                    <a:pt x="9910" y="310"/>
                  </a:cubicBezTo>
                  <a:cubicBezTo>
                    <a:pt x="9910" y="310"/>
                    <a:pt x="9275" y="-325"/>
                    <a:pt x="9275" y="-325"/>
                  </a:cubicBezTo>
                  <a:cubicBezTo>
                    <a:pt x="6100" y="945"/>
                    <a:pt x="2925" y="1580"/>
                    <a:pt x="-250" y="2850"/>
                  </a:cubicBezTo>
                  <a:cubicBezTo>
                    <a:pt x="-250" y="3485"/>
                    <a:pt x="-250" y="4120"/>
                    <a:pt x="-250" y="4755"/>
                  </a:cubicBezTo>
                  <a:cubicBezTo>
                    <a:pt x="385" y="7295"/>
                    <a:pt x="8005" y="28250"/>
                    <a:pt x="11815" y="36505"/>
                  </a:cubicBezTo>
                  <a:cubicBezTo>
                    <a:pt x="13085" y="39680"/>
                    <a:pt x="13720" y="42220"/>
                    <a:pt x="15625" y="44760"/>
                  </a:cubicBezTo>
                  <a:cubicBezTo>
                    <a:pt x="16895" y="46665"/>
                    <a:pt x="23245" y="48570"/>
                    <a:pt x="25785" y="47300"/>
                  </a:cubicBezTo>
                  <a:cubicBezTo>
                    <a:pt x="28960" y="46030"/>
                    <a:pt x="30230" y="41585"/>
                    <a:pt x="30230" y="39045"/>
                  </a:cubicBezTo>
                  <a:cubicBezTo>
                    <a:pt x="29595" y="36505"/>
                    <a:pt x="27690" y="32695"/>
                    <a:pt x="26420" y="30155"/>
                  </a:cubicBezTo>
                </a:path>
              </a:pathLst>
            </a:custGeom>
            <a:solidFill>
              <a:srgbClr val="FFFFFF"/>
            </a:solidFill>
            <a:ln w="6350" cap="flat">
              <a:noFill/>
              <a:prstDash val="solid"/>
              <a:miter/>
            </a:ln>
          </p:spPr>
          <p:txBody>
            <a:bodyPr rtlCol="0" anchor="ctr"/>
            <a:lstStyle/>
            <a:p>
              <a:endParaRPr lang="en-GB"/>
            </a:p>
          </p:txBody>
        </p:sp>
        <p:sp>
          <p:nvSpPr>
            <p:cNvPr id="143" name="Freeform 142">
              <a:extLst>
                <a:ext uri="{FF2B5EF4-FFF2-40B4-BE49-F238E27FC236}">
                  <a16:creationId xmlns:a16="http://schemas.microsoft.com/office/drawing/2014/main" id="{2DB5820D-2471-F8C7-6110-58C25F808988}"/>
                </a:ext>
              </a:extLst>
            </p:cNvPr>
            <p:cNvSpPr/>
            <p:nvPr/>
          </p:nvSpPr>
          <p:spPr>
            <a:xfrm>
              <a:off x="4704932" y="3227543"/>
              <a:ext cx="37247" cy="16198"/>
            </a:xfrm>
            <a:custGeom>
              <a:avLst/>
              <a:gdLst>
                <a:gd name="connsiteX0" fmla="*/ 167 w 37247"/>
                <a:gd name="connsiteY0" fmla="*/ 3012 h 16198"/>
                <a:gd name="connsiteX1" fmla="*/ 802 w 37247"/>
                <a:gd name="connsiteY1" fmla="*/ 8727 h 16198"/>
                <a:gd name="connsiteX2" fmla="*/ 17312 w 37247"/>
                <a:gd name="connsiteY2" fmla="*/ 13807 h 16198"/>
                <a:gd name="connsiteX3" fmla="*/ 28742 w 37247"/>
                <a:gd name="connsiteY3" fmla="*/ 15712 h 16198"/>
                <a:gd name="connsiteX4" fmla="*/ 36362 w 37247"/>
                <a:gd name="connsiteY4" fmla="*/ 12537 h 16198"/>
                <a:gd name="connsiteX5" fmla="*/ 34457 w 37247"/>
                <a:gd name="connsiteY5" fmla="*/ 5552 h 16198"/>
                <a:gd name="connsiteX6" fmla="*/ 21122 w 37247"/>
                <a:gd name="connsiteY6" fmla="*/ 2377 h 16198"/>
                <a:gd name="connsiteX7" fmla="*/ 4612 w 37247"/>
                <a:gd name="connsiteY7" fmla="*/ -163 h 16198"/>
                <a:gd name="connsiteX8" fmla="*/ 167 w 37247"/>
                <a:gd name="connsiteY8" fmla="*/ 3012 h 16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247" h="16198">
                  <a:moveTo>
                    <a:pt x="167" y="3012"/>
                  </a:moveTo>
                  <a:cubicBezTo>
                    <a:pt x="-468" y="4917"/>
                    <a:pt x="-468" y="7457"/>
                    <a:pt x="802" y="8727"/>
                  </a:cubicBezTo>
                  <a:cubicBezTo>
                    <a:pt x="2707" y="9997"/>
                    <a:pt x="14137" y="12537"/>
                    <a:pt x="17312" y="13807"/>
                  </a:cubicBezTo>
                  <a:cubicBezTo>
                    <a:pt x="21122" y="15077"/>
                    <a:pt x="24297" y="15077"/>
                    <a:pt x="28742" y="15712"/>
                  </a:cubicBezTo>
                  <a:cubicBezTo>
                    <a:pt x="31917" y="16347"/>
                    <a:pt x="35092" y="15077"/>
                    <a:pt x="36362" y="12537"/>
                  </a:cubicBezTo>
                  <a:cubicBezTo>
                    <a:pt x="37632" y="9362"/>
                    <a:pt x="36997" y="6822"/>
                    <a:pt x="34457" y="5552"/>
                  </a:cubicBezTo>
                  <a:cubicBezTo>
                    <a:pt x="33187" y="4917"/>
                    <a:pt x="28107" y="3647"/>
                    <a:pt x="21122" y="2377"/>
                  </a:cubicBezTo>
                  <a:cubicBezTo>
                    <a:pt x="14137" y="1107"/>
                    <a:pt x="7152" y="-163"/>
                    <a:pt x="4612" y="-163"/>
                  </a:cubicBezTo>
                  <a:cubicBezTo>
                    <a:pt x="2707" y="-798"/>
                    <a:pt x="802" y="472"/>
                    <a:pt x="167" y="3012"/>
                  </a:cubicBezTo>
                </a:path>
              </a:pathLst>
            </a:custGeom>
            <a:solidFill>
              <a:srgbClr val="FFFFFF"/>
            </a:solidFill>
            <a:ln w="6350" cap="flat">
              <a:noFill/>
              <a:prstDash val="solid"/>
              <a:miter/>
            </a:ln>
          </p:spPr>
          <p:txBody>
            <a:bodyPr rtlCol="0" anchor="ctr"/>
            <a:lstStyle/>
            <a:p>
              <a:endParaRPr lang="en-GB"/>
            </a:p>
          </p:txBody>
        </p:sp>
        <p:sp>
          <p:nvSpPr>
            <p:cNvPr id="144" name="Freeform 143">
              <a:extLst>
                <a:ext uri="{FF2B5EF4-FFF2-40B4-BE49-F238E27FC236}">
                  <a16:creationId xmlns:a16="http://schemas.microsoft.com/office/drawing/2014/main" id="{5ED93972-6178-DEDA-CF95-76D70EDA0FB2}"/>
                </a:ext>
              </a:extLst>
            </p:cNvPr>
            <p:cNvSpPr/>
            <p:nvPr/>
          </p:nvSpPr>
          <p:spPr>
            <a:xfrm>
              <a:off x="4267834" y="3227070"/>
              <a:ext cx="38436" cy="15975"/>
            </a:xfrm>
            <a:custGeom>
              <a:avLst/>
              <a:gdLst>
                <a:gd name="connsiteX0" fmla="*/ 12450 w 38436"/>
                <a:gd name="connsiteY0" fmla="*/ 15550 h 15975"/>
                <a:gd name="connsiteX1" fmla="*/ 37215 w 38436"/>
                <a:gd name="connsiteY1" fmla="*/ 7295 h 15975"/>
                <a:gd name="connsiteX2" fmla="*/ 36580 w 38436"/>
                <a:gd name="connsiteY2" fmla="*/ 1580 h 15975"/>
                <a:gd name="connsiteX3" fmla="*/ 30865 w 38436"/>
                <a:gd name="connsiteY3" fmla="*/ -325 h 15975"/>
                <a:gd name="connsiteX4" fmla="*/ 5465 w 38436"/>
                <a:gd name="connsiteY4" fmla="*/ 4755 h 15975"/>
                <a:gd name="connsiteX5" fmla="*/ -250 w 38436"/>
                <a:gd name="connsiteY5" fmla="*/ 9200 h 15975"/>
                <a:gd name="connsiteX6" fmla="*/ 385 w 38436"/>
                <a:gd name="connsiteY6" fmla="*/ 12375 h 15975"/>
                <a:gd name="connsiteX7" fmla="*/ 12450 w 38436"/>
                <a:gd name="connsiteY7" fmla="*/ 15550 h 1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36" h="15975">
                  <a:moveTo>
                    <a:pt x="12450" y="15550"/>
                  </a:moveTo>
                  <a:cubicBezTo>
                    <a:pt x="18800" y="13645"/>
                    <a:pt x="35945" y="8565"/>
                    <a:pt x="37215" y="7295"/>
                  </a:cubicBezTo>
                  <a:cubicBezTo>
                    <a:pt x="39120" y="5390"/>
                    <a:pt x="37850" y="3485"/>
                    <a:pt x="36580" y="1580"/>
                  </a:cubicBezTo>
                  <a:cubicBezTo>
                    <a:pt x="35310" y="-325"/>
                    <a:pt x="33405" y="-325"/>
                    <a:pt x="30865" y="-325"/>
                  </a:cubicBezTo>
                  <a:cubicBezTo>
                    <a:pt x="28960" y="-325"/>
                    <a:pt x="7370" y="4120"/>
                    <a:pt x="5465" y="4755"/>
                  </a:cubicBezTo>
                  <a:cubicBezTo>
                    <a:pt x="2925" y="5390"/>
                    <a:pt x="385" y="6660"/>
                    <a:pt x="-250" y="9200"/>
                  </a:cubicBezTo>
                  <a:cubicBezTo>
                    <a:pt x="-250" y="10470"/>
                    <a:pt x="-250" y="11740"/>
                    <a:pt x="385" y="12375"/>
                  </a:cubicBezTo>
                  <a:cubicBezTo>
                    <a:pt x="1655" y="13645"/>
                    <a:pt x="8005" y="16185"/>
                    <a:pt x="12450" y="15550"/>
                  </a:cubicBezTo>
                </a:path>
              </a:pathLst>
            </a:custGeom>
            <a:solidFill>
              <a:srgbClr val="FFFFFF"/>
            </a:solidFill>
            <a:ln w="6350" cap="flat">
              <a:noFill/>
              <a:prstDash val="solid"/>
              <a:miter/>
            </a:ln>
          </p:spPr>
          <p:txBody>
            <a:bodyPr rtlCol="0" anchor="ctr"/>
            <a:lstStyle/>
            <a:p>
              <a:endParaRPr lang="en-GB"/>
            </a:p>
          </p:txBody>
        </p:sp>
        <p:sp>
          <p:nvSpPr>
            <p:cNvPr id="145" name="Freeform 144">
              <a:extLst>
                <a:ext uri="{FF2B5EF4-FFF2-40B4-BE49-F238E27FC236}">
                  <a16:creationId xmlns:a16="http://schemas.microsoft.com/office/drawing/2014/main" id="{D49ACEE8-7DA7-CB35-5513-E2E8EA8F9228}"/>
                </a:ext>
              </a:extLst>
            </p:cNvPr>
            <p:cNvSpPr/>
            <p:nvPr/>
          </p:nvSpPr>
          <p:spPr>
            <a:xfrm>
              <a:off x="4749313" y="3237229"/>
              <a:ext cx="211306" cy="29210"/>
            </a:xfrm>
            <a:custGeom>
              <a:avLst/>
              <a:gdLst>
                <a:gd name="connsiteX0" fmla="*/ 207247 w 211306"/>
                <a:gd name="connsiteY0" fmla="*/ 11105 h 29210"/>
                <a:gd name="connsiteX1" fmla="*/ 186927 w 211306"/>
                <a:gd name="connsiteY1" fmla="*/ 11740 h 29210"/>
                <a:gd name="connsiteX2" fmla="*/ 158987 w 211306"/>
                <a:gd name="connsiteY2" fmla="*/ 10470 h 29210"/>
                <a:gd name="connsiteX3" fmla="*/ 3412 w 211306"/>
                <a:gd name="connsiteY3" fmla="*/ -325 h 29210"/>
                <a:gd name="connsiteX4" fmla="*/ 237 w 211306"/>
                <a:gd name="connsiteY4" fmla="*/ 5390 h 29210"/>
                <a:gd name="connsiteX5" fmla="*/ 2142 w 211306"/>
                <a:gd name="connsiteY5" fmla="*/ 6660 h 29210"/>
                <a:gd name="connsiteX6" fmla="*/ 132317 w 211306"/>
                <a:gd name="connsiteY6" fmla="*/ 25075 h 29210"/>
                <a:gd name="connsiteX7" fmla="*/ 182481 w 211306"/>
                <a:gd name="connsiteY7" fmla="*/ 28885 h 29210"/>
                <a:gd name="connsiteX8" fmla="*/ 182481 w 211306"/>
                <a:gd name="connsiteY8" fmla="*/ 28885 h 29210"/>
                <a:gd name="connsiteX9" fmla="*/ 207881 w 211306"/>
                <a:gd name="connsiteY9" fmla="*/ 21265 h 29210"/>
                <a:gd name="connsiteX10" fmla="*/ 211056 w 211306"/>
                <a:gd name="connsiteY10" fmla="*/ 14915 h 29210"/>
                <a:gd name="connsiteX11" fmla="*/ 207247 w 211306"/>
                <a:gd name="connsiteY11" fmla="*/ 11105 h 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1306" h="29210">
                  <a:moveTo>
                    <a:pt x="207247" y="11105"/>
                  </a:moveTo>
                  <a:cubicBezTo>
                    <a:pt x="205977" y="11105"/>
                    <a:pt x="193277" y="11740"/>
                    <a:pt x="186927" y="11740"/>
                  </a:cubicBezTo>
                  <a:cubicBezTo>
                    <a:pt x="177402" y="11105"/>
                    <a:pt x="167877" y="11105"/>
                    <a:pt x="158987" y="10470"/>
                  </a:cubicBezTo>
                  <a:cubicBezTo>
                    <a:pt x="124062" y="8565"/>
                    <a:pt x="8492" y="-325"/>
                    <a:pt x="3412" y="-325"/>
                  </a:cubicBezTo>
                  <a:cubicBezTo>
                    <a:pt x="237" y="-325"/>
                    <a:pt x="-1033" y="2850"/>
                    <a:pt x="237" y="5390"/>
                  </a:cubicBezTo>
                  <a:cubicBezTo>
                    <a:pt x="872" y="6025"/>
                    <a:pt x="1507" y="6660"/>
                    <a:pt x="2142" y="6660"/>
                  </a:cubicBezTo>
                  <a:cubicBezTo>
                    <a:pt x="5952" y="7295"/>
                    <a:pt x="121522" y="23805"/>
                    <a:pt x="132317" y="25075"/>
                  </a:cubicBezTo>
                  <a:cubicBezTo>
                    <a:pt x="148827" y="26345"/>
                    <a:pt x="164702" y="28885"/>
                    <a:pt x="182481" y="28885"/>
                  </a:cubicBezTo>
                  <a:cubicBezTo>
                    <a:pt x="182481" y="28885"/>
                    <a:pt x="178672" y="28885"/>
                    <a:pt x="182481" y="28885"/>
                  </a:cubicBezTo>
                  <a:cubicBezTo>
                    <a:pt x="185656" y="28885"/>
                    <a:pt x="200262" y="25075"/>
                    <a:pt x="207881" y="21265"/>
                  </a:cubicBezTo>
                  <a:cubicBezTo>
                    <a:pt x="210422" y="19995"/>
                    <a:pt x="211056" y="18090"/>
                    <a:pt x="211056" y="14915"/>
                  </a:cubicBezTo>
                  <a:cubicBezTo>
                    <a:pt x="210422" y="13010"/>
                    <a:pt x="211056" y="11105"/>
                    <a:pt x="207247" y="11105"/>
                  </a:cubicBezTo>
                </a:path>
              </a:pathLst>
            </a:custGeom>
            <a:solidFill>
              <a:srgbClr val="FFFFFF"/>
            </a:solidFill>
            <a:ln w="6350" cap="flat">
              <a:noFill/>
              <a:prstDash val="solid"/>
              <a:miter/>
            </a:ln>
          </p:spPr>
          <p:txBody>
            <a:bodyPr rtlCol="0" anchor="ctr"/>
            <a:lstStyle/>
            <a:p>
              <a:endParaRPr lang="en-GB"/>
            </a:p>
          </p:txBody>
        </p:sp>
        <p:sp>
          <p:nvSpPr>
            <p:cNvPr id="146" name="Freeform 145">
              <a:extLst>
                <a:ext uri="{FF2B5EF4-FFF2-40B4-BE49-F238E27FC236}">
                  <a16:creationId xmlns:a16="http://schemas.microsoft.com/office/drawing/2014/main" id="{FFAA7876-7F3B-09FC-E2AA-0BDC7AFB323F}"/>
                </a:ext>
              </a:extLst>
            </p:cNvPr>
            <p:cNvSpPr/>
            <p:nvPr/>
          </p:nvSpPr>
          <p:spPr>
            <a:xfrm>
              <a:off x="4280654" y="3242900"/>
              <a:ext cx="35450" cy="21281"/>
            </a:xfrm>
            <a:custGeom>
              <a:avLst/>
              <a:gdLst>
                <a:gd name="connsiteX0" fmla="*/ 2805 w 35450"/>
                <a:gd name="connsiteY0" fmla="*/ 18769 h 21281"/>
                <a:gd name="connsiteX1" fmla="*/ 7250 w 35450"/>
                <a:gd name="connsiteY1" fmla="*/ 20674 h 21281"/>
                <a:gd name="connsiteX2" fmla="*/ 11695 w 35450"/>
                <a:gd name="connsiteY2" fmla="*/ 20674 h 21281"/>
                <a:gd name="connsiteX3" fmla="*/ 33920 w 35450"/>
                <a:gd name="connsiteY3" fmla="*/ 9879 h 21281"/>
                <a:gd name="connsiteX4" fmla="*/ 26300 w 35450"/>
                <a:gd name="connsiteY4" fmla="*/ -281 h 21281"/>
                <a:gd name="connsiteX5" fmla="*/ 900 w 35450"/>
                <a:gd name="connsiteY5" fmla="*/ 9244 h 21281"/>
                <a:gd name="connsiteX6" fmla="*/ 1535 w 35450"/>
                <a:gd name="connsiteY6" fmla="*/ 17499 h 21281"/>
                <a:gd name="connsiteX7" fmla="*/ 2805 w 35450"/>
                <a:gd name="connsiteY7" fmla="*/ 18769 h 2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50" h="21281">
                  <a:moveTo>
                    <a:pt x="2805" y="18769"/>
                  </a:moveTo>
                  <a:cubicBezTo>
                    <a:pt x="4075" y="19404"/>
                    <a:pt x="5980" y="20674"/>
                    <a:pt x="7250" y="20674"/>
                  </a:cubicBezTo>
                  <a:cubicBezTo>
                    <a:pt x="8520" y="20674"/>
                    <a:pt x="9790" y="21309"/>
                    <a:pt x="11695" y="20674"/>
                  </a:cubicBezTo>
                  <a:cubicBezTo>
                    <a:pt x="12965" y="20674"/>
                    <a:pt x="32650" y="11149"/>
                    <a:pt x="33920" y="9879"/>
                  </a:cubicBezTo>
                  <a:cubicBezTo>
                    <a:pt x="38365" y="5434"/>
                    <a:pt x="30110" y="-916"/>
                    <a:pt x="26300" y="-281"/>
                  </a:cubicBezTo>
                  <a:cubicBezTo>
                    <a:pt x="19950" y="989"/>
                    <a:pt x="2805" y="7339"/>
                    <a:pt x="900" y="9244"/>
                  </a:cubicBezTo>
                  <a:cubicBezTo>
                    <a:pt x="-1005" y="11149"/>
                    <a:pt x="-370" y="14959"/>
                    <a:pt x="1535" y="17499"/>
                  </a:cubicBezTo>
                  <a:cubicBezTo>
                    <a:pt x="1535" y="17499"/>
                    <a:pt x="2170" y="18134"/>
                    <a:pt x="2805" y="18769"/>
                  </a:cubicBezTo>
                </a:path>
              </a:pathLst>
            </a:custGeom>
            <a:solidFill>
              <a:srgbClr val="FFFFFF"/>
            </a:solidFill>
            <a:ln w="6350" cap="flat">
              <a:noFill/>
              <a:prstDash val="solid"/>
              <a:miter/>
            </a:ln>
          </p:spPr>
          <p:txBody>
            <a:bodyPr rtlCol="0" anchor="ctr"/>
            <a:lstStyle/>
            <a:p>
              <a:endParaRPr lang="en-GB"/>
            </a:p>
          </p:txBody>
        </p:sp>
        <p:sp>
          <p:nvSpPr>
            <p:cNvPr id="147" name="Freeform 146">
              <a:extLst>
                <a:ext uri="{FF2B5EF4-FFF2-40B4-BE49-F238E27FC236}">
                  <a16:creationId xmlns:a16="http://schemas.microsoft.com/office/drawing/2014/main" id="{6A82D9BE-EC1F-1706-961E-5815D0D8A628}"/>
                </a:ext>
              </a:extLst>
            </p:cNvPr>
            <p:cNvSpPr/>
            <p:nvPr/>
          </p:nvSpPr>
          <p:spPr>
            <a:xfrm>
              <a:off x="4695150" y="3245105"/>
              <a:ext cx="36775" cy="18409"/>
            </a:xfrm>
            <a:custGeom>
              <a:avLst/>
              <a:gdLst>
                <a:gd name="connsiteX0" fmla="*/ 33445 w 36775"/>
                <a:gd name="connsiteY0" fmla="*/ 16565 h 18409"/>
                <a:gd name="connsiteX1" fmla="*/ 35985 w 36775"/>
                <a:gd name="connsiteY1" fmla="*/ 13390 h 18409"/>
                <a:gd name="connsiteX2" fmla="*/ 27095 w 36775"/>
                <a:gd name="connsiteY2" fmla="*/ 5135 h 18409"/>
                <a:gd name="connsiteX3" fmla="*/ 10585 w 36775"/>
                <a:gd name="connsiteY3" fmla="*/ 55 h 18409"/>
                <a:gd name="connsiteX4" fmla="*/ 2965 w 36775"/>
                <a:gd name="connsiteY4" fmla="*/ 1325 h 18409"/>
                <a:gd name="connsiteX5" fmla="*/ 425 w 36775"/>
                <a:gd name="connsiteY5" fmla="*/ 7040 h 18409"/>
                <a:gd name="connsiteX6" fmla="*/ 21380 w 36775"/>
                <a:gd name="connsiteY6" fmla="*/ 17200 h 18409"/>
                <a:gd name="connsiteX7" fmla="*/ 33445 w 36775"/>
                <a:gd name="connsiteY7" fmla="*/ 16565 h 1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75" h="18409">
                  <a:moveTo>
                    <a:pt x="33445" y="16565"/>
                  </a:moveTo>
                  <a:cubicBezTo>
                    <a:pt x="34715" y="15930"/>
                    <a:pt x="35350" y="14660"/>
                    <a:pt x="35985" y="13390"/>
                  </a:cubicBezTo>
                  <a:cubicBezTo>
                    <a:pt x="38525" y="8945"/>
                    <a:pt x="31540" y="6405"/>
                    <a:pt x="27095" y="5135"/>
                  </a:cubicBezTo>
                  <a:cubicBezTo>
                    <a:pt x="21380" y="3230"/>
                    <a:pt x="18840" y="2595"/>
                    <a:pt x="10585" y="55"/>
                  </a:cubicBezTo>
                  <a:cubicBezTo>
                    <a:pt x="8045" y="-580"/>
                    <a:pt x="5505" y="-580"/>
                    <a:pt x="2965" y="1325"/>
                  </a:cubicBezTo>
                  <a:cubicBezTo>
                    <a:pt x="1060" y="2595"/>
                    <a:pt x="-1480" y="4500"/>
                    <a:pt x="425" y="7040"/>
                  </a:cubicBezTo>
                  <a:cubicBezTo>
                    <a:pt x="1695" y="8945"/>
                    <a:pt x="16935" y="15295"/>
                    <a:pt x="21380" y="17200"/>
                  </a:cubicBezTo>
                  <a:cubicBezTo>
                    <a:pt x="24555" y="17835"/>
                    <a:pt x="29635" y="19105"/>
                    <a:pt x="33445" y="16565"/>
                  </a:cubicBezTo>
                </a:path>
              </a:pathLst>
            </a:custGeom>
            <a:solidFill>
              <a:srgbClr val="FFFFFF"/>
            </a:solidFill>
            <a:ln w="6350" cap="flat">
              <a:noFill/>
              <a:prstDash val="solid"/>
              <a:miter/>
            </a:ln>
          </p:spPr>
          <p:txBody>
            <a:bodyPr rtlCol="0" anchor="ctr"/>
            <a:lstStyle/>
            <a:p>
              <a:endParaRPr lang="en-GB"/>
            </a:p>
          </p:txBody>
        </p:sp>
        <p:sp>
          <p:nvSpPr>
            <p:cNvPr id="148" name="Freeform 147">
              <a:extLst>
                <a:ext uri="{FF2B5EF4-FFF2-40B4-BE49-F238E27FC236}">
                  <a16:creationId xmlns:a16="http://schemas.microsoft.com/office/drawing/2014/main" id="{8AFE7254-96DC-7A37-B5EF-2756564608D6}"/>
                </a:ext>
              </a:extLst>
            </p:cNvPr>
            <p:cNvSpPr/>
            <p:nvPr/>
          </p:nvSpPr>
          <p:spPr>
            <a:xfrm>
              <a:off x="4296384" y="3258791"/>
              <a:ext cx="35232" cy="24355"/>
            </a:xfrm>
            <a:custGeom>
              <a:avLst/>
              <a:gdLst>
                <a:gd name="connsiteX0" fmla="*/ 2951 w 35232"/>
                <a:gd name="connsiteY0" fmla="*/ 22564 h 24355"/>
                <a:gd name="connsiteX1" fmla="*/ 14381 w 35232"/>
                <a:gd name="connsiteY1" fmla="*/ 22564 h 24355"/>
                <a:gd name="connsiteX2" fmla="*/ 21366 w 35232"/>
                <a:gd name="connsiteY2" fmla="*/ 17484 h 24355"/>
                <a:gd name="connsiteX3" fmla="*/ 34066 w 35232"/>
                <a:gd name="connsiteY3" fmla="*/ 7959 h 24355"/>
                <a:gd name="connsiteX4" fmla="*/ 32161 w 35232"/>
                <a:gd name="connsiteY4" fmla="*/ 1609 h 24355"/>
                <a:gd name="connsiteX5" fmla="*/ 20096 w 35232"/>
                <a:gd name="connsiteY5" fmla="*/ 1609 h 24355"/>
                <a:gd name="connsiteX6" fmla="*/ 14381 w 35232"/>
                <a:gd name="connsiteY6" fmla="*/ 4784 h 24355"/>
                <a:gd name="connsiteX7" fmla="*/ 8031 w 35232"/>
                <a:gd name="connsiteY7" fmla="*/ 8594 h 24355"/>
                <a:gd name="connsiteX8" fmla="*/ 3586 w 35232"/>
                <a:gd name="connsiteY8" fmla="*/ 11769 h 24355"/>
                <a:gd name="connsiteX9" fmla="*/ 411 w 35232"/>
                <a:gd name="connsiteY9" fmla="*/ 14944 h 24355"/>
                <a:gd name="connsiteX10" fmla="*/ 1681 w 35232"/>
                <a:gd name="connsiteY10" fmla="*/ 21929 h 24355"/>
                <a:gd name="connsiteX11" fmla="*/ 2951 w 35232"/>
                <a:gd name="connsiteY11" fmla="*/ 22564 h 24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32" h="24355">
                  <a:moveTo>
                    <a:pt x="2951" y="22564"/>
                  </a:moveTo>
                  <a:cubicBezTo>
                    <a:pt x="4856" y="23834"/>
                    <a:pt x="10571" y="25104"/>
                    <a:pt x="14381" y="22564"/>
                  </a:cubicBezTo>
                  <a:cubicBezTo>
                    <a:pt x="15016" y="21929"/>
                    <a:pt x="18191" y="20024"/>
                    <a:pt x="21366" y="17484"/>
                  </a:cubicBezTo>
                  <a:cubicBezTo>
                    <a:pt x="26446" y="13674"/>
                    <a:pt x="33431" y="8594"/>
                    <a:pt x="34066" y="7959"/>
                  </a:cubicBezTo>
                  <a:cubicBezTo>
                    <a:pt x="35971" y="6054"/>
                    <a:pt x="34701" y="3514"/>
                    <a:pt x="32161" y="1609"/>
                  </a:cubicBezTo>
                  <a:cubicBezTo>
                    <a:pt x="29621" y="-296"/>
                    <a:pt x="24541" y="-1566"/>
                    <a:pt x="20096" y="1609"/>
                  </a:cubicBezTo>
                  <a:cubicBezTo>
                    <a:pt x="18191" y="2879"/>
                    <a:pt x="16286" y="3514"/>
                    <a:pt x="14381" y="4784"/>
                  </a:cubicBezTo>
                  <a:cubicBezTo>
                    <a:pt x="12476" y="6054"/>
                    <a:pt x="9936" y="7324"/>
                    <a:pt x="8031" y="8594"/>
                  </a:cubicBezTo>
                  <a:cubicBezTo>
                    <a:pt x="6761" y="9864"/>
                    <a:pt x="4856" y="10499"/>
                    <a:pt x="3586" y="11769"/>
                  </a:cubicBezTo>
                  <a:cubicBezTo>
                    <a:pt x="2316" y="12404"/>
                    <a:pt x="1046" y="13039"/>
                    <a:pt x="411" y="14944"/>
                  </a:cubicBezTo>
                  <a:cubicBezTo>
                    <a:pt x="-859" y="17484"/>
                    <a:pt x="-224" y="20024"/>
                    <a:pt x="1681" y="21929"/>
                  </a:cubicBezTo>
                  <a:cubicBezTo>
                    <a:pt x="2316" y="21929"/>
                    <a:pt x="2951" y="21929"/>
                    <a:pt x="2951" y="22564"/>
                  </a:cubicBezTo>
                </a:path>
              </a:pathLst>
            </a:custGeom>
            <a:solidFill>
              <a:srgbClr val="FFFFFF"/>
            </a:solidFill>
            <a:ln w="6350" cap="flat">
              <a:noFill/>
              <a:prstDash val="solid"/>
              <a:miter/>
            </a:ln>
          </p:spPr>
          <p:txBody>
            <a:bodyPr rtlCol="0" anchor="ctr"/>
            <a:lstStyle/>
            <a:p>
              <a:endParaRPr lang="en-GB"/>
            </a:p>
          </p:txBody>
        </p:sp>
        <p:sp>
          <p:nvSpPr>
            <p:cNvPr id="149" name="Freeform 148">
              <a:extLst>
                <a:ext uri="{FF2B5EF4-FFF2-40B4-BE49-F238E27FC236}">
                  <a16:creationId xmlns:a16="http://schemas.microsoft.com/office/drawing/2014/main" id="{1917114F-7BF8-0843-EF5A-7FAC1CE1A631}"/>
                </a:ext>
              </a:extLst>
            </p:cNvPr>
            <p:cNvSpPr/>
            <p:nvPr/>
          </p:nvSpPr>
          <p:spPr>
            <a:xfrm>
              <a:off x="4679315" y="3258820"/>
              <a:ext cx="36869" cy="22250"/>
            </a:xfrm>
            <a:custGeom>
              <a:avLst/>
              <a:gdLst>
                <a:gd name="connsiteX0" fmla="*/ 33405 w 36869"/>
                <a:gd name="connsiteY0" fmla="*/ 19995 h 22250"/>
                <a:gd name="connsiteX1" fmla="*/ 35945 w 36869"/>
                <a:gd name="connsiteY1" fmla="*/ 13010 h 22250"/>
                <a:gd name="connsiteX2" fmla="*/ 9275 w 36869"/>
                <a:gd name="connsiteY2" fmla="*/ -325 h 22250"/>
                <a:gd name="connsiteX3" fmla="*/ 1020 w 36869"/>
                <a:gd name="connsiteY3" fmla="*/ 3485 h 22250"/>
                <a:gd name="connsiteX4" fmla="*/ -250 w 36869"/>
                <a:gd name="connsiteY4" fmla="*/ 6025 h 22250"/>
                <a:gd name="connsiteX5" fmla="*/ 385 w 36869"/>
                <a:gd name="connsiteY5" fmla="*/ 8565 h 22250"/>
                <a:gd name="connsiteX6" fmla="*/ 385 w 36869"/>
                <a:gd name="connsiteY6" fmla="*/ 8565 h 22250"/>
                <a:gd name="connsiteX7" fmla="*/ 25150 w 36869"/>
                <a:gd name="connsiteY7" fmla="*/ 21265 h 22250"/>
                <a:gd name="connsiteX8" fmla="*/ 33405 w 36869"/>
                <a:gd name="connsiteY8" fmla="*/ 19995 h 2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869" h="22250">
                  <a:moveTo>
                    <a:pt x="33405" y="19995"/>
                  </a:moveTo>
                  <a:cubicBezTo>
                    <a:pt x="35310" y="18725"/>
                    <a:pt x="37850" y="15550"/>
                    <a:pt x="35945" y="13010"/>
                  </a:cubicBezTo>
                  <a:cubicBezTo>
                    <a:pt x="34040" y="10470"/>
                    <a:pt x="11815" y="-325"/>
                    <a:pt x="9275" y="-325"/>
                  </a:cubicBezTo>
                  <a:cubicBezTo>
                    <a:pt x="6735" y="-325"/>
                    <a:pt x="2925" y="945"/>
                    <a:pt x="1020" y="3485"/>
                  </a:cubicBezTo>
                  <a:cubicBezTo>
                    <a:pt x="385" y="4120"/>
                    <a:pt x="-250" y="5390"/>
                    <a:pt x="-250" y="6025"/>
                  </a:cubicBezTo>
                  <a:cubicBezTo>
                    <a:pt x="-250" y="7295"/>
                    <a:pt x="-250" y="7930"/>
                    <a:pt x="385" y="8565"/>
                  </a:cubicBezTo>
                  <a:cubicBezTo>
                    <a:pt x="385" y="8565"/>
                    <a:pt x="385" y="8565"/>
                    <a:pt x="385" y="8565"/>
                  </a:cubicBezTo>
                  <a:cubicBezTo>
                    <a:pt x="2925" y="10470"/>
                    <a:pt x="21340" y="21265"/>
                    <a:pt x="25150" y="21265"/>
                  </a:cubicBezTo>
                  <a:cubicBezTo>
                    <a:pt x="28325" y="22535"/>
                    <a:pt x="30865" y="21900"/>
                    <a:pt x="33405" y="19995"/>
                  </a:cubicBezTo>
                </a:path>
              </a:pathLst>
            </a:custGeom>
            <a:solidFill>
              <a:srgbClr val="FFFFFF"/>
            </a:solidFill>
            <a:ln w="6350" cap="flat">
              <a:noFill/>
              <a:prstDash val="solid"/>
              <a:miter/>
            </a:ln>
          </p:spPr>
          <p:txBody>
            <a:bodyPr rtlCol="0" anchor="ctr"/>
            <a:lstStyle/>
            <a:p>
              <a:endParaRPr lang="en-GB"/>
            </a:p>
          </p:txBody>
        </p:sp>
        <p:sp>
          <p:nvSpPr>
            <p:cNvPr id="150" name="Freeform 149">
              <a:extLst>
                <a:ext uri="{FF2B5EF4-FFF2-40B4-BE49-F238E27FC236}">
                  <a16:creationId xmlns:a16="http://schemas.microsoft.com/office/drawing/2014/main" id="{3B6C4C2E-B995-FCAF-3E97-CD474D6CE94A}"/>
                </a:ext>
              </a:extLst>
            </p:cNvPr>
            <p:cNvSpPr/>
            <p:nvPr/>
          </p:nvSpPr>
          <p:spPr>
            <a:xfrm>
              <a:off x="4319393" y="3273328"/>
              <a:ext cx="31369" cy="25278"/>
            </a:xfrm>
            <a:custGeom>
              <a:avLst/>
              <a:gdLst>
                <a:gd name="connsiteX0" fmla="*/ 2166 w 31369"/>
                <a:gd name="connsiteY0" fmla="*/ 23267 h 25278"/>
                <a:gd name="connsiteX1" fmla="*/ 2801 w 31369"/>
                <a:gd name="connsiteY1" fmla="*/ 23902 h 25278"/>
                <a:gd name="connsiteX2" fmla="*/ 9786 w 31369"/>
                <a:gd name="connsiteY2" fmla="*/ 24537 h 25278"/>
                <a:gd name="connsiteX3" fmla="*/ 14231 w 31369"/>
                <a:gd name="connsiteY3" fmla="*/ 22631 h 25278"/>
                <a:gd name="connsiteX4" fmla="*/ 30106 w 31369"/>
                <a:gd name="connsiteY4" fmla="*/ 8027 h 25278"/>
                <a:gd name="connsiteX5" fmla="*/ 19946 w 31369"/>
                <a:gd name="connsiteY5" fmla="*/ 406 h 25278"/>
                <a:gd name="connsiteX6" fmla="*/ 5976 w 31369"/>
                <a:gd name="connsiteY6" fmla="*/ 11202 h 25278"/>
                <a:gd name="connsiteX7" fmla="*/ 261 w 31369"/>
                <a:gd name="connsiteY7" fmla="*/ 17552 h 25278"/>
                <a:gd name="connsiteX8" fmla="*/ 2166 w 31369"/>
                <a:gd name="connsiteY8" fmla="*/ 23267 h 25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69" h="25278">
                  <a:moveTo>
                    <a:pt x="2166" y="23267"/>
                  </a:moveTo>
                  <a:cubicBezTo>
                    <a:pt x="2166" y="23267"/>
                    <a:pt x="2801" y="23902"/>
                    <a:pt x="2801" y="23902"/>
                  </a:cubicBezTo>
                  <a:cubicBezTo>
                    <a:pt x="4706" y="25172"/>
                    <a:pt x="7246" y="25172"/>
                    <a:pt x="9786" y="24537"/>
                  </a:cubicBezTo>
                  <a:cubicBezTo>
                    <a:pt x="11056" y="23902"/>
                    <a:pt x="12961" y="23267"/>
                    <a:pt x="14231" y="22631"/>
                  </a:cubicBezTo>
                  <a:cubicBezTo>
                    <a:pt x="16136" y="21362"/>
                    <a:pt x="29471" y="9297"/>
                    <a:pt x="30106" y="8027"/>
                  </a:cubicBezTo>
                  <a:cubicBezTo>
                    <a:pt x="34551" y="2312"/>
                    <a:pt x="23121" y="-2133"/>
                    <a:pt x="19946" y="406"/>
                  </a:cubicBezTo>
                  <a:cubicBezTo>
                    <a:pt x="17406" y="2312"/>
                    <a:pt x="8516" y="8662"/>
                    <a:pt x="5976" y="11202"/>
                  </a:cubicBezTo>
                  <a:cubicBezTo>
                    <a:pt x="4706" y="12472"/>
                    <a:pt x="896" y="15647"/>
                    <a:pt x="261" y="17552"/>
                  </a:cubicBezTo>
                  <a:cubicBezTo>
                    <a:pt x="-1009" y="18822"/>
                    <a:pt x="261" y="21997"/>
                    <a:pt x="2166" y="23267"/>
                  </a:cubicBezTo>
                </a:path>
              </a:pathLst>
            </a:custGeom>
            <a:solidFill>
              <a:srgbClr val="FFFFFF"/>
            </a:solidFill>
            <a:ln w="6350" cap="flat">
              <a:noFill/>
              <a:prstDash val="solid"/>
              <a:miter/>
            </a:ln>
          </p:spPr>
          <p:txBody>
            <a:bodyPr rtlCol="0" anchor="ctr"/>
            <a:lstStyle/>
            <a:p>
              <a:endParaRPr lang="en-GB"/>
            </a:p>
          </p:txBody>
        </p:sp>
        <p:sp>
          <p:nvSpPr>
            <p:cNvPr id="151" name="Freeform 150">
              <a:extLst>
                <a:ext uri="{FF2B5EF4-FFF2-40B4-BE49-F238E27FC236}">
                  <a16:creationId xmlns:a16="http://schemas.microsoft.com/office/drawing/2014/main" id="{A87C2F77-C2C6-F395-4FB5-D8B878B1DC0E}"/>
                </a:ext>
              </a:extLst>
            </p:cNvPr>
            <p:cNvSpPr/>
            <p:nvPr/>
          </p:nvSpPr>
          <p:spPr>
            <a:xfrm>
              <a:off x="4662105" y="3273049"/>
              <a:ext cx="33744" cy="23235"/>
            </a:xfrm>
            <a:custGeom>
              <a:avLst/>
              <a:gdLst>
                <a:gd name="connsiteX0" fmla="*/ 23944 w 33744"/>
                <a:gd name="connsiteY0" fmla="*/ 22910 h 23235"/>
                <a:gd name="connsiteX1" fmla="*/ 29659 w 33744"/>
                <a:gd name="connsiteY1" fmla="*/ 22275 h 23235"/>
                <a:gd name="connsiteX2" fmla="*/ 30929 w 33744"/>
                <a:gd name="connsiteY2" fmla="*/ 21640 h 23235"/>
                <a:gd name="connsiteX3" fmla="*/ 31564 w 33744"/>
                <a:gd name="connsiteY3" fmla="*/ 21005 h 23235"/>
                <a:gd name="connsiteX4" fmla="*/ 32834 w 33744"/>
                <a:gd name="connsiteY4" fmla="*/ 14020 h 23235"/>
                <a:gd name="connsiteX5" fmla="*/ 26484 w 33744"/>
                <a:gd name="connsiteY5" fmla="*/ 8940 h 23235"/>
                <a:gd name="connsiteX6" fmla="*/ 25214 w 33744"/>
                <a:gd name="connsiteY6" fmla="*/ 8305 h 23235"/>
                <a:gd name="connsiteX7" fmla="*/ 10609 w 33744"/>
                <a:gd name="connsiteY7" fmla="*/ 50 h 23235"/>
                <a:gd name="connsiteX8" fmla="*/ 1084 w 33744"/>
                <a:gd name="connsiteY8" fmla="*/ 8940 h 23235"/>
                <a:gd name="connsiteX9" fmla="*/ 18864 w 33744"/>
                <a:gd name="connsiteY9" fmla="*/ 21640 h 23235"/>
                <a:gd name="connsiteX10" fmla="*/ 23944 w 33744"/>
                <a:gd name="connsiteY10" fmla="*/ 22910 h 2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44" h="23235">
                  <a:moveTo>
                    <a:pt x="23944" y="22910"/>
                  </a:moveTo>
                  <a:cubicBezTo>
                    <a:pt x="25849" y="22910"/>
                    <a:pt x="27754" y="22910"/>
                    <a:pt x="29659" y="22275"/>
                  </a:cubicBezTo>
                  <a:cubicBezTo>
                    <a:pt x="30294" y="22275"/>
                    <a:pt x="30294" y="21640"/>
                    <a:pt x="30929" y="21640"/>
                  </a:cubicBezTo>
                  <a:cubicBezTo>
                    <a:pt x="30929" y="21640"/>
                    <a:pt x="31564" y="21005"/>
                    <a:pt x="31564" y="21005"/>
                  </a:cubicBezTo>
                  <a:cubicBezTo>
                    <a:pt x="33469" y="19100"/>
                    <a:pt x="34104" y="16560"/>
                    <a:pt x="32834" y="14020"/>
                  </a:cubicBezTo>
                  <a:cubicBezTo>
                    <a:pt x="32199" y="12115"/>
                    <a:pt x="27754" y="9575"/>
                    <a:pt x="26484" y="8940"/>
                  </a:cubicBezTo>
                  <a:cubicBezTo>
                    <a:pt x="25849" y="8940"/>
                    <a:pt x="25849" y="8305"/>
                    <a:pt x="25214" y="8305"/>
                  </a:cubicBezTo>
                  <a:cubicBezTo>
                    <a:pt x="21404" y="5765"/>
                    <a:pt x="13149" y="1320"/>
                    <a:pt x="10609" y="50"/>
                  </a:cubicBezTo>
                  <a:cubicBezTo>
                    <a:pt x="6799" y="-1855"/>
                    <a:pt x="-3996" y="3860"/>
                    <a:pt x="1084" y="8940"/>
                  </a:cubicBezTo>
                  <a:cubicBezTo>
                    <a:pt x="2354" y="10210"/>
                    <a:pt x="16959" y="20370"/>
                    <a:pt x="18864" y="21640"/>
                  </a:cubicBezTo>
                  <a:cubicBezTo>
                    <a:pt x="20769" y="22275"/>
                    <a:pt x="22674" y="22910"/>
                    <a:pt x="23944" y="22910"/>
                  </a:cubicBezTo>
                </a:path>
              </a:pathLst>
            </a:custGeom>
            <a:solidFill>
              <a:srgbClr val="FFFFFF"/>
            </a:solidFill>
            <a:ln w="6350" cap="flat">
              <a:noFill/>
              <a:prstDash val="solid"/>
              <a:miter/>
            </a:ln>
          </p:spPr>
          <p:txBody>
            <a:bodyPr rtlCol="0" anchor="ctr"/>
            <a:lstStyle/>
            <a:p>
              <a:endParaRPr lang="en-GB"/>
            </a:p>
          </p:txBody>
        </p:sp>
        <p:sp>
          <p:nvSpPr>
            <p:cNvPr id="152" name="Freeform 151">
              <a:extLst>
                <a:ext uri="{FF2B5EF4-FFF2-40B4-BE49-F238E27FC236}">
                  <a16:creationId xmlns:a16="http://schemas.microsoft.com/office/drawing/2014/main" id="{1DAD59CC-A514-7D05-3CC9-50B15C3A2053}"/>
                </a:ext>
              </a:extLst>
            </p:cNvPr>
            <p:cNvSpPr/>
            <p:nvPr/>
          </p:nvSpPr>
          <p:spPr>
            <a:xfrm>
              <a:off x="4134702" y="3271731"/>
              <a:ext cx="155101" cy="49537"/>
            </a:xfrm>
            <a:custGeom>
              <a:avLst/>
              <a:gdLst>
                <a:gd name="connsiteX0" fmla="*/ 154472 w 155101"/>
                <a:gd name="connsiteY0" fmla="*/ 3909 h 49537"/>
                <a:gd name="connsiteX1" fmla="*/ 144947 w 155101"/>
                <a:gd name="connsiteY1" fmla="*/ 98 h 49537"/>
                <a:gd name="connsiteX2" fmla="*/ 802 w 155101"/>
                <a:gd name="connsiteY2" fmla="*/ 35659 h 49537"/>
                <a:gd name="connsiteX3" fmla="*/ 167 w 155101"/>
                <a:gd name="connsiteY3" fmla="*/ 38198 h 49537"/>
                <a:gd name="connsiteX4" fmla="*/ 4612 w 155101"/>
                <a:gd name="connsiteY4" fmla="*/ 45818 h 49537"/>
                <a:gd name="connsiteX5" fmla="*/ 47157 w 155101"/>
                <a:gd name="connsiteY5" fmla="*/ 48359 h 49537"/>
                <a:gd name="connsiteX6" fmla="*/ 153202 w 155101"/>
                <a:gd name="connsiteY6" fmla="*/ 11528 h 49537"/>
                <a:gd name="connsiteX7" fmla="*/ 154472 w 155101"/>
                <a:gd name="connsiteY7" fmla="*/ 3909 h 4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5101" h="49537">
                  <a:moveTo>
                    <a:pt x="154472" y="3909"/>
                  </a:moveTo>
                  <a:cubicBezTo>
                    <a:pt x="153837" y="-1172"/>
                    <a:pt x="148122" y="-537"/>
                    <a:pt x="144947" y="98"/>
                  </a:cubicBezTo>
                  <a:cubicBezTo>
                    <a:pt x="141772" y="1368"/>
                    <a:pt x="2072" y="35659"/>
                    <a:pt x="802" y="35659"/>
                  </a:cubicBezTo>
                  <a:cubicBezTo>
                    <a:pt x="-468" y="36293"/>
                    <a:pt x="-468" y="36928"/>
                    <a:pt x="167" y="38198"/>
                  </a:cubicBezTo>
                  <a:cubicBezTo>
                    <a:pt x="802" y="39468"/>
                    <a:pt x="2707" y="44548"/>
                    <a:pt x="4612" y="45818"/>
                  </a:cubicBezTo>
                  <a:cubicBezTo>
                    <a:pt x="8422" y="47088"/>
                    <a:pt x="37632" y="50898"/>
                    <a:pt x="47157" y="48359"/>
                  </a:cubicBezTo>
                  <a:cubicBezTo>
                    <a:pt x="56682" y="45818"/>
                    <a:pt x="151297" y="14068"/>
                    <a:pt x="153202" y="11528"/>
                  </a:cubicBezTo>
                  <a:cubicBezTo>
                    <a:pt x="155107" y="10259"/>
                    <a:pt x="155107" y="6448"/>
                    <a:pt x="154472" y="3909"/>
                  </a:cubicBezTo>
                </a:path>
              </a:pathLst>
            </a:custGeom>
            <a:solidFill>
              <a:srgbClr val="FFFFFF"/>
            </a:solidFill>
            <a:ln w="6350" cap="flat">
              <a:noFill/>
              <a:prstDash val="solid"/>
              <a:miter/>
            </a:ln>
          </p:spPr>
          <p:txBody>
            <a:bodyPr rtlCol="0" anchor="ctr"/>
            <a:lstStyle/>
            <a:p>
              <a:endParaRPr lang="en-GB"/>
            </a:p>
          </p:txBody>
        </p:sp>
        <p:sp>
          <p:nvSpPr>
            <p:cNvPr id="153" name="Freeform 152">
              <a:extLst>
                <a:ext uri="{FF2B5EF4-FFF2-40B4-BE49-F238E27FC236}">
                  <a16:creationId xmlns:a16="http://schemas.microsoft.com/office/drawing/2014/main" id="{002B578B-2C69-41AB-D863-6342709E612D}"/>
                </a:ext>
              </a:extLst>
            </p:cNvPr>
            <p:cNvSpPr/>
            <p:nvPr/>
          </p:nvSpPr>
          <p:spPr>
            <a:xfrm>
              <a:off x="4341641" y="3284436"/>
              <a:ext cx="27820" cy="23779"/>
            </a:xfrm>
            <a:custGeom>
              <a:avLst/>
              <a:gdLst>
                <a:gd name="connsiteX0" fmla="*/ 1509 w 27820"/>
                <a:gd name="connsiteY0" fmla="*/ 21684 h 23779"/>
                <a:gd name="connsiteX1" fmla="*/ 14209 w 27820"/>
                <a:gd name="connsiteY1" fmla="*/ 20414 h 23779"/>
                <a:gd name="connsiteX2" fmla="*/ 27544 w 27820"/>
                <a:gd name="connsiteY2" fmla="*/ 1999 h 23779"/>
                <a:gd name="connsiteX3" fmla="*/ 15479 w 27820"/>
                <a:gd name="connsiteY3" fmla="*/ 94 h 23779"/>
                <a:gd name="connsiteX4" fmla="*/ 4684 w 27820"/>
                <a:gd name="connsiteY4" fmla="*/ 10889 h 23779"/>
                <a:gd name="connsiteX5" fmla="*/ 1509 w 27820"/>
                <a:gd name="connsiteY5" fmla="*/ 21684 h 2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20" h="23779">
                  <a:moveTo>
                    <a:pt x="1509" y="21684"/>
                  </a:moveTo>
                  <a:cubicBezTo>
                    <a:pt x="5319" y="24224"/>
                    <a:pt x="11034" y="24224"/>
                    <a:pt x="14209" y="20414"/>
                  </a:cubicBezTo>
                  <a:cubicBezTo>
                    <a:pt x="15479" y="19144"/>
                    <a:pt x="25639" y="5809"/>
                    <a:pt x="27544" y="1999"/>
                  </a:cubicBezTo>
                  <a:cubicBezTo>
                    <a:pt x="28179" y="729"/>
                    <a:pt x="17384" y="-1176"/>
                    <a:pt x="15479" y="94"/>
                  </a:cubicBezTo>
                  <a:cubicBezTo>
                    <a:pt x="13574" y="1364"/>
                    <a:pt x="7859" y="7714"/>
                    <a:pt x="4684" y="10889"/>
                  </a:cubicBezTo>
                  <a:cubicBezTo>
                    <a:pt x="2144" y="14064"/>
                    <a:pt x="-2936" y="19144"/>
                    <a:pt x="1509" y="21684"/>
                  </a:cubicBezTo>
                </a:path>
              </a:pathLst>
            </a:custGeom>
            <a:solidFill>
              <a:srgbClr val="FFFFFF"/>
            </a:solidFill>
            <a:ln w="6350" cap="flat">
              <a:noFill/>
              <a:prstDash val="solid"/>
              <a:miter/>
            </a:ln>
          </p:spPr>
          <p:txBody>
            <a:bodyPr rtlCol="0" anchor="ctr"/>
            <a:lstStyle/>
            <a:p>
              <a:endParaRPr lang="en-GB"/>
            </a:p>
          </p:txBody>
        </p:sp>
        <p:sp>
          <p:nvSpPr>
            <p:cNvPr id="154" name="Freeform 153">
              <a:extLst>
                <a:ext uri="{FF2B5EF4-FFF2-40B4-BE49-F238E27FC236}">
                  <a16:creationId xmlns:a16="http://schemas.microsoft.com/office/drawing/2014/main" id="{51D783DD-D764-61C8-53BF-DB4243A85432}"/>
                </a:ext>
              </a:extLst>
            </p:cNvPr>
            <p:cNvSpPr/>
            <p:nvPr/>
          </p:nvSpPr>
          <p:spPr>
            <a:xfrm>
              <a:off x="4709795" y="3284200"/>
              <a:ext cx="138767" cy="50355"/>
            </a:xfrm>
            <a:custGeom>
              <a:avLst/>
              <a:gdLst>
                <a:gd name="connsiteX0" fmla="*/ 105160 w 138767"/>
                <a:gd name="connsiteY0" fmla="*/ 31445 h 50355"/>
                <a:gd name="connsiteX1" fmla="*/ 10545 w 138767"/>
                <a:gd name="connsiteY1" fmla="*/ -305 h 50355"/>
                <a:gd name="connsiteX2" fmla="*/ -250 w 138767"/>
                <a:gd name="connsiteY2" fmla="*/ 5410 h 50355"/>
                <a:gd name="connsiteX3" fmla="*/ 41025 w 138767"/>
                <a:gd name="connsiteY3" fmla="*/ 27635 h 50355"/>
                <a:gd name="connsiteX4" fmla="*/ 65790 w 138767"/>
                <a:gd name="connsiteY4" fmla="*/ 39700 h 50355"/>
                <a:gd name="connsiteX5" fmla="*/ 91825 w 138767"/>
                <a:gd name="connsiteY5" fmla="*/ 47955 h 50355"/>
                <a:gd name="connsiteX6" fmla="*/ 134370 w 138767"/>
                <a:gd name="connsiteY6" fmla="*/ 49225 h 50355"/>
                <a:gd name="connsiteX7" fmla="*/ 138180 w 138767"/>
                <a:gd name="connsiteY7" fmla="*/ 39700 h 50355"/>
                <a:gd name="connsiteX8" fmla="*/ 105160 w 138767"/>
                <a:gd name="connsiteY8" fmla="*/ 31445 h 5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767" h="50355">
                  <a:moveTo>
                    <a:pt x="105160" y="31445"/>
                  </a:moveTo>
                  <a:cubicBezTo>
                    <a:pt x="44200" y="13665"/>
                    <a:pt x="14355" y="-940"/>
                    <a:pt x="10545" y="-305"/>
                  </a:cubicBezTo>
                  <a:cubicBezTo>
                    <a:pt x="6735" y="330"/>
                    <a:pt x="-250" y="3505"/>
                    <a:pt x="-250" y="5410"/>
                  </a:cubicBezTo>
                  <a:cubicBezTo>
                    <a:pt x="-250" y="7950"/>
                    <a:pt x="35310" y="25095"/>
                    <a:pt x="41025" y="27635"/>
                  </a:cubicBezTo>
                  <a:cubicBezTo>
                    <a:pt x="49280" y="32080"/>
                    <a:pt x="57535" y="35890"/>
                    <a:pt x="65790" y="39700"/>
                  </a:cubicBezTo>
                  <a:cubicBezTo>
                    <a:pt x="74680" y="43510"/>
                    <a:pt x="82300" y="46685"/>
                    <a:pt x="91825" y="47955"/>
                  </a:cubicBezTo>
                  <a:cubicBezTo>
                    <a:pt x="100080" y="49225"/>
                    <a:pt x="128655" y="51130"/>
                    <a:pt x="134370" y="49225"/>
                  </a:cubicBezTo>
                  <a:cubicBezTo>
                    <a:pt x="136910" y="48590"/>
                    <a:pt x="139450" y="42240"/>
                    <a:pt x="138180" y="39700"/>
                  </a:cubicBezTo>
                  <a:cubicBezTo>
                    <a:pt x="136910" y="37160"/>
                    <a:pt x="121670" y="36525"/>
                    <a:pt x="105160" y="31445"/>
                  </a:cubicBezTo>
                </a:path>
              </a:pathLst>
            </a:custGeom>
            <a:solidFill>
              <a:srgbClr val="FFFFFF"/>
            </a:solidFill>
            <a:ln w="6350" cap="flat">
              <a:noFill/>
              <a:prstDash val="solid"/>
              <a:miter/>
            </a:ln>
          </p:spPr>
          <p:txBody>
            <a:bodyPr rtlCol="0" anchor="ctr"/>
            <a:lstStyle/>
            <a:p>
              <a:endParaRPr lang="en-GB"/>
            </a:p>
          </p:txBody>
        </p:sp>
        <p:sp>
          <p:nvSpPr>
            <p:cNvPr id="155" name="Freeform 154">
              <a:extLst>
                <a:ext uri="{FF2B5EF4-FFF2-40B4-BE49-F238E27FC236}">
                  <a16:creationId xmlns:a16="http://schemas.microsoft.com/office/drawing/2014/main" id="{133E4B84-7819-B9FA-7DB1-C6D975C72B9D}"/>
                </a:ext>
              </a:extLst>
            </p:cNvPr>
            <p:cNvSpPr/>
            <p:nvPr/>
          </p:nvSpPr>
          <p:spPr>
            <a:xfrm>
              <a:off x="4190047" y="3291204"/>
              <a:ext cx="121602" cy="51205"/>
            </a:xfrm>
            <a:custGeom>
              <a:avLst/>
              <a:gdLst>
                <a:gd name="connsiteX0" fmla="*/ 121353 w 121602"/>
                <a:gd name="connsiteY0" fmla="*/ 5390 h 51205"/>
                <a:gd name="connsiteX1" fmla="*/ 106748 w 121602"/>
                <a:gd name="connsiteY1" fmla="*/ -325 h 51205"/>
                <a:gd name="connsiteX2" fmla="*/ 703 w 121602"/>
                <a:gd name="connsiteY2" fmla="*/ 39680 h 51205"/>
                <a:gd name="connsiteX3" fmla="*/ 703 w 121602"/>
                <a:gd name="connsiteY3" fmla="*/ 45395 h 51205"/>
                <a:gd name="connsiteX4" fmla="*/ 4512 w 121602"/>
                <a:gd name="connsiteY4" fmla="*/ 49840 h 51205"/>
                <a:gd name="connsiteX5" fmla="*/ 40707 w 121602"/>
                <a:gd name="connsiteY5" fmla="*/ 48570 h 51205"/>
                <a:gd name="connsiteX6" fmla="*/ 97223 w 121602"/>
                <a:gd name="connsiteY6" fmla="*/ 20630 h 51205"/>
                <a:gd name="connsiteX7" fmla="*/ 121353 w 121602"/>
                <a:gd name="connsiteY7" fmla="*/ 5390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602" h="51205">
                  <a:moveTo>
                    <a:pt x="121353" y="5390"/>
                  </a:moveTo>
                  <a:cubicBezTo>
                    <a:pt x="120718" y="-325"/>
                    <a:pt x="111828" y="-325"/>
                    <a:pt x="106748" y="-325"/>
                  </a:cubicBezTo>
                  <a:cubicBezTo>
                    <a:pt x="102303" y="-325"/>
                    <a:pt x="3243" y="39045"/>
                    <a:pt x="703" y="39680"/>
                  </a:cubicBezTo>
                  <a:cubicBezTo>
                    <a:pt x="-568" y="40315"/>
                    <a:pt x="-568" y="42855"/>
                    <a:pt x="703" y="45395"/>
                  </a:cubicBezTo>
                  <a:cubicBezTo>
                    <a:pt x="1337" y="47300"/>
                    <a:pt x="2607" y="49205"/>
                    <a:pt x="4512" y="49840"/>
                  </a:cubicBezTo>
                  <a:cubicBezTo>
                    <a:pt x="11498" y="51110"/>
                    <a:pt x="31818" y="51745"/>
                    <a:pt x="40707" y="48570"/>
                  </a:cubicBezTo>
                  <a:cubicBezTo>
                    <a:pt x="50232" y="45395"/>
                    <a:pt x="87698" y="25710"/>
                    <a:pt x="97223" y="20630"/>
                  </a:cubicBezTo>
                  <a:cubicBezTo>
                    <a:pt x="101668" y="18090"/>
                    <a:pt x="121353" y="9200"/>
                    <a:pt x="121353" y="5390"/>
                  </a:cubicBezTo>
                </a:path>
              </a:pathLst>
            </a:custGeom>
            <a:solidFill>
              <a:srgbClr val="FFFFFF"/>
            </a:solidFill>
            <a:ln w="6350" cap="flat">
              <a:noFill/>
              <a:prstDash val="solid"/>
              <a:miter/>
            </a:ln>
          </p:spPr>
          <p:txBody>
            <a:bodyPr rtlCol="0" anchor="ctr"/>
            <a:lstStyle/>
            <a:p>
              <a:endParaRPr lang="en-GB"/>
            </a:p>
          </p:txBody>
        </p:sp>
        <p:sp>
          <p:nvSpPr>
            <p:cNvPr id="156" name="Freeform 155">
              <a:extLst>
                <a:ext uri="{FF2B5EF4-FFF2-40B4-BE49-F238E27FC236}">
                  <a16:creationId xmlns:a16="http://schemas.microsoft.com/office/drawing/2014/main" id="{B1AAF731-72EA-109B-619A-8805A661428C}"/>
                </a:ext>
              </a:extLst>
            </p:cNvPr>
            <p:cNvSpPr/>
            <p:nvPr/>
          </p:nvSpPr>
          <p:spPr>
            <a:xfrm>
              <a:off x="4694947" y="3297381"/>
              <a:ext cx="107795" cy="56809"/>
            </a:xfrm>
            <a:custGeom>
              <a:avLst/>
              <a:gdLst>
                <a:gd name="connsiteX0" fmla="*/ 106037 w 107795"/>
                <a:gd name="connsiteY0" fmla="*/ 45568 h 56809"/>
                <a:gd name="connsiteX1" fmla="*/ 88258 w 107795"/>
                <a:gd name="connsiteY1" fmla="*/ 39218 h 56809"/>
                <a:gd name="connsiteX2" fmla="*/ 43808 w 107795"/>
                <a:gd name="connsiteY2" fmla="*/ 18263 h 56809"/>
                <a:gd name="connsiteX3" fmla="*/ 26662 w 107795"/>
                <a:gd name="connsiteY3" fmla="*/ 8738 h 56809"/>
                <a:gd name="connsiteX4" fmla="*/ 9518 w 107795"/>
                <a:gd name="connsiteY4" fmla="*/ -152 h 56809"/>
                <a:gd name="connsiteX5" fmla="*/ 3168 w 107795"/>
                <a:gd name="connsiteY5" fmla="*/ 1118 h 56809"/>
                <a:gd name="connsiteX6" fmla="*/ 2533 w 107795"/>
                <a:gd name="connsiteY6" fmla="*/ 8103 h 56809"/>
                <a:gd name="connsiteX7" fmla="*/ 48253 w 107795"/>
                <a:gd name="connsiteY7" fmla="*/ 39853 h 56809"/>
                <a:gd name="connsiteX8" fmla="*/ 69843 w 107795"/>
                <a:gd name="connsiteY8" fmla="*/ 51918 h 56809"/>
                <a:gd name="connsiteX9" fmla="*/ 100958 w 107795"/>
                <a:gd name="connsiteY9" fmla="*/ 56363 h 56809"/>
                <a:gd name="connsiteX10" fmla="*/ 106037 w 107795"/>
                <a:gd name="connsiteY10" fmla="*/ 45568 h 56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795" h="56809">
                  <a:moveTo>
                    <a:pt x="106037" y="45568"/>
                  </a:moveTo>
                  <a:cubicBezTo>
                    <a:pt x="100323" y="43663"/>
                    <a:pt x="93973" y="41758"/>
                    <a:pt x="88258" y="39218"/>
                  </a:cubicBezTo>
                  <a:cubicBezTo>
                    <a:pt x="73018" y="33503"/>
                    <a:pt x="58412" y="25883"/>
                    <a:pt x="43808" y="18263"/>
                  </a:cubicBezTo>
                  <a:cubicBezTo>
                    <a:pt x="38093" y="15088"/>
                    <a:pt x="32378" y="11913"/>
                    <a:pt x="26662" y="8738"/>
                  </a:cubicBezTo>
                  <a:cubicBezTo>
                    <a:pt x="23487" y="6833"/>
                    <a:pt x="13328" y="483"/>
                    <a:pt x="9518" y="-152"/>
                  </a:cubicBezTo>
                  <a:cubicBezTo>
                    <a:pt x="6978" y="-787"/>
                    <a:pt x="5073" y="483"/>
                    <a:pt x="3168" y="1118"/>
                  </a:cubicBezTo>
                  <a:cubicBezTo>
                    <a:pt x="-1277" y="2388"/>
                    <a:pt x="-1277" y="4928"/>
                    <a:pt x="2533" y="8103"/>
                  </a:cubicBezTo>
                  <a:cubicBezTo>
                    <a:pt x="3803" y="9373"/>
                    <a:pt x="41268" y="35408"/>
                    <a:pt x="48253" y="39853"/>
                  </a:cubicBezTo>
                  <a:cubicBezTo>
                    <a:pt x="55237" y="44298"/>
                    <a:pt x="62223" y="49378"/>
                    <a:pt x="69843" y="51918"/>
                  </a:cubicBezTo>
                  <a:cubicBezTo>
                    <a:pt x="77462" y="55093"/>
                    <a:pt x="95243" y="56998"/>
                    <a:pt x="100958" y="56363"/>
                  </a:cubicBezTo>
                  <a:cubicBezTo>
                    <a:pt x="107308" y="56363"/>
                    <a:pt x="109212" y="46838"/>
                    <a:pt x="106037" y="45568"/>
                  </a:cubicBezTo>
                </a:path>
              </a:pathLst>
            </a:custGeom>
            <a:solidFill>
              <a:srgbClr val="FFFFFF"/>
            </a:solidFill>
            <a:ln w="6350" cap="flat">
              <a:noFill/>
              <a:prstDash val="solid"/>
              <a:miter/>
            </a:ln>
          </p:spPr>
          <p:txBody>
            <a:bodyPr rtlCol="0" anchor="ctr"/>
            <a:lstStyle/>
            <a:p>
              <a:endParaRPr lang="en-GB"/>
            </a:p>
          </p:txBody>
        </p:sp>
        <p:sp>
          <p:nvSpPr>
            <p:cNvPr id="157" name="Freeform 156">
              <a:extLst>
                <a:ext uri="{FF2B5EF4-FFF2-40B4-BE49-F238E27FC236}">
                  <a16:creationId xmlns:a16="http://schemas.microsoft.com/office/drawing/2014/main" id="{9EFE89C2-83D2-B7DE-1073-7F1EF73E44F5}"/>
                </a:ext>
              </a:extLst>
            </p:cNvPr>
            <p:cNvSpPr/>
            <p:nvPr/>
          </p:nvSpPr>
          <p:spPr>
            <a:xfrm>
              <a:off x="4239262" y="3306103"/>
              <a:ext cx="94148" cy="52505"/>
            </a:xfrm>
            <a:custGeom>
              <a:avLst/>
              <a:gdLst>
                <a:gd name="connsiteX0" fmla="*/ 93728 w 94148"/>
                <a:gd name="connsiteY0" fmla="*/ 3192 h 52505"/>
                <a:gd name="connsiteX1" fmla="*/ 77853 w 94148"/>
                <a:gd name="connsiteY1" fmla="*/ 17 h 52505"/>
                <a:gd name="connsiteX2" fmla="*/ 68962 w 94148"/>
                <a:gd name="connsiteY2" fmla="*/ 4462 h 52505"/>
                <a:gd name="connsiteX3" fmla="*/ 6097 w 94148"/>
                <a:gd name="connsiteY3" fmla="*/ 40022 h 52505"/>
                <a:gd name="connsiteX4" fmla="*/ 382 w 94148"/>
                <a:gd name="connsiteY4" fmla="*/ 47642 h 52505"/>
                <a:gd name="connsiteX5" fmla="*/ 6097 w 94148"/>
                <a:gd name="connsiteY5" fmla="*/ 52087 h 52505"/>
                <a:gd name="connsiteX6" fmla="*/ 42292 w 94148"/>
                <a:gd name="connsiteY6" fmla="*/ 43197 h 52505"/>
                <a:gd name="connsiteX7" fmla="*/ 68328 w 94148"/>
                <a:gd name="connsiteY7" fmla="*/ 23512 h 52505"/>
                <a:gd name="connsiteX8" fmla="*/ 93728 w 94148"/>
                <a:gd name="connsiteY8" fmla="*/ 3192 h 5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148" h="52505">
                  <a:moveTo>
                    <a:pt x="93728" y="3192"/>
                  </a:moveTo>
                  <a:cubicBezTo>
                    <a:pt x="95632" y="1287"/>
                    <a:pt x="81028" y="-1253"/>
                    <a:pt x="77853" y="17"/>
                  </a:cubicBezTo>
                  <a:cubicBezTo>
                    <a:pt x="76582" y="17"/>
                    <a:pt x="73407" y="1922"/>
                    <a:pt x="68962" y="4462"/>
                  </a:cubicBezTo>
                  <a:cubicBezTo>
                    <a:pt x="49278" y="15257"/>
                    <a:pt x="6732" y="40022"/>
                    <a:pt x="6097" y="40022"/>
                  </a:cubicBezTo>
                  <a:cubicBezTo>
                    <a:pt x="1017" y="42562"/>
                    <a:pt x="-1522" y="43832"/>
                    <a:pt x="382" y="47642"/>
                  </a:cubicBezTo>
                  <a:cubicBezTo>
                    <a:pt x="1017" y="48912"/>
                    <a:pt x="2922" y="52087"/>
                    <a:pt x="6097" y="52087"/>
                  </a:cubicBezTo>
                  <a:cubicBezTo>
                    <a:pt x="8637" y="52722"/>
                    <a:pt x="30862" y="50182"/>
                    <a:pt x="42292" y="43197"/>
                  </a:cubicBezTo>
                  <a:cubicBezTo>
                    <a:pt x="47372" y="40657"/>
                    <a:pt x="58167" y="31767"/>
                    <a:pt x="68328" y="23512"/>
                  </a:cubicBezTo>
                  <a:cubicBezTo>
                    <a:pt x="81028" y="13987"/>
                    <a:pt x="93092" y="3827"/>
                    <a:pt x="93728" y="3192"/>
                  </a:cubicBezTo>
                </a:path>
              </a:pathLst>
            </a:custGeom>
            <a:solidFill>
              <a:srgbClr val="FFFFFF"/>
            </a:solidFill>
            <a:ln w="6350" cap="flat">
              <a:noFill/>
              <a:prstDash val="solid"/>
              <a:miter/>
            </a:ln>
          </p:spPr>
          <p:txBody>
            <a:bodyPr rtlCol="0" anchor="ctr"/>
            <a:lstStyle/>
            <a:p>
              <a:endParaRPr lang="en-GB"/>
            </a:p>
          </p:txBody>
        </p:sp>
        <p:sp>
          <p:nvSpPr>
            <p:cNvPr id="158" name="Freeform 157">
              <a:extLst>
                <a:ext uri="{FF2B5EF4-FFF2-40B4-BE49-F238E27FC236}">
                  <a16:creationId xmlns:a16="http://schemas.microsoft.com/office/drawing/2014/main" id="{10777C2D-72FC-BEEC-927D-2015F5D612CE}"/>
                </a:ext>
              </a:extLst>
            </p:cNvPr>
            <p:cNvSpPr/>
            <p:nvPr/>
          </p:nvSpPr>
          <p:spPr>
            <a:xfrm>
              <a:off x="4285756" y="3315334"/>
              <a:ext cx="72248" cy="51858"/>
            </a:xfrm>
            <a:custGeom>
              <a:avLst/>
              <a:gdLst>
                <a:gd name="connsiteX0" fmla="*/ 69459 w 72248"/>
                <a:gd name="connsiteY0" fmla="*/ 6660 h 51858"/>
                <a:gd name="connsiteX1" fmla="*/ 71999 w 72248"/>
                <a:gd name="connsiteY1" fmla="*/ 2850 h 51858"/>
                <a:gd name="connsiteX2" fmla="*/ 71364 w 72248"/>
                <a:gd name="connsiteY2" fmla="*/ 1580 h 51858"/>
                <a:gd name="connsiteX3" fmla="*/ 64379 w 72248"/>
                <a:gd name="connsiteY3" fmla="*/ 945 h 51858"/>
                <a:gd name="connsiteX4" fmla="*/ 52949 w 72248"/>
                <a:gd name="connsiteY4" fmla="*/ -325 h 51858"/>
                <a:gd name="connsiteX5" fmla="*/ 23739 w 72248"/>
                <a:gd name="connsiteY5" fmla="*/ 23170 h 51858"/>
                <a:gd name="connsiteX6" fmla="*/ 3419 w 72248"/>
                <a:gd name="connsiteY6" fmla="*/ 40315 h 51858"/>
                <a:gd name="connsiteX7" fmla="*/ 1514 w 72248"/>
                <a:gd name="connsiteY7" fmla="*/ 49205 h 51858"/>
                <a:gd name="connsiteX8" fmla="*/ 23739 w 72248"/>
                <a:gd name="connsiteY8" fmla="*/ 47300 h 51858"/>
                <a:gd name="connsiteX9" fmla="*/ 33264 w 72248"/>
                <a:gd name="connsiteY9" fmla="*/ 41585 h 51858"/>
                <a:gd name="connsiteX10" fmla="*/ 35169 w 72248"/>
                <a:gd name="connsiteY10" fmla="*/ 40315 h 51858"/>
                <a:gd name="connsiteX11" fmla="*/ 69459 w 72248"/>
                <a:gd name="connsiteY11" fmla="*/ 6660 h 5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248" h="51858">
                  <a:moveTo>
                    <a:pt x="69459" y="6660"/>
                  </a:moveTo>
                  <a:cubicBezTo>
                    <a:pt x="70094" y="6025"/>
                    <a:pt x="71999" y="4120"/>
                    <a:pt x="71999" y="2850"/>
                  </a:cubicBezTo>
                  <a:cubicBezTo>
                    <a:pt x="71999" y="2215"/>
                    <a:pt x="71999" y="2215"/>
                    <a:pt x="71364" y="1580"/>
                  </a:cubicBezTo>
                  <a:cubicBezTo>
                    <a:pt x="70094" y="310"/>
                    <a:pt x="66284" y="945"/>
                    <a:pt x="64379" y="945"/>
                  </a:cubicBezTo>
                  <a:cubicBezTo>
                    <a:pt x="60569" y="945"/>
                    <a:pt x="56759" y="310"/>
                    <a:pt x="52949" y="-325"/>
                  </a:cubicBezTo>
                  <a:cubicBezTo>
                    <a:pt x="51679" y="-325"/>
                    <a:pt x="37074" y="11740"/>
                    <a:pt x="23739" y="23170"/>
                  </a:cubicBezTo>
                  <a:cubicBezTo>
                    <a:pt x="14849" y="30790"/>
                    <a:pt x="7229" y="37775"/>
                    <a:pt x="3419" y="40315"/>
                  </a:cubicBezTo>
                  <a:cubicBezTo>
                    <a:pt x="879" y="42855"/>
                    <a:pt x="-2296" y="45395"/>
                    <a:pt x="1514" y="49205"/>
                  </a:cubicBezTo>
                  <a:cubicBezTo>
                    <a:pt x="6594" y="54285"/>
                    <a:pt x="18024" y="49840"/>
                    <a:pt x="23739" y="47300"/>
                  </a:cubicBezTo>
                  <a:cubicBezTo>
                    <a:pt x="27549" y="45395"/>
                    <a:pt x="30724" y="44125"/>
                    <a:pt x="33264" y="41585"/>
                  </a:cubicBezTo>
                  <a:cubicBezTo>
                    <a:pt x="33899" y="40950"/>
                    <a:pt x="34534" y="40315"/>
                    <a:pt x="35169" y="40315"/>
                  </a:cubicBezTo>
                  <a:cubicBezTo>
                    <a:pt x="38344" y="37775"/>
                    <a:pt x="66919" y="8565"/>
                    <a:pt x="69459" y="6660"/>
                  </a:cubicBezTo>
                </a:path>
              </a:pathLst>
            </a:custGeom>
            <a:solidFill>
              <a:srgbClr val="FFFFFF"/>
            </a:solidFill>
            <a:ln w="6350" cap="flat">
              <a:noFill/>
              <a:prstDash val="solid"/>
              <a:miter/>
            </a:ln>
          </p:spPr>
          <p:txBody>
            <a:bodyPr rtlCol="0" anchor="ctr"/>
            <a:lstStyle/>
            <a:p>
              <a:endParaRPr lang="en-GB"/>
            </a:p>
          </p:txBody>
        </p:sp>
        <p:sp>
          <p:nvSpPr>
            <p:cNvPr id="159" name="Freeform 158">
              <a:extLst>
                <a:ext uri="{FF2B5EF4-FFF2-40B4-BE49-F238E27FC236}">
                  <a16:creationId xmlns:a16="http://schemas.microsoft.com/office/drawing/2014/main" id="{78E96A27-AC77-C6D3-BA59-1D2DD3F543BB}"/>
                </a:ext>
              </a:extLst>
            </p:cNvPr>
            <p:cNvSpPr/>
            <p:nvPr/>
          </p:nvSpPr>
          <p:spPr>
            <a:xfrm>
              <a:off x="4263954" y="3213734"/>
              <a:ext cx="35630" cy="10356"/>
            </a:xfrm>
            <a:custGeom>
              <a:avLst/>
              <a:gdLst>
                <a:gd name="connsiteX0" fmla="*/ 18236 w 35630"/>
                <a:gd name="connsiteY0" fmla="*/ 8565 h 10356"/>
                <a:gd name="connsiteX1" fmla="*/ 35381 w 35630"/>
                <a:gd name="connsiteY1" fmla="*/ 4120 h 10356"/>
                <a:gd name="connsiteX2" fmla="*/ 17601 w 35630"/>
                <a:gd name="connsiteY2" fmla="*/ 310 h 10356"/>
                <a:gd name="connsiteX3" fmla="*/ 1726 w 35630"/>
                <a:gd name="connsiteY3" fmla="*/ -325 h 10356"/>
                <a:gd name="connsiteX4" fmla="*/ 2361 w 35630"/>
                <a:gd name="connsiteY4" fmla="*/ 8565 h 10356"/>
                <a:gd name="connsiteX5" fmla="*/ 18236 w 35630"/>
                <a:gd name="connsiteY5" fmla="*/ 8565 h 10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0356">
                  <a:moveTo>
                    <a:pt x="18236" y="8565"/>
                  </a:moveTo>
                  <a:cubicBezTo>
                    <a:pt x="30301" y="6660"/>
                    <a:pt x="35381" y="6660"/>
                    <a:pt x="35381" y="4120"/>
                  </a:cubicBezTo>
                  <a:cubicBezTo>
                    <a:pt x="34746" y="-960"/>
                    <a:pt x="29031" y="310"/>
                    <a:pt x="17601" y="310"/>
                  </a:cubicBezTo>
                  <a:cubicBezTo>
                    <a:pt x="11251" y="310"/>
                    <a:pt x="8076" y="-325"/>
                    <a:pt x="1726" y="-325"/>
                  </a:cubicBezTo>
                  <a:cubicBezTo>
                    <a:pt x="-2084" y="-325"/>
                    <a:pt x="456" y="6660"/>
                    <a:pt x="2361" y="8565"/>
                  </a:cubicBezTo>
                  <a:cubicBezTo>
                    <a:pt x="4266" y="11105"/>
                    <a:pt x="10616" y="9835"/>
                    <a:pt x="18236" y="8565"/>
                  </a:cubicBezTo>
                </a:path>
              </a:pathLst>
            </a:custGeom>
            <a:solidFill>
              <a:srgbClr val="FFFFFF"/>
            </a:solidFill>
            <a:ln w="6350" cap="flat">
              <a:noFill/>
              <a:prstDash val="solid"/>
              <a:miter/>
            </a:ln>
          </p:spPr>
          <p:txBody>
            <a:bodyPr rtlCol="0" anchor="ctr"/>
            <a:lstStyle/>
            <a:p>
              <a:endParaRPr lang="en-GB"/>
            </a:p>
          </p:txBody>
        </p:sp>
        <p:sp>
          <p:nvSpPr>
            <p:cNvPr id="160" name="Freeform 159">
              <a:extLst>
                <a:ext uri="{FF2B5EF4-FFF2-40B4-BE49-F238E27FC236}">
                  <a16:creationId xmlns:a16="http://schemas.microsoft.com/office/drawing/2014/main" id="{56E06C5D-EB06-08F1-AE1D-F5227C2A44BC}"/>
                </a:ext>
              </a:extLst>
            </p:cNvPr>
            <p:cNvSpPr/>
            <p:nvPr/>
          </p:nvSpPr>
          <p:spPr>
            <a:xfrm>
              <a:off x="4713604" y="3213664"/>
              <a:ext cx="35630" cy="10082"/>
            </a:xfrm>
            <a:custGeom>
              <a:avLst/>
              <a:gdLst>
                <a:gd name="connsiteX0" fmla="*/ 32770 w 35630"/>
                <a:gd name="connsiteY0" fmla="*/ 8636 h 10082"/>
                <a:gd name="connsiteX1" fmla="*/ 33405 w 35630"/>
                <a:gd name="connsiteY1" fmla="*/ -254 h 10082"/>
                <a:gd name="connsiteX2" fmla="*/ 2925 w 35630"/>
                <a:gd name="connsiteY2" fmla="*/ 1651 h 10082"/>
                <a:gd name="connsiteX3" fmla="*/ -250 w 35630"/>
                <a:gd name="connsiteY3" fmla="*/ 4191 h 10082"/>
                <a:gd name="connsiteX4" fmla="*/ 1655 w 35630"/>
                <a:gd name="connsiteY4" fmla="*/ 6096 h 10082"/>
                <a:gd name="connsiteX5" fmla="*/ 32770 w 35630"/>
                <a:gd name="connsiteY5" fmla="*/ 8636 h 1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0082">
                  <a:moveTo>
                    <a:pt x="32770" y="8636"/>
                  </a:moveTo>
                  <a:cubicBezTo>
                    <a:pt x="34675" y="6096"/>
                    <a:pt x="37215" y="-254"/>
                    <a:pt x="33405" y="-254"/>
                  </a:cubicBezTo>
                  <a:cubicBezTo>
                    <a:pt x="28960" y="-254"/>
                    <a:pt x="10545" y="-889"/>
                    <a:pt x="2925" y="1651"/>
                  </a:cubicBezTo>
                  <a:cubicBezTo>
                    <a:pt x="1020" y="2286"/>
                    <a:pt x="-250" y="2921"/>
                    <a:pt x="-250" y="4191"/>
                  </a:cubicBezTo>
                  <a:cubicBezTo>
                    <a:pt x="-250" y="4826"/>
                    <a:pt x="385" y="5461"/>
                    <a:pt x="1655" y="6096"/>
                  </a:cubicBezTo>
                  <a:cubicBezTo>
                    <a:pt x="6100" y="7366"/>
                    <a:pt x="30230" y="11811"/>
                    <a:pt x="32770" y="8636"/>
                  </a:cubicBezTo>
                </a:path>
              </a:pathLst>
            </a:custGeom>
            <a:solidFill>
              <a:srgbClr val="FFFFFF"/>
            </a:solidFill>
            <a:ln w="6350" cap="flat">
              <a:noFill/>
              <a:prstDash val="solid"/>
              <a:miter/>
            </a:ln>
          </p:spPr>
          <p:txBody>
            <a:bodyPr rtlCol="0" anchor="ctr"/>
            <a:lstStyle/>
            <a:p>
              <a:endParaRPr lang="en-GB"/>
            </a:p>
          </p:txBody>
        </p:sp>
        <p:sp>
          <p:nvSpPr>
            <p:cNvPr id="161" name="Freeform 160">
              <a:extLst>
                <a:ext uri="{FF2B5EF4-FFF2-40B4-BE49-F238E27FC236}">
                  <a16:creationId xmlns:a16="http://schemas.microsoft.com/office/drawing/2014/main" id="{D60448A0-DBBC-5FB6-8F98-768E22E04774}"/>
                </a:ext>
              </a:extLst>
            </p:cNvPr>
            <p:cNvSpPr/>
            <p:nvPr/>
          </p:nvSpPr>
          <p:spPr>
            <a:xfrm>
              <a:off x="4632325" y="3291204"/>
              <a:ext cx="20320" cy="29210"/>
            </a:xfrm>
            <a:custGeom>
              <a:avLst/>
              <a:gdLst>
                <a:gd name="connsiteX0" fmla="*/ 15625 w 20320"/>
                <a:gd name="connsiteY0" fmla="*/ 25710 h 29210"/>
                <a:gd name="connsiteX1" fmla="*/ 20070 w 20320"/>
                <a:gd name="connsiteY1" fmla="*/ 21265 h 29210"/>
                <a:gd name="connsiteX2" fmla="*/ 20070 w 20320"/>
                <a:gd name="connsiteY2" fmla="*/ 20630 h 29210"/>
                <a:gd name="connsiteX3" fmla="*/ 19435 w 20320"/>
                <a:gd name="connsiteY3" fmla="*/ 18090 h 29210"/>
                <a:gd name="connsiteX4" fmla="*/ 11815 w 20320"/>
                <a:gd name="connsiteY4" fmla="*/ 6025 h 29210"/>
                <a:gd name="connsiteX5" fmla="*/ 1655 w 20320"/>
                <a:gd name="connsiteY5" fmla="*/ -325 h 29210"/>
                <a:gd name="connsiteX6" fmla="*/ -250 w 20320"/>
                <a:gd name="connsiteY6" fmla="*/ 310 h 29210"/>
                <a:gd name="connsiteX7" fmla="*/ -250 w 20320"/>
                <a:gd name="connsiteY7" fmla="*/ 945 h 29210"/>
                <a:gd name="connsiteX8" fmla="*/ 9275 w 20320"/>
                <a:gd name="connsiteY8" fmla="*/ 28885 h 29210"/>
                <a:gd name="connsiteX9" fmla="*/ 15625 w 20320"/>
                <a:gd name="connsiteY9" fmla="*/ 25710 h 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 h="29210">
                  <a:moveTo>
                    <a:pt x="15625" y="25710"/>
                  </a:moveTo>
                  <a:cubicBezTo>
                    <a:pt x="17530" y="24440"/>
                    <a:pt x="19435" y="23170"/>
                    <a:pt x="20070" y="21265"/>
                  </a:cubicBezTo>
                  <a:cubicBezTo>
                    <a:pt x="20070" y="21265"/>
                    <a:pt x="20070" y="20630"/>
                    <a:pt x="20070" y="20630"/>
                  </a:cubicBezTo>
                  <a:cubicBezTo>
                    <a:pt x="20070" y="19995"/>
                    <a:pt x="20070" y="18725"/>
                    <a:pt x="19435" y="18090"/>
                  </a:cubicBezTo>
                  <a:cubicBezTo>
                    <a:pt x="18165" y="14915"/>
                    <a:pt x="12450" y="6660"/>
                    <a:pt x="11815" y="6025"/>
                  </a:cubicBezTo>
                  <a:cubicBezTo>
                    <a:pt x="9275" y="2215"/>
                    <a:pt x="6100" y="-325"/>
                    <a:pt x="1655" y="-325"/>
                  </a:cubicBezTo>
                  <a:cubicBezTo>
                    <a:pt x="1655" y="-325"/>
                    <a:pt x="385" y="-325"/>
                    <a:pt x="-250" y="310"/>
                  </a:cubicBezTo>
                  <a:lnTo>
                    <a:pt x="-250" y="945"/>
                  </a:lnTo>
                  <a:cubicBezTo>
                    <a:pt x="4195" y="9835"/>
                    <a:pt x="8005" y="18725"/>
                    <a:pt x="9275" y="28885"/>
                  </a:cubicBezTo>
                  <a:cubicBezTo>
                    <a:pt x="9910" y="27615"/>
                    <a:pt x="14990" y="25710"/>
                    <a:pt x="15625" y="25710"/>
                  </a:cubicBezTo>
                </a:path>
              </a:pathLst>
            </a:custGeom>
            <a:solidFill>
              <a:srgbClr val="FFFFFF"/>
            </a:solidFill>
            <a:ln w="6350" cap="flat">
              <a:noFill/>
              <a:prstDash val="solid"/>
              <a:miter/>
            </a:ln>
          </p:spPr>
          <p:txBody>
            <a:bodyPr rtlCol="0" anchor="ctr"/>
            <a:lstStyle/>
            <a:p>
              <a:endParaRPr lang="en-GB"/>
            </a:p>
          </p:txBody>
        </p:sp>
        <p:sp>
          <p:nvSpPr>
            <p:cNvPr id="162" name="Freeform 161">
              <a:extLst>
                <a:ext uri="{FF2B5EF4-FFF2-40B4-BE49-F238E27FC236}">
                  <a16:creationId xmlns:a16="http://schemas.microsoft.com/office/drawing/2014/main" id="{667F9FEB-DB2A-E83E-05FA-5BAE94F61CE4}"/>
                </a:ext>
              </a:extLst>
            </p:cNvPr>
            <p:cNvSpPr/>
            <p:nvPr/>
          </p:nvSpPr>
          <p:spPr>
            <a:xfrm>
              <a:off x="4326890" y="3322224"/>
              <a:ext cx="46354" cy="44509"/>
            </a:xfrm>
            <a:custGeom>
              <a:avLst/>
              <a:gdLst>
                <a:gd name="connsiteX0" fmla="*/ 46105 w 46354"/>
                <a:gd name="connsiteY0" fmla="*/ 406 h 44509"/>
                <a:gd name="connsiteX1" fmla="*/ 44835 w 46354"/>
                <a:gd name="connsiteY1" fmla="*/ -229 h 44509"/>
                <a:gd name="connsiteX2" fmla="*/ 28960 w 46354"/>
                <a:gd name="connsiteY2" fmla="*/ 6756 h 44509"/>
                <a:gd name="connsiteX3" fmla="*/ -250 w 46354"/>
                <a:gd name="connsiteY3" fmla="*/ 40411 h 44509"/>
                <a:gd name="connsiteX4" fmla="*/ 1655 w 46354"/>
                <a:gd name="connsiteY4" fmla="*/ 42951 h 44509"/>
                <a:gd name="connsiteX5" fmla="*/ 28960 w 46354"/>
                <a:gd name="connsiteY5" fmla="*/ 41046 h 44509"/>
                <a:gd name="connsiteX6" fmla="*/ 40390 w 46354"/>
                <a:gd name="connsiteY6" fmla="*/ 21361 h 44509"/>
                <a:gd name="connsiteX7" fmla="*/ 45470 w 46354"/>
                <a:gd name="connsiteY7" fmla="*/ 11836 h 44509"/>
                <a:gd name="connsiteX8" fmla="*/ 45470 w 46354"/>
                <a:gd name="connsiteY8" fmla="*/ 9931 h 44509"/>
                <a:gd name="connsiteX9" fmla="*/ 46105 w 46354"/>
                <a:gd name="connsiteY9" fmla="*/ 1676 h 44509"/>
                <a:gd name="connsiteX10" fmla="*/ 46105 w 46354"/>
                <a:gd name="connsiteY10" fmla="*/ 406 h 4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354" h="44509">
                  <a:moveTo>
                    <a:pt x="46105" y="406"/>
                  </a:moveTo>
                  <a:cubicBezTo>
                    <a:pt x="45470" y="406"/>
                    <a:pt x="45470" y="-229"/>
                    <a:pt x="44835" y="-229"/>
                  </a:cubicBezTo>
                  <a:cubicBezTo>
                    <a:pt x="40390" y="-864"/>
                    <a:pt x="34040" y="1676"/>
                    <a:pt x="28960" y="6756"/>
                  </a:cubicBezTo>
                  <a:cubicBezTo>
                    <a:pt x="24515" y="11836"/>
                    <a:pt x="-250" y="36601"/>
                    <a:pt x="-250" y="40411"/>
                  </a:cubicBezTo>
                  <a:cubicBezTo>
                    <a:pt x="-250" y="41681"/>
                    <a:pt x="385" y="42316"/>
                    <a:pt x="1655" y="42951"/>
                  </a:cubicBezTo>
                  <a:cubicBezTo>
                    <a:pt x="7370" y="46126"/>
                    <a:pt x="25785" y="42316"/>
                    <a:pt x="28960" y="41046"/>
                  </a:cubicBezTo>
                  <a:cubicBezTo>
                    <a:pt x="29595" y="40411"/>
                    <a:pt x="35945" y="29616"/>
                    <a:pt x="40390" y="21361"/>
                  </a:cubicBezTo>
                  <a:cubicBezTo>
                    <a:pt x="42930" y="16281"/>
                    <a:pt x="45470" y="12471"/>
                    <a:pt x="45470" y="11836"/>
                  </a:cubicBezTo>
                  <a:cubicBezTo>
                    <a:pt x="45470" y="11201"/>
                    <a:pt x="45470" y="10566"/>
                    <a:pt x="45470" y="9931"/>
                  </a:cubicBezTo>
                  <a:cubicBezTo>
                    <a:pt x="45470" y="7391"/>
                    <a:pt x="45470" y="4216"/>
                    <a:pt x="46105" y="1676"/>
                  </a:cubicBezTo>
                  <a:cubicBezTo>
                    <a:pt x="46105" y="1676"/>
                    <a:pt x="46105" y="1041"/>
                    <a:pt x="46105" y="406"/>
                  </a:cubicBezTo>
                </a:path>
              </a:pathLst>
            </a:custGeom>
            <a:solidFill>
              <a:srgbClr val="FFFFFF"/>
            </a:solidFill>
            <a:ln w="6350" cap="flat">
              <a:noFill/>
              <a:prstDash val="solid"/>
              <a:miter/>
            </a:ln>
          </p:spPr>
          <p:txBody>
            <a:bodyPr rtlCol="0" anchor="ctr"/>
            <a:lstStyle/>
            <a:p>
              <a:endParaRPr lang="en-GB"/>
            </a:p>
          </p:txBody>
        </p:sp>
        <p:sp>
          <p:nvSpPr>
            <p:cNvPr id="163" name="Freeform 162">
              <a:extLst>
                <a:ext uri="{FF2B5EF4-FFF2-40B4-BE49-F238E27FC236}">
                  <a16:creationId xmlns:a16="http://schemas.microsoft.com/office/drawing/2014/main" id="{B9F8CAFA-551E-4897-7EF6-8E74C58F0654}"/>
                </a:ext>
              </a:extLst>
            </p:cNvPr>
            <p:cNvSpPr/>
            <p:nvPr/>
          </p:nvSpPr>
          <p:spPr>
            <a:xfrm>
              <a:off x="4361770" y="3289367"/>
              <a:ext cx="22269" cy="26884"/>
            </a:xfrm>
            <a:custGeom>
              <a:avLst/>
              <a:gdLst>
                <a:gd name="connsiteX0" fmla="*/ 22019 w 22269"/>
                <a:gd name="connsiteY0" fmla="*/ 877 h 26884"/>
                <a:gd name="connsiteX1" fmla="*/ 14399 w 22269"/>
                <a:gd name="connsiteY1" fmla="*/ 877 h 26884"/>
                <a:gd name="connsiteX2" fmla="*/ -206 w 22269"/>
                <a:gd name="connsiteY2" fmla="*/ 21197 h 26884"/>
                <a:gd name="connsiteX3" fmla="*/ 8049 w 22269"/>
                <a:gd name="connsiteY3" fmla="*/ 26277 h 26884"/>
                <a:gd name="connsiteX4" fmla="*/ 12494 w 22269"/>
                <a:gd name="connsiteY4" fmla="*/ 26277 h 26884"/>
                <a:gd name="connsiteX5" fmla="*/ 18209 w 22269"/>
                <a:gd name="connsiteY5" fmla="*/ 7862 h 26884"/>
                <a:gd name="connsiteX6" fmla="*/ 22019 w 22269"/>
                <a:gd name="connsiteY6" fmla="*/ 877 h 26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69" h="26884">
                  <a:moveTo>
                    <a:pt x="22019" y="877"/>
                  </a:moveTo>
                  <a:cubicBezTo>
                    <a:pt x="21384" y="-1028"/>
                    <a:pt x="17574" y="-393"/>
                    <a:pt x="14399" y="877"/>
                  </a:cubicBezTo>
                  <a:cubicBezTo>
                    <a:pt x="12494" y="3417"/>
                    <a:pt x="429" y="18657"/>
                    <a:pt x="-206" y="21197"/>
                  </a:cubicBezTo>
                  <a:cubicBezTo>
                    <a:pt x="-841" y="25007"/>
                    <a:pt x="5509" y="26277"/>
                    <a:pt x="8049" y="26277"/>
                  </a:cubicBezTo>
                  <a:cubicBezTo>
                    <a:pt x="8684" y="26277"/>
                    <a:pt x="12494" y="26912"/>
                    <a:pt x="12494" y="26277"/>
                  </a:cubicBezTo>
                  <a:cubicBezTo>
                    <a:pt x="13764" y="19927"/>
                    <a:pt x="15669" y="13577"/>
                    <a:pt x="18209" y="7862"/>
                  </a:cubicBezTo>
                  <a:cubicBezTo>
                    <a:pt x="19479" y="5957"/>
                    <a:pt x="20749" y="3417"/>
                    <a:pt x="22019" y="877"/>
                  </a:cubicBezTo>
                </a:path>
              </a:pathLst>
            </a:custGeom>
            <a:solidFill>
              <a:srgbClr val="FFFFFF"/>
            </a:solidFill>
            <a:ln w="6350" cap="flat">
              <a:noFill/>
              <a:prstDash val="solid"/>
              <a:miter/>
            </a:ln>
          </p:spPr>
          <p:txBody>
            <a:bodyPr rtlCol="0" anchor="ctr"/>
            <a:lstStyle/>
            <a:p>
              <a:endParaRPr lang="en-GB"/>
            </a:p>
          </p:txBody>
        </p:sp>
        <p:sp>
          <p:nvSpPr>
            <p:cNvPr id="164" name="Freeform 163">
              <a:extLst>
                <a:ext uri="{FF2B5EF4-FFF2-40B4-BE49-F238E27FC236}">
                  <a16:creationId xmlns:a16="http://schemas.microsoft.com/office/drawing/2014/main" id="{D0166E19-426E-5B75-C9B0-14B7A92CA07C}"/>
                </a:ext>
              </a:extLst>
            </p:cNvPr>
            <p:cNvSpPr/>
            <p:nvPr/>
          </p:nvSpPr>
          <p:spPr>
            <a:xfrm>
              <a:off x="4364625" y="3347084"/>
              <a:ext cx="15604" cy="23120"/>
            </a:xfrm>
            <a:custGeom>
              <a:avLst/>
              <a:gdLst>
                <a:gd name="connsiteX0" fmla="*/ 12815 w 15604"/>
                <a:gd name="connsiteY0" fmla="*/ 22535 h 23120"/>
                <a:gd name="connsiteX1" fmla="*/ 15354 w 15604"/>
                <a:gd name="connsiteY1" fmla="*/ 21265 h 23120"/>
                <a:gd name="connsiteX2" fmla="*/ 9004 w 15604"/>
                <a:gd name="connsiteY2" fmla="*/ -325 h 23120"/>
                <a:gd name="connsiteX3" fmla="*/ 7099 w 15604"/>
                <a:gd name="connsiteY3" fmla="*/ 2850 h 23120"/>
                <a:gd name="connsiteX4" fmla="*/ 115 w 15604"/>
                <a:gd name="connsiteY4" fmla="*/ 16185 h 23120"/>
                <a:gd name="connsiteX5" fmla="*/ 12815 w 15604"/>
                <a:gd name="connsiteY5" fmla="*/ 22535 h 2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04" h="23120">
                  <a:moveTo>
                    <a:pt x="12815" y="22535"/>
                  </a:moveTo>
                  <a:cubicBezTo>
                    <a:pt x="13449" y="22535"/>
                    <a:pt x="14720" y="21900"/>
                    <a:pt x="15354" y="21265"/>
                  </a:cubicBezTo>
                  <a:cubicBezTo>
                    <a:pt x="12179" y="14280"/>
                    <a:pt x="10274" y="7295"/>
                    <a:pt x="9004" y="-325"/>
                  </a:cubicBezTo>
                  <a:cubicBezTo>
                    <a:pt x="8370" y="945"/>
                    <a:pt x="7734" y="1580"/>
                    <a:pt x="7099" y="2850"/>
                  </a:cubicBezTo>
                  <a:cubicBezTo>
                    <a:pt x="4559" y="7295"/>
                    <a:pt x="2020" y="11740"/>
                    <a:pt x="115" y="16185"/>
                  </a:cubicBezTo>
                  <a:cubicBezTo>
                    <a:pt x="-2426" y="23170"/>
                    <a:pt x="9004" y="23170"/>
                    <a:pt x="12815" y="22535"/>
                  </a:cubicBezTo>
                </a:path>
              </a:pathLst>
            </a:custGeom>
            <a:solidFill>
              <a:srgbClr val="FFFFFF"/>
            </a:solidFill>
            <a:ln w="6350" cap="flat">
              <a:noFill/>
              <a:prstDash val="solid"/>
              <a:miter/>
            </a:ln>
          </p:spPr>
          <p:txBody>
            <a:bodyPr rtlCol="0" anchor="ctr"/>
            <a:lstStyle/>
            <a:p>
              <a:endParaRPr lang="en-GB"/>
            </a:p>
          </p:txBody>
        </p:sp>
        <p:sp>
          <p:nvSpPr>
            <p:cNvPr id="165" name="Freeform 164">
              <a:extLst>
                <a:ext uri="{FF2B5EF4-FFF2-40B4-BE49-F238E27FC236}">
                  <a16:creationId xmlns:a16="http://schemas.microsoft.com/office/drawing/2014/main" id="{0E930540-604E-5823-9423-A339A9EE63BD}"/>
                </a:ext>
              </a:extLst>
            </p:cNvPr>
            <p:cNvSpPr/>
            <p:nvPr/>
          </p:nvSpPr>
          <p:spPr>
            <a:xfrm>
              <a:off x="4633595" y="3349625"/>
              <a:ext cx="17511" cy="24692"/>
            </a:xfrm>
            <a:custGeom>
              <a:avLst/>
              <a:gdLst>
                <a:gd name="connsiteX0" fmla="*/ 7370 w 17511"/>
                <a:gd name="connsiteY0" fmla="*/ 1580 h 24692"/>
                <a:gd name="connsiteX1" fmla="*/ -250 w 17511"/>
                <a:gd name="connsiteY1" fmla="*/ 22535 h 24692"/>
                <a:gd name="connsiteX2" fmla="*/ 14355 w 17511"/>
                <a:gd name="connsiteY2" fmla="*/ 21900 h 24692"/>
                <a:gd name="connsiteX3" fmla="*/ 11180 w 17511"/>
                <a:gd name="connsiteY3" fmla="*/ 5390 h 24692"/>
                <a:gd name="connsiteX4" fmla="*/ 7370 w 17511"/>
                <a:gd name="connsiteY4" fmla="*/ -325 h 24692"/>
                <a:gd name="connsiteX5" fmla="*/ 7370 w 17511"/>
                <a:gd name="connsiteY5" fmla="*/ 1580 h 2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11" h="24692">
                  <a:moveTo>
                    <a:pt x="7370" y="1580"/>
                  </a:moveTo>
                  <a:cubicBezTo>
                    <a:pt x="5465" y="9200"/>
                    <a:pt x="2925" y="16185"/>
                    <a:pt x="-250" y="22535"/>
                  </a:cubicBezTo>
                  <a:cubicBezTo>
                    <a:pt x="2290" y="24440"/>
                    <a:pt x="9910" y="25710"/>
                    <a:pt x="14355" y="21900"/>
                  </a:cubicBezTo>
                  <a:cubicBezTo>
                    <a:pt x="19435" y="18090"/>
                    <a:pt x="17530" y="14915"/>
                    <a:pt x="11180" y="5390"/>
                  </a:cubicBezTo>
                  <a:cubicBezTo>
                    <a:pt x="9910" y="3485"/>
                    <a:pt x="8640" y="2215"/>
                    <a:pt x="7370" y="-325"/>
                  </a:cubicBezTo>
                  <a:cubicBezTo>
                    <a:pt x="8005" y="945"/>
                    <a:pt x="8005" y="945"/>
                    <a:pt x="7370" y="1580"/>
                  </a:cubicBezTo>
                </a:path>
              </a:pathLst>
            </a:custGeom>
            <a:solidFill>
              <a:srgbClr val="FFFFFF"/>
            </a:solidFill>
            <a:ln w="6350" cap="flat">
              <a:noFill/>
              <a:prstDash val="solid"/>
              <a:miter/>
            </a:ln>
          </p:spPr>
          <p:txBody>
            <a:bodyPr rtlCol="0" anchor="ctr"/>
            <a:lstStyle/>
            <a:p>
              <a:endParaRPr lang="en-GB"/>
            </a:p>
          </p:txBody>
        </p:sp>
        <p:sp>
          <p:nvSpPr>
            <p:cNvPr id="166" name="Freeform 165">
              <a:extLst>
                <a:ext uri="{FF2B5EF4-FFF2-40B4-BE49-F238E27FC236}">
                  <a16:creationId xmlns:a16="http://schemas.microsoft.com/office/drawing/2014/main" id="{A7E4A00F-7F34-AAA7-9BE2-D74A8D3A933F}"/>
                </a:ext>
              </a:extLst>
            </p:cNvPr>
            <p:cNvSpPr/>
            <p:nvPr/>
          </p:nvSpPr>
          <p:spPr>
            <a:xfrm>
              <a:off x="4753978" y="3221990"/>
              <a:ext cx="232608" cy="18414"/>
            </a:xfrm>
            <a:custGeom>
              <a:avLst/>
              <a:gdLst>
                <a:gd name="connsiteX0" fmla="*/ 226712 w 232608"/>
                <a:gd name="connsiteY0" fmla="*/ -325 h 18414"/>
                <a:gd name="connsiteX1" fmla="*/ 148606 w 232608"/>
                <a:gd name="connsiteY1" fmla="*/ 2215 h 18414"/>
                <a:gd name="connsiteX2" fmla="*/ 19701 w 232608"/>
                <a:gd name="connsiteY2" fmla="*/ 2215 h 18414"/>
                <a:gd name="connsiteX3" fmla="*/ 8906 w 232608"/>
                <a:gd name="connsiteY3" fmla="*/ 2215 h 18414"/>
                <a:gd name="connsiteX4" fmla="*/ 16 w 232608"/>
                <a:gd name="connsiteY4" fmla="*/ 4120 h 18414"/>
                <a:gd name="connsiteX5" fmla="*/ 8271 w 232608"/>
                <a:gd name="connsiteY5" fmla="*/ 7295 h 18414"/>
                <a:gd name="connsiteX6" fmla="*/ 44466 w 232608"/>
                <a:gd name="connsiteY6" fmla="*/ 9835 h 18414"/>
                <a:gd name="connsiteX7" fmla="*/ 62881 w 232608"/>
                <a:gd name="connsiteY7" fmla="*/ 11105 h 18414"/>
                <a:gd name="connsiteX8" fmla="*/ 200677 w 232608"/>
                <a:gd name="connsiteY8" fmla="*/ 18090 h 18414"/>
                <a:gd name="connsiteX9" fmla="*/ 231156 w 232608"/>
                <a:gd name="connsiteY9" fmla="*/ 10470 h 18414"/>
                <a:gd name="connsiteX10" fmla="*/ 231156 w 232608"/>
                <a:gd name="connsiteY10" fmla="*/ 4755 h 18414"/>
                <a:gd name="connsiteX11" fmla="*/ 226712 w 232608"/>
                <a:gd name="connsiteY11" fmla="*/ -325 h 1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2608" h="18414">
                  <a:moveTo>
                    <a:pt x="226712" y="-325"/>
                  </a:moveTo>
                  <a:cubicBezTo>
                    <a:pt x="223537" y="-325"/>
                    <a:pt x="161306" y="2215"/>
                    <a:pt x="148606" y="2215"/>
                  </a:cubicBezTo>
                  <a:cubicBezTo>
                    <a:pt x="147971" y="2215"/>
                    <a:pt x="24781" y="2215"/>
                    <a:pt x="19701" y="2215"/>
                  </a:cubicBezTo>
                  <a:cubicBezTo>
                    <a:pt x="15891" y="2215"/>
                    <a:pt x="12081" y="2215"/>
                    <a:pt x="8906" y="2215"/>
                  </a:cubicBezTo>
                  <a:cubicBezTo>
                    <a:pt x="7001" y="2215"/>
                    <a:pt x="1287" y="2215"/>
                    <a:pt x="16" y="4120"/>
                  </a:cubicBezTo>
                  <a:cubicBezTo>
                    <a:pt x="-1888" y="7295"/>
                    <a:pt x="7001" y="7295"/>
                    <a:pt x="8271" y="7295"/>
                  </a:cubicBezTo>
                  <a:cubicBezTo>
                    <a:pt x="11446" y="7295"/>
                    <a:pt x="35576" y="9200"/>
                    <a:pt x="44466" y="9835"/>
                  </a:cubicBezTo>
                  <a:cubicBezTo>
                    <a:pt x="50816" y="10470"/>
                    <a:pt x="57166" y="11105"/>
                    <a:pt x="62881" y="11105"/>
                  </a:cubicBezTo>
                  <a:cubicBezTo>
                    <a:pt x="108601" y="14280"/>
                    <a:pt x="153687" y="17455"/>
                    <a:pt x="200677" y="18090"/>
                  </a:cubicBezTo>
                  <a:cubicBezTo>
                    <a:pt x="209566" y="18090"/>
                    <a:pt x="229887" y="11105"/>
                    <a:pt x="231156" y="10470"/>
                  </a:cubicBezTo>
                  <a:cubicBezTo>
                    <a:pt x="232427" y="9835"/>
                    <a:pt x="233062" y="8565"/>
                    <a:pt x="231156" y="4755"/>
                  </a:cubicBezTo>
                  <a:cubicBezTo>
                    <a:pt x="229887" y="1580"/>
                    <a:pt x="228616" y="-325"/>
                    <a:pt x="226712" y="-325"/>
                  </a:cubicBezTo>
                </a:path>
              </a:pathLst>
            </a:custGeom>
            <a:solidFill>
              <a:srgbClr val="FFFFFF"/>
            </a:solidFill>
            <a:ln w="6350" cap="flat">
              <a:noFill/>
              <a:prstDash val="solid"/>
              <a:miter/>
            </a:ln>
          </p:spPr>
          <p:txBody>
            <a:bodyPr rtlCol="0" anchor="ctr"/>
            <a:lstStyle/>
            <a:p>
              <a:endParaRPr lang="en-GB"/>
            </a:p>
          </p:txBody>
        </p:sp>
        <p:sp>
          <p:nvSpPr>
            <p:cNvPr id="167" name="Freeform 166">
              <a:extLst>
                <a:ext uri="{FF2B5EF4-FFF2-40B4-BE49-F238E27FC236}">
                  <a16:creationId xmlns:a16="http://schemas.microsoft.com/office/drawing/2014/main" id="{DA8F7254-9CE3-573B-969C-411DD0240327}"/>
                </a:ext>
              </a:extLst>
            </p:cNvPr>
            <p:cNvSpPr/>
            <p:nvPr/>
          </p:nvSpPr>
          <p:spPr>
            <a:xfrm>
              <a:off x="4379595" y="3234054"/>
              <a:ext cx="257809" cy="198120"/>
            </a:xfrm>
            <a:custGeom>
              <a:avLst/>
              <a:gdLst>
                <a:gd name="connsiteX0" fmla="*/ 147070 w 257809"/>
                <a:gd name="connsiteY0" fmla="*/ 196525 h 198120"/>
                <a:gd name="connsiteX1" fmla="*/ 149610 w 257809"/>
                <a:gd name="connsiteY1" fmla="*/ 195890 h 198120"/>
                <a:gd name="connsiteX2" fmla="*/ 152785 w 257809"/>
                <a:gd name="connsiteY2" fmla="*/ 195255 h 198120"/>
                <a:gd name="connsiteX3" fmla="*/ 155960 w 257809"/>
                <a:gd name="connsiteY3" fmla="*/ 194620 h 198120"/>
                <a:gd name="connsiteX4" fmla="*/ 158500 w 257809"/>
                <a:gd name="connsiteY4" fmla="*/ 193985 h 198120"/>
                <a:gd name="connsiteX5" fmla="*/ 161675 w 257809"/>
                <a:gd name="connsiteY5" fmla="*/ 193350 h 198120"/>
                <a:gd name="connsiteX6" fmla="*/ 164215 w 257809"/>
                <a:gd name="connsiteY6" fmla="*/ 192715 h 198120"/>
                <a:gd name="connsiteX7" fmla="*/ 167390 w 257809"/>
                <a:gd name="connsiteY7" fmla="*/ 192080 h 198120"/>
                <a:gd name="connsiteX8" fmla="*/ 169930 w 257809"/>
                <a:gd name="connsiteY8" fmla="*/ 191445 h 198120"/>
                <a:gd name="connsiteX9" fmla="*/ 173105 w 257809"/>
                <a:gd name="connsiteY9" fmla="*/ 190810 h 198120"/>
                <a:gd name="connsiteX10" fmla="*/ 173105 w 257809"/>
                <a:gd name="connsiteY10" fmla="*/ 190810 h 198120"/>
                <a:gd name="connsiteX11" fmla="*/ 178185 w 257809"/>
                <a:gd name="connsiteY11" fmla="*/ 189540 h 198120"/>
                <a:gd name="connsiteX12" fmla="*/ 180725 w 257809"/>
                <a:gd name="connsiteY12" fmla="*/ 188905 h 198120"/>
                <a:gd name="connsiteX13" fmla="*/ 183265 w 257809"/>
                <a:gd name="connsiteY13" fmla="*/ 188270 h 198120"/>
                <a:gd name="connsiteX14" fmla="*/ 185805 w 257809"/>
                <a:gd name="connsiteY14" fmla="*/ 187635 h 198120"/>
                <a:gd name="connsiteX15" fmla="*/ 188345 w 257809"/>
                <a:gd name="connsiteY15" fmla="*/ 186365 h 198120"/>
                <a:gd name="connsiteX16" fmla="*/ 190885 w 257809"/>
                <a:gd name="connsiteY16" fmla="*/ 185095 h 198120"/>
                <a:gd name="connsiteX17" fmla="*/ 194060 w 257809"/>
                <a:gd name="connsiteY17" fmla="*/ 183825 h 198120"/>
                <a:gd name="connsiteX18" fmla="*/ 197235 w 257809"/>
                <a:gd name="connsiteY18" fmla="*/ 182555 h 198120"/>
                <a:gd name="connsiteX19" fmla="*/ 199775 w 257809"/>
                <a:gd name="connsiteY19" fmla="*/ 181285 h 198120"/>
                <a:gd name="connsiteX20" fmla="*/ 202315 w 257809"/>
                <a:gd name="connsiteY20" fmla="*/ 180015 h 198120"/>
                <a:gd name="connsiteX21" fmla="*/ 204855 w 257809"/>
                <a:gd name="connsiteY21" fmla="*/ 178745 h 198120"/>
                <a:gd name="connsiteX22" fmla="*/ 206760 w 257809"/>
                <a:gd name="connsiteY22" fmla="*/ 177475 h 198120"/>
                <a:gd name="connsiteX23" fmla="*/ 209300 w 257809"/>
                <a:gd name="connsiteY23" fmla="*/ 176205 h 198120"/>
                <a:gd name="connsiteX24" fmla="*/ 211205 w 257809"/>
                <a:gd name="connsiteY24" fmla="*/ 174935 h 198120"/>
                <a:gd name="connsiteX25" fmla="*/ 215015 w 257809"/>
                <a:gd name="connsiteY25" fmla="*/ 172395 h 198120"/>
                <a:gd name="connsiteX26" fmla="*/ 216920 w 257809"/>
                <a:gd name="connsiteY26" fmla="*/ 171125 h 198120"/>
                <a:gd name="connsiteX27" fmla="*/ 219460 w 257809"/>
                <a:gd name="connsiteY27" fmla="*/ 169220 h 198120"/>
                <a:gd name="connsiteX28" fmla="*/ 221365 w 257809"/>
                <a:gd name="connsiteY28" fmla="*/ 167950 h 198120"/>
                <a:gd name="connsiteX29" fmla="*/ 223270 w 257809"/>
                <a:gd name="connsiteY29" fmla="*/ 166045 h 198120"/>
                <a:gd name="connsiteX30" fmla="*/ 225175 w 257809"/>
                <a:gd name="connsiteY30" fmla="*/ 164775 h 198120"/>
                <a:gd name="connsiteX31" fmla="*/ 228350 w 257809"/>
                <a:gd name="connsiteY31" fmla="*/ 162235 h 198120"/>
                <a:gd name="connsiteX32" fmla="*/ 229620 w 257809"/>
                <a:gd name="connsiteY32" fmla="*/ 160965 h 198120"/>
                <a:gd name="connsiteX33" fmla="*/ 232160 w 257809"/>
                <a:gd name="connsiteY33" fmla="*/ 158425 h 198120"/>
                <a:gd name="connsiteX34" fmla="*/ 233430 w 257809"/>
                <a:gd name="connsiteY34" fmla="*/ 157155 h 198120"/>
                <a:gd name="connsiteX35" fmla="*/ 235335 w 257809"/>
                <a:gd name="connsiteY35" fmla="*/ 155250 h 198120"/>
                <a:gd name="connsiteX36" fmla="*/ 236605 w 257809"/>
                <a:gd name="connsiteY36" fmla="*/ 153980 h 198120"/>
                <a:gd name="connsiteX37" fmla="*/ 238510 w 257809"/>
                <a:gd name="connsiteY37" fmla="*/ 151440 h 198120"/>
                <a:gd name="connsiteX38" fmla="*/ 239780 w 257809"/>
                <a:gd name="connsiteY38" fmla="*/ 150170 h 198120"/>
                <a:gd name="connsiteX39" fmla="*/ 242320 w 257809"/>
                <a:gd name="connsiteY39" fmla="*/ 146360 h 198120"/>
                <a:gd name="connsiteX40" fmla="*/ 242955 w 257809"/>
                <a:gd name="connsiteY40" fmla="*/ 145090 h 198120"/>
                <a:gd name="connsiteX41" fmla="*/ 244860 w 257809"/>
                <a:gd name="connsiteY41" fmla="*/ 142550 h 198120"/>
                <a:gd name="connsiteX42" fmla="*/ 245495 w 257809"/>
                <a:gd name="connsiteY42" fmla="*/ 141280 h 198120"/>
                <a:gd name="connsiteX43" fmla="*/ 246765 w 257809"/>
                <a:gd name="connsiteY43" fmla="*/ 138740 h 198120"/>
                <a:gd name="connsiteX44" fmla="*/ 247400 w 257809"/>
                <a:gd name="connsiteY44" fmla="*/ 137470 h 198120"/>
                <a:gd name="connsiteX45" fmla="*/ 249305 w 257809"/>
                <a:gd name="connsiteY45" fmla="*/ 133660 h 198120"/>
                <a:gd name="connsiteX46" fmla="*/ 249305 w 257809"/>
                <a:gd name="connsiteY46" fmla="*/ 133025 h 198120"/>
                <a:gd name="connsiteX47" fmla="*/ 251210 w 257809"/>
                <a:gd name="connsiteY47" fmla="*/ 129215 h 198120"/>
                <a:gd name="connsiteX48" fmla="*/ 251845 w 257809"/>
                <a:gd name="connsiteY48" fmla="*/ 128580 h 198120"/>
                <a:gd name="connsiteX49" fmla="*/ 257560 w 257809"/>
                <a:gd name="connsiteY49" fmla="*/ 99370 h 198120"/>
                <a:gd name="connsiteX50" fmla="*/ 251845 w 257809"/>
                <a:gd name="connsiteY50" fmla="*/ 70160 h 198120"/>
                <a:gd name="connsiteX51" fmla="*/ 251845 w 257809"/>
                <a:gd name="connsiteY51" fmla="*/ 69525 h 198120"/>
                <a:gd name="connsiteX52" fmla="*/ 249940 w 257809"/>
                <a:gd name="connsiteY52" fmla="*/ 65715 h 198120"/>
                <a:gd name="connsiteX53" fmla="*/ 249305 w 257809"/>
                <a:gd name="connsiteY53" fmla="*/ 64445 h 198120"/>
                <a:gd name="connsiteX54" fmla="*/ 247400 w 257809"/>
                <a:gd name="connsiteY54" fmla="*/ 60635 h 198120"/>
                <a:gd name="connsiteX55" fmla="*/ 246765 w 257809"/>
                <a:gd name="connsiteY55" fmla="*/ 59365 h 198120"/>
                <a:gd name="connsiteX56" fmla="*/ 244860 w 257809"/>
                <a:gd name="connsiteY56" fmla="*/ 56190 h 198120"/>
                <a:gd name="connsiteX57" fmla="*/ 232160 w 257809"/>
                <a:gd name="connsiteY57" fmla="*/ 39680 h 198120"/>
                <a:gd name="connsiteX58" fmla="*/ 232160 w 257809"/>
                <a:gd name="connsiteY58" fmla="*/ 39680 h 198120"/>
                <a:gd name="connsiteX59" fmla="*/ 232160 w 257809"/>
                <a:gd name="connsiteY59" fmla="*/ 39680 h 198120"/>
                <a:gd name="connsiteX60" fmla="*/ 227715 w 257809"/>
                <a:gd name="connsiteY60" fmla="*/ 35235 h 198120"/>
                <a:gd name="connsiteX61" fmla="*/ 227715 w 257809"/>
                <a:gd name="connsiteY61" fmla="*/ 35235 h 198120"/>
                <a:gd name="connsiteX62" fmla="*/ 223270 w 257809"/>
                <a:gd name="connsiteY62" fmla="*/ 31425 h 198120"/>
                <a:gd name="connsiteX63" fmla="*/ 222000 w 257809"/>
                <a:gd name="connsiteY63" fmla="*/ 30790 h 198120"/>
                <a:gd name="connsiteX64" fmla="*/ 218190 w 257809"/>
                <a:gd name="connsiteY64" fmla="*/ 27615 h 198120"/>
                <a:gd name="connsiteX65" fmla="*/ 216920 w 257809"/>
                <a:gd name="connsiteY65" fmla="*/ 26345 h 198120"/>
                <a:gd name="connsiteX66" fmla="*/ 213110 w 257809"/>
                <a:gd name="connsiteY66" fmla="*/ 23805 h 198120"/>
                <a:gd name="connsiteX67" fmla="*/ 211840 w 257809"/>
                <a:gd name="connsiteY67" fmla="*/ 23170 h 198120"/>
                <a:gd name="connsiteX68" fmla="*/ 206760 w 257809"/>
                <a:gd name="connsiteY68" fmla="*/ 19995 h 198120"/>
                <a:gd name="connsiteX69" fmla="*/ 206125 w 257809"/>
                <a:gd name="connsiteY69" fmla="*/ 19360 h 198120"/>
                <a:gd name="connsiteX70" fmla="*/ 200410 w 257809"/>
                <a:gd name="connsiteY70" fmla="*/ 16185 h 198120"/>
                <a:gd name="connsiteX71" fmla="*/ 200410 w 257809"/>
                <a:gd name="connsiteY71" fmla="*/ 16185 h 198120"/>
                <a:gd name="connsiteX72" fmla="*/ 194695 w 257809"/>
                <a:gd name="connsiteY72" fmla="*/ 13645 h 198120"/>
                <a:gd name="connsiteX73" fmla="*/ 193425 w 257809"/>
                <a:gd name="connsiteY73" fmla="*/ 13010 h 198120"/>
                <a:gd name="connsiteX74" fmla="*/ 188980 w 257809"/>
                <a:gd name="connsiteY74" fmla="*/ 11105 h 198120"/>
                <a:gd name="connsiteX75" fmla="*/ 187075 w 257809"/>
                <a:gd name="connsiteY75" fmla="*/ 10470 h 198120"/>
                <a:gd name="connsiteX76" fmla="*/ 182630 w 257809"/>
                <a:gd name="connsiteY76" fmla="*/ 8565 h 198120"/>
                <a:gd name="connsiteX77" fmla="*/ 180725 w 257809"/>
                <a:gd name="connsiteY77" fmla="*/ 7930 h 198120"/>
                <a:gd name="connsiteX78" fmla="*/ 175645 w 257809"/>
                <a:gd name="connsiteY78" fmla="*/ 6660 h 198120"/>
                <a:gd name="connsiteX79" fmla="*/ 173740 w 257809"/>
                <a:gd name="connsiteY79" fmla="*/ 6025 h 198120"/>
                <a:gd name="connsiteX80" fmla="*/ 166755 w 257809"/>
                <a:gd name="connsiteY80" fmla="*/ 4120 h 198120"/>
                <a:gd name="connsiteX81" fmla="*/ 166120 w 257809"/>
                <a:gd name="connsiteY81" fmla="*/ 4120 h 198120"/>
                <a:gd name="connsiteX82" fmla="*/ 159770 w 257809"/>
                <a:gd name="connsiteY82" fmla="*/ 2850 h 198120"/>
                <a:gd name="connsiteX83" fmla="*/ 157865 w 257809"/>
                <a:gd name="connsiteY83" fmla="*/ 2215 h 198120"/>
                <a:gd name="connsiteX84" fmla="*/ 152785 w 257809"/>
                <a:gd name="connsiteY84" fmla="*/ 1580 h 198120"/>
                <a:gd name="connsiteX85" fmla="*/ 150245 w 257809"/>
                <a:gd name="connsiteY85" fmla="*/ 945 h 198120"/>
                <a:gd name="connsiteX86" fmla="*/ 145800 w 257809"/>
                <a:gd name="connsiteY86" fmla="*/ 310 h 198120"/>
                <a:gd name="connsiteX87" fmla="*/ 143260 w 257809"/>
                <a:gd name="connsiteY87" fmla="*/ 310 h 198120"/>
                <a:gd name="connsiteX88" fmla="*/ 138180 w 257809"/>
                <a:gd name="connsiteY88" fmla="*/ -325 h 198120"/>
                <a:gd name="connsiteX89" fmla="*/ 135640 w 257809"/>
                <a:gd name="connsiteY89" fmla="*/ -325 h 198120"/>
                <a:gd name="connsiteX90" fmla="*/ 128020 w 257809"/>
                <a:gd name="connsiteY90" fmla="*/ -325 h 198120"/>
                <a:gd name="connsiteX91" fmla="*/ 121035 w 257809"/>
                <a:gd name="connsiteY91" fmla="*/ -325 h 198120"/>
                <a:gd name="connsiteX92" fmla="*/ 118495 w 257809"/>
                <a:gd name="connsiteY92" fmla="*/ -325 h 198120"/>
                <a:gd name="connsiteX93" fmla="*/ 113415 w 257809"/>
                <a:gd name="connsiteY93" fmla="*/ 310 h 198120"/>
                <a:gd name="connsiteX94" fmla="*/ 110875 w 257809"/>
                <a:gd name="connsiteY94" fmla="*/ 310 h 198120"/>
                <a:gd name="connsiteX95" fmla="*/ 106430 w 257809"/>
                <a:gd name="connsiteY95" fmla="*/ 945 h 198120"/>
                <a:gd name="connsiteX96" fmla="*/ 103890 w 257809"/>
                <a:gd name="connsiteY96" fmla="*/ 1580 h 198120"/>
                <a:gd name="connsiteX97" fmla="*/ 99445 w 257809"/>
                <a:gd name="connsiteY97" fmla="*/ 2215 h 198120"/>
                <a:gd name="connsiteX98" fmla="*/ 96905 w 257809"/>
                <a:gd name="connsiteY98" fmla="*/ 2850 h 198120"/>
                <a:gd name="connsiteX99" fmla="*/ 91825 w 257809"/>
                <a:gd name="connsiteY99" fmla="*/ 4120 h 198120"/>
                <a:gd name="connsiteX100" fmla="*/ 89920 w 257809"/>
                <a:gd name="connsiteY100" fmla="*/ 4755 h 198120"/>
                <a:gd name="connsiteX101" fmla="*/ 70235 w 257809"/>
                <a:gd name="connsiteY101" fmla="*/ 10470 h 198120"/>
                <a:gd name="connsiteX102" fmla="*/ 69600 w 257809"/>
                <a:gd name="connsiteY102" fmla="*/ 11105 h 198120"/>
                <a:gd name="connsiteX103" fmla="*/ 64520 w 257809"/>
                <a:gd name="connsiteY103" fmla="*/ 13010 h 198120"/>
                <a:gd name="connsiteX104" fmla="*/ 63250 w 257809"/>
                <a:gd name="connsiteY104" fmla="*/ 13645 h 198120"/>
                <a:gd name="connsiteX105" fmla="*/ 58170 w 257809"/>
                <a:gd name="connsiteY105" fmla="*/ 16185 h 198120"/>
                <a:gd name="connsiteX106" fmla="*/ 57535 w 257809"/>
                <a:gd name="connsiteY106" fmla="*/ 16820 h 198120"/>
                <a:gd name="connsiteX107" fmla="*/ 51820 w 257809"/>
                <a:gd name="connsiteY107" fmla="*/ 19995 h 198120"/>
                <a:gd name="connsiteX108" fmla="*/ 51820 w 257809"/>
                <a:gd name="connsiteY108" fmla="*/ 19995 h 198120"/>
                <a:gd name="connsiteX109" fmla="*/ 22610 w 257809"/>
                <a:gd name="connsiteY109" fmla="*/ 42855 h 198120"/>
                <a:gd name="connsiteX110" fmla="*/ 19435 w 257809"/>
                <a:gd name="connsiteY110" fmla="*/ 46665 h 198120"/>
                <a:gd name="connsiteX111" fmla="*/ 19435 w 257809"/>
                <a:gd name="connsiteY111" fmla="*/ 46665 h 198120"/>
                <a:gd name="connsiteX112" fmla="*/ 16260 w 257809"/>
                <a:gd name="connsiteY112" fmla="*/ 50475 h 198120"/>
                <a:gd name="connsiteX113" fmla="*/ 16260 w 257809"/>
                <a:gd name="connsiteY113" fmla="*/ 50475 h 198120"/>
                <a:gd name="connsiteX114" fmla="*/ 13085 w 257809"/>
                <a:gd name="connsiteY114" fmla="*/ 54920 h 198120"/>
                <a:gd name="connsiteX115" fmla="*/ 13085 w 257809"/>
                <a:gd name="connsiteY115" fmla="*/ 54920 h 198120"/>
                <a:gd name="connsiteX116" fmla="*/ 13085 w 257809"/>
                <a:gd name="connsiteY116" fmla="*/ 54920 h 198120"/>
                <a:gd name="connsiteX117" fmla="*/ 7370 w 257809"/>
                <a:gd name="connsiteY117" fmla="*/ 64445 h 198120"/>
                <a:gd name="connsiteX118" fmla="*/ 6100 w 257809"/>
                <a:gd name="connsiteY118" fmla="*/ 67620 h 198120"/>
                <a:gd name="connsiteX119" fmla="*/ 6100 w 257809"/>
                <a:gd name="connsiteY119" fmla="*/ 68255 h 198120"/>
                <a:gd name="connsiteX120" fmla="*/ 6100 w 257809"/>
                <a:gd name="connsiteY120" fmla="*/ 68890 h 198120"/>
                <a:gd name="connsiteX121" fmla="*/ 4830 w 257809"/>
                <a:gd name="connsiteY121" fmla="*/ 72065 h 198120"/>
                <a:gd name="connsiteX122" fmla="*/ 3560 w 257809"/>
                <a:gd name="connsiteY122" fmla="*/ 75240 h 198120"/>
                <a:gd name="connsiteX123" fmla="*/ 3560 w 257809"/>
                <a:gd name="connsiteY123" fmla="*/ 75240 h 198120"/>
                <a:gd name="connsiteX124" fmla="*/ -250 w 257809"/>
                <a:gd name="connsiteY124" fmla="*/ 100005 h 198120"/>
                <a:gd name="connsiteX125" fmla="*/ 2925 w 257809"/>
                <a:gd name="connsiteY125" fmla="*/ 121595 h 198120"/>
                <a:gd name="connsiteX126" fmla="*/ 5465 w 257809"/>
                <a:gd name="connsiteY126" fmla="*/ 129215 h 198120"/>
                <a:gd name="connsiteX127" fmla="*/ 5465 w 257809"/>
                <a:gd name="connsiteY127" fmla="*/ 129850 h 198120"/>
                <a:gd name="connsiteX128" fmla="*/ 7370 w 257809"/>
                <a:gd name="connsiteY128" fmla="*/ 133660 h 198120"/>
                <a:gd name="connsiteX129" fmla="*/ 8005 w 257809"/>
                <a:gd name="connsiteY129" fmla="*/ 134930 h 198120"/>
                <a:gd name="connsiteX130" fmla="*/ 9275 w 257809"/>
                <a:gd name="connsiteY130" fmla="*/ 137470 h 198120"/>
                <a:gd name="connsiteX131" fmla="*/ 9910 w 257809"/>
                <a:gd name="connsiteY131" fmla="*/ 139375 h 198120"/>
                <a:gd name="connsiteX132" fmla="*/ 11180 w 257809"/>
                <a:gd name="connsiteY132" fmla="*/ 141915 h 198120"/>
                <a:gd name="connsiteX133" fmla="*/ 12450 w 257809"/>
                <a:gd name="connsiteY133" fmla="*/ 143820 h 198120"/>
                <a:gd name="connsiteX134" fmla="*/ 14355 w 257809"/>
                <a:gd name="connsiteY134" fmla="*/ 146360 h 198120"/>
                <a:gd name="connsiteX135" fmla="*/ 16260 w 257809"/>
                <a:gd name="connsiteY135" fmla="*/ 148900 h 198120"/>
                <a:gd name="connsiteX136" fmla="*/ 18165 w 257809"/>
                <a:gd name="connsiteY136" fmla="*/ 151440 h 198120"/>
                <a:gd name="connsiteX137" fmla="*/ 19435 w 257809"/>
                <a:gd name="connsiteY137" fmla="*/ 153345 h 198120"/>
                <a:gd name="connsiteX138" fmla="*/ 20705 w 257809"/>
                <a:gd name="connsiteY138" fmla="*/ 155250 h 198120"/>
                <a:gd name="connsiteX139" fmla="*/ 22610 w 257809"/>
                <a:gd name="connsiteY139" fmla="*/ 157155 h 198120"/>
                <a:gd name="connsiteX140" fmla="*/ 23880 w 257809"/>
                <a:gd name="connsiteY140" fmla="*/ 158425 h 198120"/>
                <a:gd name="connsiteX141" fmla="*/ 30865 w 257809"/>
                <a:gd name="connsiteY141" fmla="*/ 165410 h 198120"/>
                <a:gd name="connsiteX142" fmla="*/ 32135 w 257809"/>
                <a:gd name="connsiteY142" fmla="*/ 166680 h 198120"/>
                <a:gd name="connsiteX143" fmla="*/ 34675 w 257809"/>
                <a:gd name="connsiteY143" fmla="*/ 168585 h 198120"/>
                <a:gd name="connsiteX144" fmla="*/ 35945 w 257809"/>
                <a:gd name="connsiteY144" fmla="*/ 169220 h 198120"/>
                <a:gd name="connsiteX145" fmla="*/ 45470 w 257809"/>
                <a:gd name="connsiteY145" fmla="*/ 176205 h 198120"/>
                <a:gd name="connsiteX146" fmla="*/ 45470 w 257809"/>
                <a:gd name="connsiteY146" fmla="*/ 176205 h 198120"/>
                <a:gd name="connsiteX147" fmla="*/ 48645 w 257809"/>
                <a:gd name="connsiteY147" fmla="*/ 178110 h 198120"/>
                <a:gd name="connsiteX148" fmla="*/ 49280 w 257809"/>
                <a:gd name="connsiteY148" fmla="*/ 178745 h 198120"/>
                <a:gd name="connsiteX149" fmla="*/ 64520 w 257809"/>
                <a:gd name="connsiteY149" fmla="*/ 187000 h 198120"/>
                <a:gd name="connsiteX150" fmla="*/ 64520 w 257809"/>
                <a:gd name="connsiteY150" fmla="*/ 187000 h 198120"/>
                <a:gd name="connsiteX151" fmla="*/ 81665 w 257809"/>
                <a:gd name="connsiteY151" fmla="*/ 193350 h 198120"/>
                <a:gd name="connsiteX152" fmla="*/ 81665 w 257809"/>
                <a:gd name="connsiteY152" fmla="*/ 193350 h 198120"/>
                <a:gd name="connsiteX153" fmla="*/ 81665 w 257809"/>
                <a:gd name="connsiteY153" fmla="*/ 193350 h 198120"/>
                <a:gd name="connsiteX154" fmla="*/ 86745 w 257809"/>
                <a:gd name="connsiteY154" fmla="*/ 194620 h 198120"/>
                <a:gd name="connsiteX155" fmla="*/ 87380 w 257809"/>
                <a:gd name="connsiteY155" fmla="*/ 194620 h 198120"/>
                <a:gd name="connsiteX156" fmla="*/ 92460 w 257809"/>
                <a:gd name="connsiteY156" fmla="*/ 195890 h 198120"/>
                <a:gd name="connsiteX157" fmla="*/ 93095 w 257809"/>
                <a:gd name="connsiteY157" fmla="*/ 195890 h 198120"/>
                <a:gd name="connsiteX158" fmla="*/ 97540 w 257809"/>
                <a:gd name="connsiteY158" fmla="*/ 196525 h 198120"/>
                <a:gd name="connsiteX159" fmla="*/ 98810 w 257809"/>
                <a:gd name="connsiteY159" fmla="*/ 196525 h 198120"/>
                <a:gd name="connsiteX160" fmla="*/ 103255 w 257809"/>
                <a:gd name="connsiteY160" fmla="*/ 197160 h 198120"/>
                <a:gd name="connsiteX161" fmla="*/ 105160 w 257809"/>
                <a:gd name="connsiteY161" fmla="*/ 197160 h 198120"/>
                <a:gd name="connsiteX162" fmla="*/ 108970 w 257809"/>
                <a:gd name="connsiteY162" fmla="*/ 197795 h 198120"/>
                <a:gd name="connsiteX163" fmla="*/ 111510 w 257809"/>
                <a:gd name="connsiteY163" fmla="*/ 197795 h 198120"/>
                <a:gd name="connsiteX164" fmla="*/ 114685 w 257809"/>
                <a:gd name="connsiteY164" fmla="*/ 197795 h 198120"/>
                <a:gd name="connsiteX165" fmla="*/ 118495 w 257809"/>
                <a:gd name="connsiteY165" fmla="*/ 197795 h 198120"/>
                <a:gd name="connsiteX166" fmla="*/ 121035 w 257809"/>
                <a:gd name="connsiteY166" fmla="*/ 197795 h 198120"/>
                <a:gd name="connsiteX167" fmla="*/ 127385 w 257809"/>
                <a:gd name="connsiteY167" fmla="*/ 197795 h 198120"/>
                <a:gd name="connsiteX168" fmla="*/ 133735 w 257809"/>
                <a:gd name="connsiteY168" fmla="*/ 197795 h 198120"/>
                <a:gd name="connsiteX169" fmla="*/ 135640 w 257809"/>
                <a:gd name="connsiteY169" fmla="*/ 197795 h 198120"/>
                <a:gd name="connsiteX170" fmla="*/ 139450 w 257809"/>
                <a:gd name="connsiteY170" fmla="*/ 197795 h 198120"/>
                <a:gd name="connsiteX171" fmla="*/ 141990 w 257809"/>
                <a:gd name="connsiteY171" fmla="*/ 197795 h 198120"/>
                <a:gd name="connsiteX172" fmla="*/ 147070 w 257809"/>
                <a:gd name="connsiteY172" fmla="*/ 196525 h 198120"/>
                <a:gd name="connsiteX173" fmla="*/ 128655 w 257809"/>
                <a:gd name="connsiteY173" fmla="*/ 190810 h 198120"/>
                <a:gd name="connsiteX174" fmla="*/ 7370 w 257809"/>
                <a:gd name="connsiteY174" fmla="*/ 98100 h 198120"/>
                <a:gd name="connsiteX175" fmla="*/ 128655 w 257809"/>
                <a:gd name="connsiteY175" fmla="*/ 5390 h 198120"/>
                <a:gd name="connsiteX176" fmla="*/ 246130 w 257809"/>
                <a:gd name="connsiteY176" fmla="*/ 74605 h 198120"/>
                <a:gd name="connsiteX177" fmla="*/ 249940 w 257809"/>
                <a:gd name="connsiteY177" fmla="*/ 95560 h 198120"/>
                <a:gd name="connsiteX178" fmla="*/ 249940 w 257809"/>
                <a:gd name="connsiteY178" fmla="*/ 97465 h 198120"/>
                <a:gd name="connsiteX179" fmla="*/ 248035 w 257809"/>
                <a:gd name="connsiteY179" fmla="*/ 112705 h 198120"/>
                <a:gd name="connsiteX180" fmla="*/ 242955 w 257809"/>
                <a:gd name="connsiteY180" fmla="*/ 128580 h 198120"/>
                <a:gd name="connsiteX181" fmla="*/ 128655 w 257809"/>
                <a:gd name="connsiteY181" fmla="*/ 190810 h 19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257809" h="198120">
                  <a:moveTo>
                    <a:pt x="147070" y="196525"/>
                  </a:moveTo>
                  <a:cubicBezTo>
                    <a:pt x="148340" y="196525"/>
                    <a:pt x="148975" y="196525"/>
                    <a:pt x="149610" y="195890"/>
                  </a:cubicBezTo>
                  <a:cubicBezTo>
                    <a:pt x="150880" y="195890"/>
                    <a:pt x="151515" y="195890"/>
                    <a:pt x="152785" y="195255"/>
                  </a:cubicBezTo>
                  <a:cubicBezTo>
                    <a:pt x="154055" y="195255"/>
                    <a:pt x="154690" y="195255"/>
                    <a:pt x="155960" y="194620"/>
                  </a:cubicBezTo>
                  <a:cubicBezTo>
                    <a:pt x="157230" y="194620"/>
                    <a:pt x="157865" y="193985"/>
                    <a:pt x="158500" y="193985"/>
                  </a:cubicBezTo>
                  <a:cubicBezTo>
                    <a:pt x="159770" y="193985"/>
                    <a:pt x="160405" y="193350"/>
                    <a:pt x="161675" y="193350"/>
                  </a:cubicBezTo>
                  <a:cubicBezTo>
                    <a:pt x="162310" y="193350"/>
                    <a:pt x="163580" y="192715"/>
                    <a:pt x="164215" y="192715"/>
                  </a:cubicBezTo>
                  <a:cubicBezTo>
                    <a:pt x="165485" y="192715"/>
                    <a:pt x="166120" y="192080"/>
                    <a:pt x="167390" y="192080"/>
                  </a:cubicBezTo>
                  <a:cubicBezTo>
                    <a:pt x="168025" y="192080"/>
                    <a:pt x="168660" y="191445"/>
                    <a:pt x="169930" y="191445"/>
                  </a:cubicBezTo>
                  <a:cubicBezTo>
                    <a:pt x="171200" y="191445"/>
                    <a:pt x="172470" y="190810"/>
                    <a:pt x="173105" y="190810"/>
                  </a:cubicBezTo>
                  <a:lnTo>
                    <a:pt x="173105" y="190810"/>
                  </a:lnTo>
                  <a:cubicBezTo>
                    <a:pt x="175010" y="190175"/>
                    <a:pt x="176280" y="190175"/>
                    <a:pt x="178185" y="189540"/>
                  </a:cubicBezTo>
                  <a:cubicBezTo>
                    <a:pt x="178820" y="189540"/>
                    <a:pt x="180090" y="188905"/>
                    <a:pt x="180725" y="188905"/>
                  </a:cubicBezTo>
                  <a:cubicBezTo>
                    <a:pt x="181360" y="188905"/>
                    <a:pt x="182630" y="188270"/>
                    <a:pt x="183265" y="188270"/>
                  </a:cubicBezTo>
                  <a:cubicBezTo>
                    <a:pt x="183900" y="188270"/>
                    <a:pt x="185170" y="187635"/>
                    <a:pt x="185805" y="187635"/>
                  </a:cubicBezTo>
                  <a:cubicBezTo>
                    <a:pt x="186440" y="187000"/>
                    <a:pt x="187710" y="187000"/>
                    <a:pt x="188345" y="186365"/>
                  </a:cubicBezTo>
                  <a:cubicBezTo>
                    <a:pt x="188980" y="185730"/>
                    <a:pt x="190250" y="185730"/>
                    <a:pt x="190885" y="185095"/>
                  </a:cubicBezTo>
                  <a:cubicBezTo>
                    <a:pt x="192155" y="184460"/>
                    <a:pt x="192790" y="184460"/>
                    <a:pt x="194060" y="183825"/>
                  </a:cubicBezTo>
                  <a:cubicBezTo>
                    <a:pt x="195330" y="183190"/>
                    <a:pt x="195965" y="182555"/>
                    <a:pt x="197235" y="182555"/>
                  </a:cubicBezTo>
                  <a:cubicBezTo>
                    <a:pt x="197870" y="181920"/>
                    <a:pt x="199140" y="181920"/>
                    <a:pt x="199775" y="181285"/>
                  </a:cubicBezTo>
                  <a:cubicBezTo>
                    <a:pt x="200410" y="180650"/>
                    <a:pt x="201045" y="180650"/>
                    <a:pt x="202315" y="180015"/>
                  </a:cubicBezTo>
                  <a:cubicBezTo>
                    <a:pt x="202950" y="179380"/>
                    <a:pt x="204220" y="179380"/>
                    <a:pt x="204855" y="178745"/>
                  </a:cubicBezTo>
                  <a:cubicBezTo>
                    <a:pt x="205490" y="178110"/>
                    <a:pt x="206125" y="178110"/>
                    <a:pt x="206760" y="177475"/>
                  </a:cubicBezTo>
                  <a:cubicBezTo>
                    <a:pt x="207395" y="176840"/>
                    <a:pt x="208665" y="176205"/>
                    <a:pt x="209300" y="176205"/>
                  </a:cubicBezTo>
                  <a:cubicBezTo>
                    <a:pt x="209935" y="175570"/>
                    <a:pt x="210570" y="175570"/>
                    <a:pt x="211205" y="174935"/>
                  </a:cubicBezTo>
                  <a:cubicBezTo>
                    <a:pt x="212475" y="174300"/>
                    <a:pt x="213745" y="173030"/>
                    <a:pt x="215015" y="172395"/>
                  </a:cubicBezTo>
                  <a:cubicBezTo>
                    <a:pt x="215650" y="171760"/>
                    <a:pt x="216285" y="171760"/>
                    <a:pt x="216920" y="171125"/>
                  </a:cubicBezTo>
                  <a:cubicBezTo>
                    <a:pt x="217555" y="170490"/>
                    <a:pt x="218190" y="169855"/>
                    <a:pt x="219460" y="169220"/>
                  </a:cubicBezTo>
                  <a:cubicBezTo>
                    <a:pt x="220095" y="168585"/>
                    <a:pt x="220730" y="168585"/>
                    <a:pt x="221365" y="167950"/>
                  </a:cubicBezTo>
                  <a:cubicBezTo>
                    <a:pt x="222000" y="167315"/>
                    <a:pt x="222635" y="166680"/>
                    <a:pt x="223270" y="166045"/>
                  </a:cubicBezTo>
                  <a:cubicBezTo>
                    <a:pt x="223905" y="165410"/>
                    <a:pt x="224540" y="165410"/>
                    <a:pt x="225175" y="164775"/>
                  </a:cubicBezTo>
                  <a:cubicBezTo>
                    <a:pt x="226445" y="164140"/>
                    <a:pt x="227080" y="162870"/>
                    <a:pt x="228350" y="162235"/>
                  </a:cubicBezTo>
                  <a:cubicBezTo>
                    <a:pt x="228985" y="161600"/>
                    <a:pt x="229620" y="161600"/>
                    <a:pt x="229620" y="160965"/>
                  </a:cubicBezTo>
                  <a:cubicBezTo>
                    <a:pt x="230255" y="160330"/>
                    <a:pt x="231525" y="159060"/>
                    <a:pt x="232160" y="158425"/>
                  </a:cubicBezTo>
                  <a:cubicBezTo>
                    <a:pt x="232795" y="157790"/>
                    <a:pt x="232795" y="157790"/>
                    <a:pt x="233430" y="157155"/>
                  </a:cubicBezTo>
                  <a:cubicBezTo>
                    <a:pt x="234065" y="156520"/>
                    <a:pt x="234700" y="155885"/>
                    <a:pt x="235335" y="155250"/>
                  </a:cubicBezTo>
                  <a:cubicBezTo>
                    <a:pt x="235970" y="154615"/>
                    <a:pt x="235970" y="153980"/>
                    <a:pt x="236605" y="153980"/>
                  </a:cubicBezTo>
                  <a:cubicBezTo>
                    <a:pt x="237240" y="153345"/>
                    <a:pt x="237875" y="152075"/>
                    <a:pt x="238510" y="151440"/>
                  </a:cubicBezTo>
                  <a:cubicBezTo>
                    <a:pt x="238510" y="150805"/>
                    <a:pt x="239145" y="150805"/>
                    <a:pt x="239780" y="150170"/>
                  </a:cubicBezTo>
                  <a:cubicBezTo>
                    <a:pt x="240415" y="148900"/>
                    <a:pt x="241685" y="147630"/>
                    <a:pt x="242320" y="146360"/>
                  </a:cubicBezTo>
                  <a:cubicBezTo>
                    <a:pt x="242320" y="145725"/>
                    <a:pt x="242955" y="145725"/>
                    <a:pt x="242955" y="145090"/>
                  </a:cubicBezTo>
                  <a:cubicBezTo>
                    <a:pt x="243590" y="144455"/>
                    <a:pt x="244225" y="143185"/>
                    <a:pt x="244860" y="142550"/>
                  </a:cubicBezTo>
                  <a:cubicBezTo>
                    <a:pt x="244860" y="141915"/>
                    <a:pt x="245495" y="141280"/>
                    <a:pt x="245495" y="141280"/>
                  </a:cubicBezTo>
                  <a:cubicBezTo>
                    <a:pt x="246130" y="140645"/>
                    <a:pt x="246765" y="139375"/>
                    <a:pt x="246765" y="138740"/>
                  </a:cubicBezTo>
                  <a:cubicBezTo>
                    <a:pt x="246765" y="138105"/>
                    <a:pt x="247400" y="138105"/>
                    <a:pt x="247400" y="137470"/>
                  </a:cubicBezTo>
                  <a:cubicBezTo>
                    <a:pt x="248035" y="136200"/>
                    <a:pt x="248670" y="134930"/>
                    <a:pt x="249305" y="133660"/>
                  </a:cubicBezTo>
                  <a:cubicBezTo>
                    <a:pt x="249305" y="133660"/>
                    <a:pt x="249305" y="133660"/>
                    <a:pt x="249305" y="133025"/>
                  </a:cubicBezTo>
                  <a:cubicBezTo>
                    <a:pt x="249940" y="131755"/>
                    <a:pt x="250575" y="130485"/>
                    <a:pt x="251210" y="129215"/>
                  </a:cubicBezTo>
                  <a:cubicBezTo>
                    <a:pt x="251210" y="129215"/>
                    <a:pt x="251210" y="128580"/>
                    <a:pt x="251845" y="128580"/>
                  </a:cubicBezTo>
                  <a:cubicBezTo>
                    <a:pt x="255655" y="119055"/>
                    <a:pt x="257560" y="109530"/>
                    <a:pt x="257560" y="99370"/>
                  </a:cubicBezTo>
                  <a:cubicBezTo>
                    <a:pt x="257560" y="89210"/>
                    <a:pt x="255655" y="79050"/>
                    <a:pt x="251845" y="70160"/>
                  </a:cubicBezTo>
                  <a:cubicBezTo>
                    <a:pt x="251845" y="70160"/>
                    <a:pt x="251845" y="69525"/>
                    <a:pt x="251845" y="69525"/>
                  </a:cubicBezTo>
                  <a:cubicBezTo>
                    <a:pt x="251210" y="68255"/>
                    <a:pt x="250575" y="66985"/>
                    <a:pt x="249940" y="65715"/>
                  </a:cubicBezTo>
                  <a:cubicBezTo>
                    <a:pt x="249940" y="65080"/>
                    <a:pt x="249305" y="65080"/>
                    <a:pt x="249305" y="64445"/>
                  </a:cubicBezTo>
                  <a:cubicBezTo>
                    <a:pt x="248670" y="63175"/>
                    <a:pt x="248035" y="61905"/>
                    <a:pt x="247400" y="60635"/>
                  </a:cubicBezTo>
                  <a:cubicBezTo>
                    <a:pt x="247400" y="60000"/>
                    <a:pt x="246765" y="60000"/>
                    <a:pt x="246765" y="59365"/>
                  </a:cubicBezTo>
                  <a:cubicBezTo>
                    <a:pt x="246130" y="58095"/>
                    <a:pt x="245495" y="57460"/>
                    <a:pt x="244860" y="56190"/>
                  </a:cubicBezTo>
                  <a:cubicBezTo>
                    <a:pt x="241050" y="50475"/>
                    <a:pt x="236605" y="44760"/>
                    <a:pt x="232160" y="39680"/>
                  </a:cubicBezTo>
                  <a:cubicBezTo>
                    <a:pt x="232160" y="39680"/>
                    <a:pt x="232160" y="39680"/>
                    <a:pt x="232160" y="39680"/>
                  </a:cubicBezTo>
                  <a:lnTo>
                    <a:pt x="232160" y="39680"/>
                  </a:lnTo>
                  <a:cubicBezTo>
                    <a:pt x="230890" y="38410"/>
                    <a:pt x="228985" y="36505"/>
                    <a:pt x="227715" y="35235"/>
                  </a:cubicBezTo>
                  <a:cubicBezTo>
                    <a:pt x="227715" y="35235"/>
                    <a:pt x="227715" y="35235"/>
                    <a:pt x="227715" y="35235"/>
                  </a:cubicBezTo>
                  <a:cubicBezTo>
                    <a:pt x="226445" y="33965"/>
                    <a:pt x="224540" y="32695"/>
                    <a:pt x="223270" y="31425"/>
                  </a:cubicBezTo>
                  <a:cubicBezTo>
                    <a:pt x="222635" y="31425"/>
                    <a:pt x="222635" y="30790"/>
                    <a:pt x="222000" y="30790"/>
                  </a:cubicBezTo>
                  <a:cubicBezTo>
                    <a:pt x="220730" y="29520"/>
                    <a:pt x="219460" y="28885"/>
                    <a:pt x="218190" y="27615"/>
                  </a:cubicBezTo>
                  <a:cubicBezTo>
                    <a:pt x="217555" y="27615"/>
                    <a:pt x="217555" y="26980"/>
                    <a:pt x="216920" y="26345"/>
                  </a:cubicBezTo>
                  <a:cubicBezTo>
                    <a:pt x="215650" y="25710"/>
                    <a:pt x="214380" y="24440"/>
                    <a:pt x="213110" y="23805"/>
                  </a:cubicBezTo>
                  <a:cubicBezTo>
                    <a:pt x="212475" y="23805"/>
                    <a:pt x="212475" y="23170"/>
                    <a:pt x="211840" y="23170"/>
                  </a:cubicBezTo>
                  <a:cubicBezTo>
                    <a:pt x="210570" y="21900"/>
                    <a:pt x="208665" y="21265"/>
                    <a:pt x="206760" y="19995"/>
                  </a:cubicBezTo>
                  <a:cubicBezTo>
                    <a:pt x="206760" y="19995"/>
                    <a:pt x="206125" y="19995"/>
                    <a:pt x="206125" y="19360"/>
                  </a:cubicBezTo>
                  <a:cubicBezTo>
                    <a:pt x="204220" y="18090"/>
                    <a:pt x="202315" y="17455"/>
                    <a:pt x="200410" y="16185"/>
                  </a:cubicBezTo>
                  <a:cubicBezTo>
                    <a:pt x="200410" y="16185"/>
                    <a:pt x="200410" y="16185"/>
                    <a:pt x="200410" y="16185"/>
                  </a:cubicBezTo>
                  <a:cubicBezTo>
                    <a:pt x="198505" y="14915"/>
                    <a:pt x="196600" y="14280"/>
                    <a:pt x="194695" y="13645"/>
                  </a:cubicBezTo>
                  <a:cubicBezTo>
                    <a:pt x="194060" y="13645"/>
                    <a:pt x="193425" y="13010"/>
                    <a:pt x="193425" y="13010"/>
                  </a:cubicBezTo>
                  <a:cubicBezTo>
                    <a:pt x="192155" y="12375"/>
                    <a:pt x="190250" y="11740"/>
                    <a:pt x="188980" y="11105"/>
                  </a:cubicBezTo>
                  <a:cubicBezTo>
                    <a:pt x="188345" y="11105"/>
                    <a:pt x="187710" y="10470"/>
                    <a:pt x="187075" y="10470"/>
                  </a:cubicBezTo>
                  <a:cubicBezTo>
                    <a:pt x="185805" y="9835"/>
                    <a:pt x="183900" y="9200"/>
                    <a:pt x="182630" y="8565"/>
                  </a:cubicBezTo>
                  <a:cubicBezTo>
                    <a:pt x="181995" y="8565"/>
                    <a:pt x="181360" y="7930"/>
                    <a:pt x="180725" y="7930"/>
                  </a:cubicBezTo>
                  <a:cubicBezTo>
                    <a:pt x="178820" y="7295"/>
                    <a:pt x="177550" y="6660"/>
                    <a:pt x="175645" y="6660"/>
                  </a:cubicBezTo>
                  <a:cubicBezTo>
                    <a:pt x="175010" y="6660"/>
                    <a:pt x="174375" y="6025"/>
                    <a:pt x="173740" y="6025"/>
                  </a:cubicBezTo>
                  <a:cubicBezTo>
                    <a:pt x="171835" y="5390"/>
                    <a:pt x="169295" y="4755"/>
                    <a:pt x="166755" y="4120"/>
                  </a:cubicBezTo>
                  <a:cubicBezTo>
                    <a:pt x="166755" y="4120"/>
                    <a:pt x="166755" y="4120"/>
                    <a:pt x="166120" y="4120"/>
                  </a:cubicBezTo>
                  <a:cubicBezTo>
                    <a:pt x="164215" y="3485"/>
                    <a:pt x="161675" y="3485"/>
                    <a:pt x="159770" y="2850"/>
                  </a:cubicBezTo>
                  <a:cubicBezTo>
                    <a:pt x="159135" y="2850"/>
                    <a:pt x="158500" y="2850"/>
                    <a:pt x="157865" y="2215"/>
                  </a:cubicBezTo>
                  <a:cubicBezTo>
                    <a:pt x="156595" y="2215"/>
                    <a:pt x="154690" y="1580"/>
                    <a:pt x="152785" y="1580"/>
                  </a:cubicBezTo>
                  <a:cubicBezTo>
                    <a:pt x="152150" y="1580"/>
                    <a:pt x="150880" y="1580"/>
                    <a:pt x="150245" y="945"/>
                  </a:cubicBezTo>
                  <a:cubicBezTo>
                    <a:pt x="148975" y="945"/>
                    <a:pt x="147070" y="310"/>
                    <a:pt x="145800" y="310"/>
                  </a:cubicBezTo>
                  <a:cubicBezTo>
                    <a:pt x="145165" y="310"/>
                    <a:pt x="143895" y="310"/>
                    <a:pt x="143260" y="310"/>
                  </a:cubicBezTo>
                  <a:cubicBezTo>
                    <a:pt x="141355" y="310"/>
                    <a:pt x="140085" y="310"/>
                    <a:pt x="138180" y="-325"/>
                  </a:cubicBezTo>
                  <a:cubicBezTo>
                    <a:pt x="137545" y="-325"/>
                    <a:pt x="136910" y="-325"/>
                    <a:pt x="135640" y="-325"/>
                  </a:cubicBezTo>
                  <a:cubicBezTo>
                    <a:pt x="133100" y="-325"/>
                    <a:pt x="130560" y="-325"/>
                    <a:pt x="128020" y="-325"/>
                  </a:cubicBezTo>
                  <a:cubicBezTo>
                    <a:pt x="125480" y="-325"/>
                    <a:pt x="122940" y="-325"/>
                    <a:pt x="121035" y="-325"/>
                  </a:cubicBezTo>
                  <a:cubicBezTo>
                    <a:pt x="120400" y="-325"/>
                    <a:pt x="119765" y="-325"/>
                    <a:pt x="118495" y="-325"/>
                  </a:cubicBezTo>
                  <a:cubicBezTo>
                    <a:pt x="116590" y="-325"/>
                    <a:pt x="115320" y="-325"/>
                    <a:pt x="113415" y="310"/>
                  </a:cubicBezTo>
                  <a:cubicBezTo>
                    <a:pt x="112780" y="310"/>
                    <a:pt x="111510" y="310"/>
                    <a:pt x="110875" y="310"/>
                  </a:cubicBezTo>
                  <a:cubicBezTo>
                    <a:pt x="109605" y="310"/>
                    <a:pt x="107700" y="310"/>
                    <a:pt x="106430" y="945"/>
                  </a:cubicBezTo>
                  <a:cubicBezTo>
                    <a:pt x="105795" y="945"/>
                    <a:pt x="104525" y="945"/>
                    <a:pt x="103890" y="1580"/>
                  </a:cubicBezTo>
                  <a:cubicBezTo>
                    <a:pt x="102620" y="1580"/>
                    <a:pt x="100715" y="2215"/>
                    <a:pt x="99445" y="2215"/>
                  </a:cubicBezTo>
                  <a:cubicBezTo>
                    <a:pt x="98810" y="2215"/>
                    <a:pt x="98175" y="2215"/>
                    <a:pt x="96905" y="2850"/>
                  </a:cubicBezTo>
                  <a:cubicBezTo>
                    <a:pt x="95000" y="2850"/>
                    <a:pt x="93730" y="3485"/>
                    <a:pt x="91825" y="4120"/>
                  </a:cubicBezTo>
                  <a:cubicBezTo>
                    <a:pt x="91190" y="4120"/>
                    <a:pt x="90555" y="4120"/>
                    <a:pt x="89920" y="4755"/>
                  </a:cubicBezTo>
                  <a:cubicBezTo>
                    <a:pt x="82935" y="6660"/>
                    <a:pt x="76585" y="8565"/>
                    <a:pt x="70235" y="10470"/>
                  </a:cubicBezTo>
                  <a:cubicBezTo>
                    <a:pt x="70235" y="10470"/>
                    <a:pt x="69600" y="10470"/>
                    <a:pt x="69600" y="11105"/>
                  </a:cubicBezTo>
                  <a:cubicBezTo>
                    <a:pt x="67695" y="11740"/>
                    <a:pt x="65790" y="12375"/>
                    <a:pt x="64520" y="13010"/>
                  </a:cubicBezTo>
                  <a:cubicBezTo>
                    <a:pt x="63885" y="13010"/>
                    <a:pt x="63885" y="13010"/>
                    <a:pt x="63250" y="13645"/>
                  </a:cubicBezTo>
                  <a:cubicBezTo>
                    <a:pt x="61345" y="14280"/>
                    <a:pt x="60075" y="14915"/>
                    <a:pt x="58170" y="16185"/>
                  </a:cubicBezTo>
                  <a:cubicBezTo>
                    <a:pt x="58170" y="16185"/>
                    <a:pt x="57535" y="16185"/>
                    <a:pt x="57535" y="16820"/>
                  </a:cubicBezTo>
                  <a:cubicBezTo>
                    <a:pt x="55630" y="17455"/>
                    <a:pt x="53725" y="18725"/>
                    <a:pt x="51820" y="19995"/>
                  </a:cubicBezTo>
                  <a:cubicBezTo>
                    <a:pt x="51820" y="19995"/>
                    <a:pt x="51820" y="19995"/>
                    <a:pt x="51820" y="19995"/>
                  </a:cubicBezTo>
                  <a:cubicBezTo>
                    <a:pt x="40390" y="26345"/>
                    <a:pt x="30865" y="33965"/>
                    <a:pt x="22610" y="42855"/>
                  </a:cubicBezTo>
                  <a:cubicBezTo>
                    <a:pt x="21340" y="44125"/>
                    <a:pt x="20070" y="45395"/>
                    <a:pt x="19435" y="46665"/>
                  </a:cubicBezTo>
                  <a:lnTo>
                    <a:pt x="19435" y="46665"/>
                  </a:lnTo>
                  <a:cubicBezTo>
                    <a:pt x="18165" y="47935"/>
                    <a:pt x="17530" y="49205"/>
                    <a:pt x="16260" y="50475"/>
                  </a:cubicBezTo>
                  <a:lnTo>
                    <a:pt x="16260" y="50475"/>
                  </a:lnTo>
                  <a:cubicBezTo>
                    <a:pt x="14990" y="51745"/>
                    <a:pt x="14355" y="53015"/>
                    <a:pt x="13085" y="54920"/>
                  </a:cubicBezTo>
                  <a:cubicBezTo>
                    <a:pt x="13085" y="54920"/>
                    <a:pt x="13085" y="54920"/>
                    <a:pt x="13085" y="54920"/>
                  </a:cubicBezTo>
                  <a:lnTo>
                    <a:pt x="13085" y="54920"/>
                  </a:lnTo>
                  <a:cubicBezTo>
                    <a:pt x="11180" y="58095"/>
                    <a:pt x="9275" y="61270"/>
                    <a:pt x="7370" y="64445"/>
                  </a:cubicBezTo>
                  <a:cubicBezTo>
                    <a:pt x="6735" y="65715"/>
                    <a:pt x="6100" y="66350"/>
                    <a:pt x="6100" y="67620"/>
                  </a:cubicBezTo>
                  <a:cubicBezTo>
                    <a:pt x="6100" y="67620"/>
                    <a:pt x="6100" y="67620"/>
                    <a:pt x="6100" y="68255"/>
                  </a:cubicBezTo>
                  <a:cubicBezTo>
                    <a:pt x="6100" y="68255"/>
                    <a:pt x="6100" y="68890"/>
                    <a:pt x="6100" y="68890"/>
                  </a:cubicBezTo>
                  <a:cubicBezTo>
                    <a:pt x="5465" y="70160"/>
                    <a:pt x="5465" y="70795"/>
                    <a:pt x="4830" y="72065"/>
                  </a:cubicBezTo>
                  <a:cubicBezTo>
                    <a:pt x="4195" y="73335"/>
                    <a:pt x="4195" y="73970"/>
                    <a:pt x="3560" y="75240"/>
                  </a:cubicBezTo>
                  <a:cubicBezTo>
                    <a:pt x="3560" y="75240"/>
                    <a:pt x="3560" y="75240"/>
                    <a:pt x="3560" y="75240"/>
                  </a:cubicBezTo>
                  <a:cubicBezTo>
                    <a:pt x="1020" y="83495"/>
                    <a:pt x="-250" y="91750"/>
                    <a:pt x="-250" y="100005"/>
                  </a:cubicBezTo>
                  <a:cubicBezTo>
                    <a:pt x="-250" y="107625"/>
                    <a:pt x="1020" y="114610"/>
                    <a:pt x="2925" y="121595"/>
                  </a:cubicBezTo>
                  <a:cubicBezTo>
                    <a:pt x="3560" y="124135"/>
                    <a:pt x="4830" y="126675"/>
                    <a:pt x="5465" y="129215"/>
                  </a:cubicBezTo>
                  <a:cubicBezTo>
                    <a:pt x="5465" y="129215"/>
                    <a:pt x="5465" y="129850"/>
                    <a:pt x="5465" y="129850"/>
                  </a:cubicBezTo>
                  <a:cubicBezTo>
                    <a:pt x="6100" y="131120"/>
                    <a:pt x="6735" y="132390"/>
                    <a:pt x="7370" y="133660"/>
                  </a:cubicBezTo>
                  <a:cubicBezTo>
                    <a:pt x="7370" y="134295"/>
                    <a:pt x="8005" y="134295"/>
                    <a:pt x="8005" y="134930"/>
                  </a:cubicBezTo>
                  <a:cubicBezTo>
                    <a:pt x="8640" y="135565"/>
                    <a:pt x="8640" y="136835"/>
                    <a:pt x="9275" y="137470"/>
                  </a:cubicBezTo>
                  <a:cubicBezTo>
                    <a:pt x="9275" y="138105"/>
                    <a:pt x="9910" y="138740"/>
                    <a:pt x="9910" y="139375"/>
                  </a:cubicBezTo>
                  <a:cubicBezTo>
                    <a:pt x="10545" y="140010"/>
                    <a:pt x="10545" y="140645"/>
                    <a:pt x="11180" y="141915"/>
                  </a:cubicBezTo>
                  <a:cubicBezTo>
                    <a:pt x="11815" y="142550"/>
                    <a:pt x="11815" y="143185"/>
                    <a:pt x="12450" y="143820"/>
                  </a:cubicBezTo>
                  <a:cubicBezTo>
                    <a:pt x="13085" y="144455"/>
                    <a:pt x="13720" y="145725"/>
                    <a:pt x="14355" y="146360"/>
                  </a:cubicBezTo>
                  <a:cubicBezTo>
                    <a:pt x="14990" y="146995"/>
                    <a:pt x="15625" y="148265"/>
                    <a:pt x="16260" y="148900"/>
                  </a:cubicBezTo>
                  <a:cubicBezTo>
                    <a:pt x="16895" y="149535"/>
                    <a:pt x="17530" y="150170"/>
                    <a:pt x="18165" y="151440"/>
                  </a:cubicBezTo>
                  <a:cubicBezTo>
                    <a:pt x="18800" y="152075"/>
                    <a:pt x="19435" y="152710"/>
                    <a:pt x="19435" y="153345"/>
                  </a:cubicBezTo>
                  <a:cubicBezTo>
                    <a:pt x="20070" y="153980"/>
                    <a:pt x="20070" y="154615"/>
                    <a:pt x="20705" y="155250"/>
                  </a:cubicBezTo>
                  <a:cubicBezTo>
                    <a:pt x="21340" y="155885"/>
                    <a:pt x="21975" y="156520"/>
                    <a:pt x="22610" y="157155"/>
                  </a:cubicBezTo>
                  <a:cubicBezTo>
                    <a:pt x="23245" y="157790"/>
                    <a:pt x="23245" y="158425"/>
                    <a:pt x="23880" y="158425"/>
                  </a:cubicBezTo>
                  <a:cubicBezTo>
                    <a:pt x="26420" y="160965"/>
                    <a:pt x="28325" y="162870"/>
                    <a:pt x="30865" y="165410"/>
                  </a:cubicBezTo>
                  <a:cubicBezTo>
                    <a:pt x="31500" y="166045"/>
                    <a:pt x="31500" y="166045"/>
                    <a:pt x="32135" y="166680"/>
                  </a:cubicBezTo>
                  <a:cubicBezTo>
                    <a:pt x="32770" y="167315"/>
                    <a:pt x="34040" y="167950"/>
                    <a:pt x="34675" y="168585"/>
                  </a:cubicBezTo>
                  <a:cubicBezTo>
                    <a:pt x="35310" y="168585"/>
                    <a:pt x="35310" y="169220"/>
                    <a:pt x="35945" y="169220"/>
                  </a:cubicBezTo>
                  <a:cubicBezTo>
                    <a:pt x="39120" y="171760"/>
                    <a:pt x="42295" y="173665"/>
                    <a:pt x="45470" y="176205"/>
                  </a:cubicBezTo>
                  <a:cubicBezTo>
                    <a:pt x="45470" y="176205"/>
                    <a:pt x="45470" y="176205"/>
                    <a:pt x="45470" y="176205"/>
                  </a:cubicBezTo>
                  <a:cubicBezTo>
                    <a:pt x="46740" y="176840"/>
                    <a:pt x="47375" y="177475"/>
                    <a:pt x="48645" y="178110"/>
                  </a:cubicBezTo>
                  <a:cubicBezTo>
                    <a:pt x="48645" y="178110"/>
                    <a:pt x="49280" y="178110"/>
                    <a:pt x="49280" y="178745"/>
                  </a:cubicBezTo>
                  <a:cubicBezTo>
                    <a:pt x="54360" y="181920"/>
                    <a:pt x="59440" y="184460"/>
                    <a:pt x="64520" y="187000"/>
                  </a:cubicBezTo>
                  <a:cubicBezTo>
                    <a:pt x="64520" y="187000"/>
                    <a:pt x="64520" y="187000"/>
                    <a:pt x="64520" y="187000"/>
                  </a:cubicBezTo>
                  <a:cubicBezTo>
                    <a:pt x="70235" y="189540"/>
                    <a:pt x="75950" y="191445"/>
                    <a:pt x="81665" y="193350"/>
                  </a:cubicBezTo>
                  <a:lnTo>
                    <a:pt x="81665" y="193350"/>
                  </a:lnTo>
                  <a:lnTo>
                    <a:pt x="81665" y="193350"/>
                  </a:lnTo>
                  <a:cubicBezTo>
                    <a:pt x="83570" y="193985"/>
                    <a:pt x="84840" y="194620"/>
                    <a:pt x="86745" y="194620"/>
                  </a:cubicBezTo>
                  <a:cubicBezTo>
                    <a:pt x="86745" y="194620"/>
                    <a:pt x="86745" y="194620"/>
                    <a:pt x="87380" y="194620"/>
                  </a:cubicBezTo>
                  <a:cubicBezTo>
                    <a:pt x="89285" y="195255"/>
                    <a:pt x="90555" y="195255"/>
                    <a:pt x="92460" y="195890"/>
                  </a:cubicBezTo>
                  <a:cubicBezTo>
                    <a:pt x="92460" y="195890"/>
                    <a:pt x="93095" y="195890"/>
                    <a:pt x="93095" y="195890"/>
                  </a:cubicBezTo>
                  <a:cubicBezTo>
                    <a:pt x="94365" y="196525"/>
                    <a:pt x="96270" y="196525"/>
                    <a:pt x="97540" y="196525"/>
                  </a:cubicBezTo>
                  <a:cubicBezTo>
                    <a:pt x="98175" y="196525"/>
                    <a:pt x="98175" y="196525"/>
                    <a:pt x="98810" y="196525"/>
                  </a:cubicBezTo>
                  <a:cubicBezTo>
                    <a:pt x="100080" y="196525"/>
                    <a:pt x="101985" y="197160"/>
                    <a:pt x="103255" y="197160"/>
                  </a:cubicBezTo>
                  <a:cubicBezTo>
                    <a:pt x="103890" y="197160"/>
                    <a:pt x="104525" y="197160"/>
                    <a:pt x="105160" y="197160"/>
                  </a:cubicBezTo>
                  <a:cubicBezTo>
                    <a:pt x="106430" y="197160"/>
                    <a:pt x="107700" y="197795"/>
                    <a:pt x="108970" y="197795"/>
                  </a:cubicBezTo>
                  <a:cubicBezTo>
                    <a:pt x="109605" y="197795"/>
                    <a:pt x="110875" y="197795"/>
                    <a:pt x="111510" y="197795"/>
                  </a:cubicBezTo>
                  <a:cubicBezTo>
                    <a:pt x="112780" y="197795"/>
                    <a:pt x="114050" y="197795"/>
                    <a:pt x="114685" y="197795"/>
                  </a:cubicBezTo>
                  <a:cubicBezTo>
                    <a:pt x="115955" y="197795"/>
                    <a:pt x="117225" y="197795"/>
                    <a:pt x="118495" y="197795"/>
                  </a:cubicBezTo>
                  <a:cubicBezTo>
                    <a:pt x="119130" y="197795"/>
                    <a:pt x="120400" y="197795"/>
                    <a:pt x="121035" y="197795"/>
                  </a:cubicBezTo>
                  <a:cubicBezTo>
                    <a:pt x="122940" y="197795"/>
                    <a:pt x="125480" y="197795"/>
                    <a:pt x="127385" y="197795"/>
                  </a:cubicBezTo>
                  <a:cubicBezTo>
                    <a:pt x="129290" y="197795"/>
                    <a:pt x="131830" y="197795"/>
                    <a:pt x="133735" y="197795"/>
                  </a:cubicBezTo>
                  <a:cubicBezTo>
                    <a:pt x="134370" y="197795"/>
                    <a:pt x="135005" y="197795"/>
                    <a:pt x="135640" y="197795"/>
                  </a:cubicBezTo>
                  <a:cubicBezTo>
                    <a:pt x="136910" y="197795"/>
                    <a:pt x="138180" y="197795"/>
                    <a:pt x="139450" y="197795"/>
                  </a:cubicBezTo>
                  <a:cubicBezTo>
                    <a:pt x="140085" y="197795"/>
                    <a:pt x="141355" y="197795"/>
                    <a:pt x="141990" y="197795"/>
                  </a:cubicBezTo>
                  <a:cubicBezTo>
                    <a:pt x="144530" y="197160"/>
                    <a:pt x="145800" y="196525"/>
                    <a:pt x="147070" y="196525"/>
                  </a:cubicBezTo>
                  <a:moveTo>
                    <a:pt x="128655" y="190810"/>
                  </a:moveTo>
                  <a:cubicBezTo>
                    <a:pt x="61345" y="190810"/>
                    <a:pt x="7370" y="149535"/>
                    <a:pt x="7370" y="98100"/>
                  </a:cubicBezTo>
                  <a:cubicBezTo>
                    <a:pt x="7370" y="47300"/>
                    <a:pt x="61980" y="5390"/>
                    <a:pt x="128655" y="5390"/>
                  </a:cubicBezTo>
                  <a:cubicBezTo>
                    <a:pt x="185170" y="5390"/>
                    <a:pt x="232795" y="34600"/>
                    <a:pt x="246130" y="74605"/>
                  </a:cubicBezTo>
                  <a:cubicBezTo>
                    <a:pt x="248670" y="81590"/>
                    <a:pt x="249940" y="88575"/>
                    <a:pt x="249940" y="95560"/>
                  </a:cubicBezTo>
                  <a:cubicBezTo>
                    <a:pt x="249940" y="96195"/>
                    <a:pt x="249940" y="96830"/>
                    <a:pt x="249940" y="97465"/>
                  </a:cubicBezTo>
                  <a:cubicBezTo>
                    <a:pt x="249940" y="102545"/>
                    <a:pt x="249305" y="107625"/>
                    <a:pt x="248035" y="112705"/>
                  </a:cubicBezTo>
                  <a:cubicBezTo>
                    <a:pt x="246765" y="118420"/>
                    <a:pt x="244860" y="123500"/>
                    <a:pt x="242955" y="128580"/>
                  </a:cubicBezTo>
                  <a:cubicBezTo>
                    <a:pt x="225810" y="165410"/>
                    <a:pt x="181360" y="190810"/>
                    <a:pt x="128655" y="190810"/>
                  </a:cubicBezTo>
                </a:path>
              </a:pathLst>
            </a:custGeom>
            <a:solidFill>
              <a:srgbClr val="FFFFFF"/>
            </a:solidFill>
            <a:ln w="6350" cap="flat">
              <a:noFill/>
              <a:prstDash val="solid"/>
              <a:miter/>
            </a:ln>
          </p:spPr>
          <p:txBody>
            <a:bodyPr rtlCol="0" anchor="ctr"/>
            <a:lstStyle/>
            <a:p>
              <a:endParaRPr lang="en-GB"/>
            </a:p>
          </p:txBody>
        </p:sp>
        <p:sp>
          <p:nvSpPr>
            <p:cNvPr id="168" name="Freeform 167">
              <a:extLst>
                <a:ext uri="{FF2B5EF4-FFF2-40B4-BE49-F238E27FC236}">
                  <a16:creationId xmlns:a16="http://schemas.microsoft.com/office/drawing/2014/main" id="{CD8ED0E2-3149-C2F5-D89A-E503AA012FEE}"/>
                </a:ext>
              </a:extLst>
            </p:cNvPr>
            <p:cNvSpPr/>
            <p:nvPr/>
          </p:nvSpPr>
          <p:spPr>
            <a:xfrm>
              <a:off x="4061865" y="3240404"/>
              <a:ext cx="207032" cy="31750"/>
            </a:xfrm>
            <a:custGeom>
              <a:avLst/>
              <a:gdLst>
                <a:gd name="connsiteX0" fmla="*/ 38714 w 207032"/>
                <a:gd name="connsiteY0" fmla="*/ 31425 h 31750"/>
                <a:gd name="connsiteX1" fmla="*/ 205084 w 207032"/>
                <a:gd name="connsiteY1" fmla="*/ 9835 h 31750"/>
                <a:gd name="connsiteX2" fmla="*/ 204449 w 207032"/>
                <a:gd name="connsiteY2" fmla="*/ 4120 h 31750"/>
                <a:gd name="connsiteX3" fmla="*/ 201909 w 207032"/>
                <a:gd name="connsiteY3" fmla="*/ 2215 h 31750"/>
                <a:gd name="connsiteX4" fmla="*/ 192384 w 207032"/>
                <a:gd name="connsiteY4" fmla="*/ -325 h 31750"/>
                <a:gd name="connsiteX5" fmla="*/ 3154 w 207032"/>
                <a:gd name="connsiteY5" fmla="*/ 13645 h 31750"/>
                <a:gd name="connsiteX6" fmla="*/ -21 w 207032"/>
                <a:gd name="connsiteY6" fmla="*/ 19360 h 31750"/>
                <a:gd name="connsiteX7" fmla="*/ 2519 w 207032"/>
                <a:gd name="connsiteY7" fmla="*/ 23805 h 31750"/>
                <a:gd name="connsiteX8" fmla="*/ 35539 w 207032"/>
                <a:gd name="connsiteY8" fmla="*/ 31425 h 31750"/>
                <a:gd name="connsiteX9" fmla="*/ 38714 w 207032"/>
                <a:gd name="connsiteY9" fmla="*/ 31425 h 3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7032" h="31750">
                  <a:moveTo>
                    <a:pt x="38714" y="31425"/>
                  </a:moveTo>
                  <a:cubicBezTo>
                    <a:pt x="45699" y="31425"/>
                    <a:pt x="201909" y="10470"/>
                    <a:pt x="205084" y="9835"/>
                  </a:cubicBezTo>
                  <a:cubicBezTo>
                    <a:pt x="208259" y="9200"/>
                    <a:pt x="206354" y="6025"/>
                    <a:pt x="204449" y="4120"/>
                  </a:cubicBezTo>
                  <a:cubicBezTo>
                    <a:pt x="203814" y="3485"/>
                    <a:pt x="202544" y="2850"/>
                    <a:pt x="201909" y="2215"/>
                  </a:cubicBezTo>
                  <a:cubicBezTo>
                    <a:pt x="199369" y="310"/>
                    <a:pt x="195559" y="-325"/>
                    <a:pt x="192384" y="-325"/>
                  </a:cubicBezTo>
                  <a:cubicBezTo>
                    <a:pt x="191114" y="-325"/>
                    <a:pt x="12044" y="13010"/>
                    <a:pt x="3154" y="13645"/>
                  </a:cubicBezTo>
                  <a:cubicBezTo>
                    <a:pt x="1249" y="13645"/>
                    <a:pt x="614" y="16820"/>
                    <a:pt x="-21" y="19360"/>
                  </a:cubicBezTo>
                  <a:cubicBezTo>
                    <a:pt x="-656" y="22535"/>
                    <a:pt x="-21" y="23170"/>
                    <a:pt x="2519" y="23805"/>
                  </a:cubicBezTo>
                  <a:cubicBezTo>
                    <a:pt x="6329" y="25075"/>
                    <a:pt x="26014" y="31425"/>
                    <a:pt x="35539" y="31425"/>
                  </a:cubicBezTo>
                  <a:cubicBezTo>
                    <a:pt x="35539" y="31425"/>
                    <a:pt x="38714" y="31425"/>
                    <a:pt x="38714" y="31425"/>
                  </a:cubicBezTo>
                </a:path>
              </a:pathLst>
            </a:custGeom>
            <a:solidFill>
              <a:srgbClr val="FFFFFF"/>
            </a:solidFill>
            <a:ln w="6350" cap="flat">
              <a:noFill/>
              <a:prstDash val="solid"/>
              <a:miter/>
            </a:ln>
          </p:spPr>
          <p:txBody>
            <a:bodyPr rtlCol="0" anchor="ctr"/>
            <a:lstStyle/>
            <a:p>
              <a:endParaRPr lang="en-GB"/>
            </a:p>
          </p:txBody>
        </p:sp>
        <p:sp>
          <p:nvSpPr>
            <p:cNvPr id="169" name="Freeform 168">
              <a:extLst>
                <a:ext uri="{FF2B5EF4-FFF2-40B4-BE49-F238E27FC236}">
                  <a16:creationId xmlns:a16="http://schemas.microsoft.com/office/drawing/2014/main" id="{BD6B9B1B-8789-4A9F-622E-EAEE454992D1}"/>
                </a:ext>
              </a:extLst>
            </p:cNvPr>
            <p:cNvSpPr/>
            <p:nvPr/>
          </p:nvSpPr>
          <p:spPr>
            <a:xfrm>
              <a:off x="4035272" y="3223259"/>
              <a:ext cx="226847" cy="20320"/>
            </a:xfrm>
            <a:custGeom>
              <a:avLst/>
              <a:gdLst>
                <a:gd name="connsiteX0" fmla="*/ 224693 w 226847"/>
                <a:gd name="connsiteY0" fmla="*/ 11740 h 20320"/>
                <a:gd name="connsiteX1" fmla="*/ 226598 w 226847"/>
                <a:gd name="connsiteY1" fmla="*/ 7295 h 20320"/>
                <a:gd name="connsiteX2" fmla="*/ 226598 w 226847"/>
                <a:gd name="connsiteY2" fmla="*/ 4120 h 20320"/>
                <a:gd name="connsiteX3" fmla="*/ 224693 w 226847"/>
                <a:gd name="connsiteY3" fmla="*/ 2215 h 20320"/>
                <a:gd name="connsiteX4" fmla="*/ 223423 w 226847"/>
                <a:gd name="connsiteY4" fmla="*/ 1580 h 20320"/>
                <a:gd name="connsiteX5" fmla="*/ 6252 w 226847"/>
                <a:gd name="connsiteY5" fmla="*/ -325 h 20320"/>
                <a:gd name="connsiteX6" fmla="*/ 1807 w 226847"/>
                <a:gd name="connsiteY6" fmla="*/ 4120 h 20320"/>
                <a:gd name="connsiteX7" fmla="*/ 1172 w 226847"/>
                <a:gd name="connsiteY7" fmla="*/ 11105 h 20320"/>
                <a:gd name="connsiteX8" fmla="*/ 29748 w 226847"/>
                <a:gd name="connsiteY8" fmla="*/ 19995 h 20320"/>
                <a:gd name="connsiteX9" fmla="*/ 224693 w 226847"/>
                <a:gd name="connsiteY9" fmla="*/ 11740 h 20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6847" h="20320">
                  <a:moveTo>
                    <a:pt x="224693" y="11740"/>
                  </a:moveTo>
                  <a:cubicBezTo>
                    <a:pt x="225962" y="11105"/>
                    <a:pt x="226598" y="8565"/>
                    <a:pt x="226598" y="7295"/>
                  </a:cubicBezTo>
                  <a:cubicBezTo>
                    <a:pt x="226598" y="6025"/>
                    <a:pt x="226598" y="5390"/>
                    <a:pt x="226598" y="4120"/>
                  </a:cubicBezTo>
                  <a:cubicBezTo>
                    <a:pt x="225962" y="3485"/>
                    <a:pt x="225327" y="2850"/>
                    <a:pt x="224693" y="2215"/>
                  </a:cubicBezTo>
                  <a:cubicBezTo>
                    <a:pt x="224057" y="2215"/>
                    <a:pt x="224057" y="1580"/>
                    <a:pt x="223423" y="1580"/>
                  </a:cubicBezTo>
                  <a:cubicBezTo>
                    <a:pt x="209452" y="945"/>
                    <a:pt x="7522" y="-325"/>
                    <a:pt x="6252" y="-325"/>
                  </a:cubicBezTo>
                  <a:cubicBezTo>
                    <a:pt x="4982" y="-325"/>
                    <a:pt x="3077" y="2215"/>
                    <a:pt x="1807" y="4120"/>
                  </a:cubicBezTo>
                  <a:cubicBezTo>
                    <a:pt x="-98" y="7295"/>
                    <a:pt x="-1368" y="9835"/>
                    <a:pt x="1172" y="11105"/>
                  </a:cubicBezTo>
                  <a:cubicBezTo>
                    <a:pt x="4347" y="12375"/>
                    <a:pt x="24032" y="19995"/>
                    <a:pt x="29748" y="19995"/>
                  </a:cubicBezTo>
                  <a:cubicBezTo>
                    <a:pt x="35462" y="19995"/>
                    <a:pt x="222787" y="13010"/>
                    <a:pt x="224693" y="11740"/>
                  </a:cubicBezTo>
                </a:path>
              </a:pathLst>
            </a:custGeom>
            <a:solidFill>
              <a:srgbClr val="FFFFFF"/>
            </a:solidFill>
            <a:ln w="6350" cap="flat">
              <a:noFill/>
              <a:prstDash val="solid"/>
              <a:miter/>
            </a:ln>
          </p:spPr>
          <p:txBody>
            <a:bodyPr rtlCol="0" anchor="ctr"/>
            <a:lstStyle/>
            <a:p>
              <a:endParaRPr lang="en-GB"/>
            </a:p>
          </p:txBody>
        </p:sp>
        <p:sp>
          <p:nvSpPr>
            <p:cNvPr id="170" name="Freeform 169">
              <a:extLst>
                <a:ext uri="{FF2B5EF4-FFF2-40B4-BE49-F238E27FC236}">
                  <a16:creationId xmlns:a16="http://schemas.microsoft.com/office/drawing/2014/main" id="{89A83CD1-A611-7404-9D94-754023E05E0F}"/>
                </a:ext>
              </a:extLst>
            </p:cNvPr>
            <p:cNvSpPr/>
            <p:nvPr/>
          </p:nvSpPr>
          <p:spPr>
            <a:xfrm>
              <a:off x="4096742" y="3257550"/>
              <a:ext cx="177859" cy="40710"/>
            </a:xfrm>
            <a:custGeom>
              <a:avLst/>
              <a:gdLst>
                <a:gd name="connsiteX0" fmla="*/ 176558 w 177859"/>
                <a:gd name="connsiteY0" fmla="*/ 9835 h 40710"/>
                <a:gd name="connsiteX1" fmla="*/ 177193 w 177859"/>
                <a:gd name="connsiteY1" fmla="*/ 4755 h 40710"/>
                <a:gd name="connsiteX2" fmla="*/ 170843 w 177859"/>
                <a:gd name="connsiteY2" fmla="*/ -325 h 40710"/>
                <a:gd name="connsiteX3" fmla="*/ 164493 w 177859"/>
                <a:gd name="connsiteY3" fmla="*/ 310 h 40710"/>
                <a:gd name="connsiteX4" fmla="*/ 5108 w 177859"/>
                <a:gd name="connsiteY4" fmla="*/ 25075 h 40710"/>
                <a:gd name="connsiteX5" fmla="*/ 28 w 177859"/>
                <a:gd name="connsiteY5" fmla="*/ 29520 h 40710"/>
                <a:gd name="connsiteX6" fmla="*/ 3203 w 177859"/>
                <a:gd name="connsiteY6" fmla="*/ 35870 h 40710"/>
                <a:gd name="connsiteX7" fmla="*/ 30508 w 177859"/>
                <a:gd name="connsiteY7" fmla="*/ 40315 h 40710"/>
                <a:gd name="connsiteX8" fmla="*/ 31143 w 177859"/>
                <a:gd name="connsiteY8" fmla="*/ 40315 h 40710"/>
                <a:gd name="connsiteX9" fmla="*/ 168303 w 177859"/>
                <a:gd name="connsiteY9" fmla="*/ 11740 h 40710"/>
                <a:gd name="connsiteX10" fmla="*/ 176558 w 177859"/>
                <a:gd name="connsiteY10" fmla="*/ 9835 h 40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7859" h="40710">
                  <a:moveTo>
                    <a:pt x="176558" y="9835"/>
                  </a:moveTo>
                  <a:cubicBezTo>
                    <a:pt x="177828" y="8565"/>
                    <a:pt x="177828" y="6660"/>
                    <a:pt x="177193" y="4755"/>
                  </a:cubicBezTo>
                  <a:cubicBezTo>
                    <a:pt x="176558" y="2215"/>
                    <a:pt x="174018" y="-325"/>
                    <a:pt x="170843" y="-325"/>
                  </a:cubicBezTo>
                  <a:cubicBezTo>
                    <a:pt x="170208" y="-325"/>
                    <a:pt x="165763" y="310"/>
                    <a:pt x="164493" y="310"/>
                  </a:cubicBezTo>
                  <a:lnTo>
                    <a:pt x="5108" y="25075"/>
                  </a:lnTo>
                  <a:cubicBezTo>
                    <a:pt x="-607" y="25710"/>
                    <a:pt x="-607" y="26345"/>
                    <a:pt x="28" y="29520"/>
                  </a:cubicBezTo>
                  <a:cubicBezTo>
                    <a:pt x="663" y="34600"/>
                    <a:pt x="663" y="35235"/>
                    <a:pt x="3203" y="35870"/>
                  </a:cubicBezTo>
                  <a:cubicBezTo>
                    <a:pt x="6378" y="37140"/>
                    <a:pt x="26698" y="40950"/>
                    <a:pt x="30508" y="40315"/>
                  </a:cubicBezTo>
                  <a:cubicBezTo>
                    <a:pt x="30508" y="40315"/>
                    <a:pt x="31143" y="40315"/>
                    <a:pt x="31143" y="40315"/>
                  </a:cubicBezTo>
                  <a:cubicBezTo>
                    <a:pt x="37493" y="39045"/>
                    <a:pt x="156238" y="14280"/>
                    <a:pt x="168303" y="11740"/>
                  </a:cubicBezTo>
                  <a:cubicBezTo>
                    <a:pt x="168938" y="11740"/>
                    <a:pt x="175923" y="10470"/>
                    <a:pt x="176558" y="9835"/>
                  </a:cubicBezTo>
                </a:path>
              </a:pathLst>
            </a:custGeom>
            <a:solidFill>
              <a:srgbClr val="FFFFFF"/>
            </a:solidFill>
            <a:ln w="6350" cap="flat">
              <a:noFill/>
              <a:prstDash val="solid"/>
              <a:miter/>
            </a:ln>
          </p:spPr>
          <p:txBody>
            <a:bodyPr rtlCol="0" anchor="ctr"/>
            <a:lstStyle/>
            <a:p>
              <a:endParaRPr lang="en-GB"/>
            </a:p>
          </p:txBody>
        </p:sp>
        <p:sp>
          <p:nvSpPr>
            <p:cNvPr id="171" name="Freeform 170">
              <a:extLst>
                <a:ext uri="{FF2B5EF4-FFF2-40B4-BE49-F238E27FC236}">
                  <a16:creationId xmlns:a16="http://schemas.microsoft.com/office/drawing/2014/main" id="{EEA58D24-F0C8-0AE6-BDB1-6CB370C30B90}"/>
                </a:ext>
              </a:extLst>
            </p:cNvPr>
            <p:cNvSpPr/>
            <p:nvPr/>
          </p:nvSpPr>
          <p:spPr>
            <a:xfrm>
              <a:off x="4737100" y="3250516"/>
              <a:ext cx="194151" cy="41958"/>
            </a:xfrm>
            <a:custGeom>
              <a:avLst/>
              <a:gdLst>
                <a:gd name="connsiteX0" fmla="*/ 193425 w 194151"/>
                <a:gd name="connsiteY0" fmla="*/ 25124 h 41958"/>
                <a:gd name="connsiteX1" fmla="*/ 8005 w 194151"/>
                <a:gd name="connsiteY1" fmla="*/ -276 h 41958"/>
                <a:gd name="connsiteX2" fmla="*/ -250 w 194151"/>
                <a:gd name="connsiteY2" fmla="*/ 7979 h 41958"/>
                <a:gd name="connsiteX3" fmla="*/ 1655 w 194151"/>
                <a:gd name="connsiteY3" fmla="*/ 11154 h 41958"/>
                <a:gd name="connsiteX4" fmla="*/ 33405 w 194151"/>
                <a:gd name="connsiteY4" fmla="*/ 18139 h 41958"/>
                <a:gd name="connsiteX5" fmla="*/ 70235 w 194151"/>
                <a:gd name="connsiteY5" fmla="*/ 27029 h 41958"/>
                <a:gd name="connsiteX6" fmla="*/ 115955 w 194151"/>
                <a:gd name="connsiteY6" fmla="*/ 36554 h 41958"/>
                <a:gd name="connsiteX7" fmla="*/ 141990 w 194151"/>
                <a:gd name="connsiteY7" fmla="*/ 40364 h 41958"/>
                <a:gd name="connsiteX8" fmla="*/ 159770 w 194151"/>
                <a:gd name="connsiteY8" fmla="*/ 41634 h 41958"/>
                <a:gd name="connsiteX9" fmla="*/ 188345 w 194151"/>
                <a:gd name="connsiteY9" fmla="*/ 39094 h 41958"/>
                <a:gd name="connsiteX10" fmla="*/ 193425 w 194151"/>
                <a:gd name="connsiteY10" fmla="*/ 27664 h 41958"/>
                <a:gd name="connsiteX11" fmla="*/ 193425 w 194151"/>
                <a:gd name="connsiteY11" fmla="*/ 25124 h 41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4151" h="41958">
                  <a:moveTo>
                    <a:pt x="193425" y="25124"/>
                  </a:moveTo>
                  <a:cubicBezTo>
                    <a:pt x="112780" y="20044"/>
                    <a:pt x="18165" y="994"/>
                    <a:pt x="8005" y="-276"/>
                  </a:cubicBezTo>
                  <a:cubicBezTo>
                    <a:pt x="2925" y="-911"/>
                    <a:pt x="-250" y="4804"/>
                    <a:pt x="-250" y="7979"/>
                  </a:cubicBezTo>
                  <a:cubicBezTo>
                    <a:pt x="-250" y="7979"/>
                    <a:pt x="385" y="10519"/>
                    <a:pt x="1655" y="11154"/>
                  </a:cubicBezTo>
                  <a:cubicBezTo>
                    <a:pt x="2925" y="11789"/>
                    <a:pt x="25150" y="16234"/>
                    <a:pt x="33405" y="18139"/>
                  </a:cubicBezTo>
                  <a:cubicBezTo>
                    <a:pt x="45470" y="21314"/>
                    <a:pt x="58170" y="23854"/>
                    <a:pt x="70235" y="27029"/>
                  </a:cubicBezTo>
                  <a:cubicBezTo>
                    <a:pt x="85475" y="30839"/>
                    <a:pt x="100715" y="34014"/>
                    <a:pt x="115955" y="36554"/>
                  </a:cubicBezTo>
                  <a:cubicBezTo>
                    <a:pt x="124210" y="37824"/>
                    <a:pt x="133100" y="39729"/>
                    <a:pt x="141990" y="40364"/>
                  </a:cubicBezTo>
                  <a:cubicBezTo>
                    <a:pt x="146435" y="40999"/>
                    <a:pt x="155960" y="41634"/>
                    <a:pt x="159770" y="41634"/>
                  </a:cubicBezTo>
                  <a:cubicBezTo>
                    <a:pt x="169930" y="40999"/>
                    <a:pt x="184535" y="39729"/>
                    <a:pt x="188345" y="39094"/>
                  </a:cubicBezTo>
                  <a:cubicBezTo>
                    <a:pt x="191520" y="38459"/>
                    <a:pt x="193425" y="28934"/>
                    <a:pt x="193425" y="27664"/>
                  </a:cubicBezTo>
                  <a:cubicBezTo>
                    <a:pt x="194060" y="25759"/>
                    <a:pt x="194060" y="25124"/>
                    <a:pt x="193425" y="25124"/>
                  </a:cubicBezTo>
                </a:path>
              </a:pathLst>
            </a:custGeom>
            <a:solidFill>
              <a:srgbClr val="FFFFFF"/>
            </a:solidFill>
            <a:ln w="6350" cap="flat">
              <a:noFill/>
              <a:prstDash val="solid"/>
              <a:miter/>
            </a:ln>
          </p:spPr>
          <p:txBody>
            <a:bodyPr rtlCol="0" anchor="ctr"/>
            <a:lstStyle/>
            <a:p>
              <a:endParaRPr lang="en-GB"/>
            </a:p>
          </p:txBody>
        </p:sp>
        <p:sp>
          <p:nvSpPr>
            <p:cNvPr id="172" name="Freeform 171">
              <a:extLst>
                <a:ext uri="{FF2B5EF4-FFF2-40B4-BE49-F238E27FC236}">
                  <a16:creationId xmlns:a16="http://schemas.microsoft.com/office/drawing/2014/main" id="{6C8555AD-F504-50E9-5BC3-75F91015B049}"/>
                </a:ext>
              </a:extLst>
            </p:cNvPr>
            <p:cNvSpPr/>
            <p:nvPr/>
          </p:nvSpPr>
          <p:spPr>
            <a:xfrm>
              <a:off x="4723097" y="3267427"/>
              <a:ext cx="171015" cy="49278"/>
            </a:xfrm>
            <a:custGeom>
              <a:avLst/>
              <a:gdLst>
                <a:gd name="connsiteX0" fmla="*/ 169327 w 171015"/>
                <a:gd name="connsiteY0" fmla="*/ 32977 h 49278"/>
                <a:gd name="connsiteX1" fmla="*/ 89318 w 171015"/>
                <a:gd name="connsiteY1" fmla="*/ 19007 h 49278"/>
                <a:gd name="connsiteX2" fmla="*/ 51852 w 171015"/>
                <a:gd name="connsiteY2" fmla="*/ 10117 h 49278"/>
                <a:gd name="connsiteX3" fmla="*/ 13118 w 171015"/>
                <a:gd name="connsiteY3" fmla="*/ -43 h 49278"/>
                <a:gd name="connsiteX4" fmla="*/ 11212 w 171015"/>
                <a:gd name="connsiteY4" fmla="*/ -43 h 49278"/>
                <a:gd name="connsiteX5" fmla="*/ -218 w 171015"/>
                <a:gd name="connsiteY5" fmla="*/ 7577 h 49278"/>
                <a:gd name="connsiteX6" fmla="*/ 71537 w 171015"/>
                <a:gd name="connsiteY6" fmla="*/ 34247 h 49278"/>
                <a:gd name="connsiteX7" fmla="*/ 151547 w 171015"/>
                <a:gd name="connsiteY7" fmla="*/ 48852 h 49278"/>
                <a:gd name="connsiteX8" fmla="*/ 163612 w 171015"/>
                <a:gd name="connsiteY8" fmla="*/ 47582 h 49278"/>
                <a:gd name="connsiteX9" fmla="*/ 169327 w 171015"/>
                <a:gd name="connsiteY9" fmla="*/ 32977 h 49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015" h="49278">
                  <a:moveTo>
                    <a:pt x="169327" y="32977"/>
                  </a:moveTo>
                  <a:cubicBezTo>
                    <a:pt x="142657" y="29167"/>
                    <a:pt x="115987" y="24722"/>
                    <a:pt x="89318" y="19007"/>
                  </a:cubicBezTo>
                  <a:cubicBezTo>
                    <a:pt x="76618" y="16467"/>
                    <a:pt x="64552" y="13292"/>
                    <a:pt x="51852" y="10117"/>
                  </a:cubicBezTo>
                  <a:cubicBezTo>
                    <a:pt x="39152" y="6942"/>
                    <a:pt x="25818" y="3767"/>
                    <a:pt x="13118" y="-43"/>
                  </a:cubicBezTo>
                  <a:cubicBezTo>
                    <a:pt x="13118" y="-43"/>
                    <a:pt x="12482" y="-678"/>
                    <a:pt x="11212" y="-43"/>
                  </a:cubicBezTo>
                  <a:cubicBezTo>
                    <a:pt x="8037" y="1227"/>
                    <a:pt x="-853" y="4402"/>
                    <a:pt x="-218" y="7577"/>
                  </a:cubicBezTo>
                  <a:cubicBezTo>
                    <a:pt x="1052" y="10752"/>
                    <a:pt x="48677" y="27262"/>
                    <a:pt x="71537" y="34247"/>
                  </a:cubicBezTo>
                  <a:cubicBezTo>
                    <a:pt x="88682" y="39327"/>
                    <a:pt x="128687" y="48217"/>
                    <a:pt x="151547" y="48852"/>
                  </a:cubicBezTo>
                  <a:cubicBezTo>
                    <a:pt x="157897" y="48852"/>
                    <a:pt x="162343" y="49487"/>
                    <a:pt x="163612" y="47582"/>
                  </a:cubicBezTo>
                  <a:cubicBezTo>
                    <a:pt x="166787" y="45042"/>
                    <a:pt x="173772" y="33612"/>
                    <a:pt x="169327" y="32977"/>
                  </a:cubicBezTo>
                </a:path>
              </a:pathLst>
            </a:custGeom>
            <a:solidFill>
              <a:srgbClr val="FFFFFF"/>
            </a:solidFill>
            <a:ln w="6350" cap="flat">
              <a:noFill/>
              <a:prstDash val="solid"/>
              <a:miter/>
            </a:ln>
          </p:spPr>
          <p:txBody>
            <a:bodyPr rtlCol="0" anchor="ctr"/>
            <a:lstStyle/>
            <a:p>
              <a:endParaRPr lang="en-GB"/>
            </a:p>
          </p:txBody>
        </p:sp>
        <p:sp>
          <p:nvSpPr>
            <p:cNvPr id="173" name="Freeform 172">
              <a:extLst>
                <a:ext uri="{FF2B5EF4-FFF2-40B4-BE49-F238E27FC236}">
                  <a16:creationId xmlns:a16="http://schemas.microsoft.com/office/drawing/2014/main" id="{B937990E-212E-81B8-DBCE-695C33E34F87}"/>
                </a:ext>
              </a:extLst>
            </p:cNvPr>
            <p:cNvSpPr/>
            <p:nvPr/>
          </p:nvSpPr>
          <p:spPr>
            <a:xfrm>
              <a:off x="4655820" y="3316138"/>
              <a:ext cx="61417" cy="55131"/>
            </a:xfrm>
            <a:custGeom>
              <a:avLst/>
              <a:gdLst>
                <a:gd name="connsiteX0" fmla="*/ 44835 w 61417"/>
                <a:gd name="connsiteY0" fmla="*/ 29987 h 55131"/>
                <a:gd name="connsiteX1" fmla="*/ 13720 w 61417"/>
                <a:gd name="connsiteY1" fmla="*/ 142 h 55131"/>
                <a:gd name="connsiteX2" fmla="*/ -250 w 61417"/>
                <a:gd name="connsiteY2" fmla="*/ 4587 h 55131"/>
                <a:gd name="connsiteX3" fmla="*/ 2925 w 61417"/>
                <a:gd name="connsiteY3" fmla="*/ 9667 h 55131"/>
                <a:gd name="connsiteX4" fmla="*/ 28960 w 61417"/>
                <a:gd name="connsiteY4" fmla="*/ 42052 h 55131"/>
                <a:gd name="connsiteX5" fmla="*/ 32770 w 61417"/>
                <a:gd name="connsiteY5" fmla="*/ 46497 h 55131"/>
                <a:gd name="connsiteX6" fmla="*/ 34675 w 61417"/>
                <a:gd name="connsiteY6" fmla="*/ 47767 h 55131"/>
                <a:gd name="connsiteX7" fmla="*/ 35310 w 61417"/>
                <a:gd name="connsiteY7" fmla="*/ 48402 h 55131"/>
                <a:gd name="connsiteX8" fmla="*/ 51820 w 61417"/>
                <a:gd name="connsiteY8" fmla="*/ 54752 h 55131"/>
                <a:gd name="connsiteX9" fmla="*/ 60075 w 61417"/>
                <a:gd name="connsiteY9" fmla="*/ 45862 h 55131"/>
                <a:gd name="connsiteX10" fmla="*/ 44835 w 61417"/>
                <a:gd name="connsiteY10" fmla="*/ 29987 h 55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417" h="55131">
                  <a:moveTo>
                    <a:pt x="44835" y="29987"/>
                  </a:moveTo>
                  <a:cubicBezTo>
                    <a:pt x="32135" y="17287"/>
                    <a:pt x="14990" y="777"/>
                    <a:pt x="13720" y="142"/>
                  </a:cubicBezTo>
                  <a:cubicBezTo>
                    <a:pt x="10545" y="-1128"/>
                    <a:pt x="385" y="142"/>
                    <a:pt x="-250" y="4587"/>
                  </a:cubicBezTo>
                  <a:cubicBezTo>
                    <a:pt x="-250" y="5857"/>
                    <a:pt x="1020" y="7762"/>
                    <a:pt x="2925" y="9667"/>
                  </a:cubicBezTo>
                  <a:cubicBezTo>
                    <a:pt x="3560" y="10302"/>
                    <a:pt x="20705" y="32527"/>
                    <a:pt x="28960" y="42052"/>
                  </a:cubicBezTo>
                  <a:cubicBezTo>
                    <a:pt x="30865" y="44592"/>
                    <a:pt x="32135" y="45862"/>
                    <a:pt x="32770" y="46497"/>
                  </a:cubicBezTo>
                  <a:cubicBezTo>
                    <a:pt x="33405" y="46497"/>
                    <a:pt x="33405" y="47132"/>
                    <a:pt x="34675" y="47767"/>
                  </a:cubicBezTo>
                  <a:cubicBezTo>
                    <a:pt x="34675" y="47767"/>
                    <a:pt x="35310" y="47767"/>
                    <a:pt x="35310" y="48402"/>
                  </a:cubicBezTo>
                  <a:cubicBezTo>
                    <a:pt x="39755" y="50942"/>
                    <a:pt x="48645" y="54752"/>
                    <a:pt x="51820" y="54752"/>
                  </a:cubicBezTo>
                  <a:cubicBezTo>
                    <a:pt x="56900" y="55387"/>
                    <a:pt x="63885" y="50307"/>
                    <a:pt x="60075" y="45862"/>
                  </a:cubicBezTo>
                  <a:cubicBezTo>
                    <a:pt x="58170" y="43322"/>
                    <a:pt x="51820" y="37607"/>
                    <a:pt x="44835" y="29987"/>
                  </a:cubicBezTo>
                </a:path>
              </a:pathLst>
            </a:custGeom>
            <a:solidFill>
              <a:srgbClr val="FFFFFF"/>
            </a:solidFill>
            <a:ln w="6350" cap="flat">
              <a:noFill/>
              <a:prstDash val="solid"/>
              <a:miter/>
            </a:ln>
          </p:spPr>
          <p:txBody>
            <a:bodyPr rtlCol="0" anchor="ctr"/>
            <a:lstStyle/>
            <a:p>
              <a:endParaRPr lang="en-GB"/>
            </a:p>
          </p:txBody>
        </p:sp>
        <p:sp>
          <p:nvSpPr>
            <p:cNvPr id="174" name="Freeform 173">
              <a:extLst>
                <a:ext uri="{FF2B5EF4-FFF2-40B4-BE49-F238E27FC236}">
                  <a16:creationId xmlns:a16="http://schemas.microsoft.com/office/drawing/2014/main" id="{98D86B57-D445-3F7C-BF05-F8646FF13CC4}"/>
                </a:ext>
              </a:extLst>
            </p:cNvPr>
            <p:cNvSpPr/>
            <p:nvPr/>
          </p:nvSpPr>
          <p:spPr>
            <a:xfrm>
              <a:off x="4678450" y="3305448"/>
              <a:ext cx="77540" cy="58386"/>
            </a:xfrm>
            <a:custGeom>
              <a:avLst/>
              <a:gdLst>
                <a:gd name="connsiteX0" fmla="*/ 15219 w 77540"/>
                <a:gd name="connsiteY0" fmla="*/ 5117 h 58386"/>
                <a:gd name="connsiteX1" fmla="*/ 10139 w 77540"/>
                <a:gd name="connsiteY1" fmla="*/ 1307 h 58386"/>
                <a:gd name="connsiteX2" fmla="*/ 2519 w 77540"/>
                <a:gd name="connsiteY2" fmla="*/ 3212 h 58386"/>
                <a:gd name="connsiteX3" fmla="*/ -21 w 77540"/>
                <a:gd name="connsiteY3" fmla="*/ 10197 h 58386"/>
                <a:gd name="connsiteX4" fmla="*/ 21569 w 77540"/>
                <a:gd name="connsiteY4" fmla="*/ 30517 h 58386"/>
                <a:gd name="connsiteX5" fmla="*/ 43159 w 77540"/>
                <a:gd name="connsiteY5" fmla="*/ 50202 h 58386"/>
                <a:gd name="connsiteX6" fmla="*/ 76814 w 77540"/>
                <a:gd name="connsiteY6" fmla="*/ 55282 h 58386"/>
                <a:gd name="connsiteX7" fmla="*/ 76814 w 77540"/>
                <a:gd name="connsiteY7" fmla="*/ 50837 h 58386"/>
                <a:gd name="connsiteX8" fmla="*/ 15219 w 77540"/>
                <a:gd name="connsiteY8" fmla="*/ 5117 h 5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540" h="58386">
                  <a:moveTo>
                    <a:pt x="15219" y="5117"/>
                  </a:moveTo>
                  <a:cubicBezTo>
                    <a:pt x="12679" y="3212"/>
                    <a:pt x="10774" y="1942"/>
                    <a:pt x="10139" y="1307"/>
                  </a:cubicBezTo>
                  <a:cubicBezTo>
                    <a:pt x="6329" y="-1868"/>
                    <a:pt x="4424" y="37"/>
                    <a:pt x="2519" y="3212"/>
                  </a:cubicBezTo>
                  <a:cubicBezTo>
                    <a:pt x="-21" y="7657"/>
                    <a:pt x="-656" y="8927"/>
                    <a:pt x="-21" y="10197"/>
                  </a:cubicBezTo>
                  <a:cubicBezTo>
                    <a:pt x="614" y="10832"/>
                    <a:pt x="10774" y="20992"/>
                    <a:pt x="21569" y="30517"/>
                  </a:cubicBezTo>
                  <a:cubicBezTo>
                    <a:pt x="31729" y="40042"/>
                    <a:pt x="41889" y="49567"/>
                    <a:pt x="43159" y="50202"/>
                  </a:cubicBezTo>
                  <a:cubicBezTo>
                    <a:pt x="43794" y="50837"/>
                    <a:pt x="71099" y="63537"/>
                    <a:pt x="76814" y="55282"/>
                  </a:cubicBezTo>
                  <a:cubicBezTo>
                    <a:pt x="77449" y="54012"/>
                    <a:pt x="77449" y="51472"/>
                    <a:pt x="76814" y="50837"/>
                  </a:cubicBezTo>
                  <a:cubicBezTo>
                    <a:pt x="73639" y="48932"/>
                    <a:pt x="31094" y="17182"/>
                    <a:pt x="15219" y="5117"/>
                  </a:cubicBezTo>
                </a:path>
              </a:pathLst>
            </a:custGeom>
            <a:solidFill>
              <a:srgbClr val="FFFFFF"/>
            </a:solidFill>
            <a:ln w="6350" cap="flat">
              <a:noFill/>
              <a:prstDash val="solid"/>
              <a:miter/>
            </a:ln>
          </p:spPr>
          <p:txBody>
            <a:bodyPr rtlCol="0" anchor="ctr"/>
            <a:lstStyle/>
            <a:p>
              <a:endParaRPr lang="en-GB"/>
            </a:p>
          </p:txBody>
        </p:sp>
        <p:sp>
          <p:nvSpPr>
            <p:cNvPr id="175" name="Freeform 174">
              <a:extLst>
                <a:ext uri="{FF2B5EF4-FFF2-40B4-BE49-F238E27FC236}">
                  <a16:creationId xmlns:a16="http://schemas.microsoft.com/office/drawing/2014/main" id="{6EF3247A-06F4-8DD1-44C3-EAE2F9E66AE8}"/>
                </a:ext>
              </a:extLst>
            </p:cNvPr>
            <p:cNvSpPr/>
            <p:nvPr/>
          </p:nvSpPr>
          <p:spPr>
            <a:xfrm>
              <a:off x="4642484" y="3325148"/>
              <a:ext cx="36762" cy="44796"/>
            </a:xfrm>
            <a:custGeom>
              <a:avLst/>
              <a:gdLst>
                <a:gd name="connsiteX0" fmla="*/ 15625 w 36762"/>
                <a:gd name="connsiteY0" fmla="*/ 39391 h 44796"/>
                <a:gd name="connsiteX1" fmla="*/ 28960 w 36762"/>
                <a:gd name="connsiteY1" fmla="*/ 44471 h 44796"/>
                <a:gd name="connsiteX2" fmla="*/ 35310 w 36762"/>
                <a:gd name="connsiteY2" fmla="*/ 43836 h 44796"/>
                <a:gd name="connsiteX3" fmla="*/ 35310 w 36762"/>
                <a:gd name="connsiteY3" fmla="*/ 37486 h 44796"/>
                <a:gd name="connsiteX4" fmla="*/ 31500 w 36762"/>
                <a:gd name="connsiteY4" fmla="*/ 32406 h 44796"/>
                <a:gd name="connsiteX5" fmla="*/ 8640 w 36762"/>
                <a:gd name="connsiteY5" fmla="*/ 2561 h 44796"/>
                <a:gd name="connsiteX6" fmla="*/ -250 w 36762"/>
                <a:gd name="connsiteY6" fmla="*/ 21 h 44796"/>
                <a:gd name="connsiteX7" fmla="*/ 385 w 36762"/>
                <a:gd name="connsiteY7" fmla="*/ 7641 h 44796"/>
                <a:gd name="connsiteX8" fmla="*/ -250 w 36762"/>
                <a:gd name="connsiteY8" fmla="*/ 15896 h 44796"/>
                <a:gd name="connsiteX9" fmla="*/ 9275 w 36762"/>
                <a:gd name="connsiteY9" fmla="*/ 31136 h 44796"/>
                <a:gd name="connsiteX10" fmla="*/ 15625 w 36762"/>
                <a:gd name="connsiteY10" fmla="*/ 39391 h 4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762" h="44796">
                  <a:moveTo>
                    <a:pt x="15625" y="39391"/>
                  </a:moveTo>
                  <a:cubicBezTo>
                    <a:pt x="18165" y="42566"/>
                    <a:pt x="25150" y="43836"/>
                    <a:pt x="28960" y="44471"/>
                  </a:cubicBezTo>
                  <a:cubicBezTo>
                    <a:pt x="30865" y="44471"/>
                    <a:pt x="34040" y="44471"/>
                    <a:pt x="35310" y="43836"/>
                  </a:cubicBezTo>
                  <a:cubicBezTo>
                    <a:pt x="37215" y="41931"/>
                    <a:pt x="36580" y="39391"/>
                    <a:pt x="35310" y="37486"/>
                  </a:cubicBezTo>
                  <a:cubicBezTo>
                    <a:pt x="34675" y="36851"/>
                    <a:pt x="33405" y="34946"/>
                    <a:pt x="31500" y="32406"/>
                  </a:cubicBezTo>
                  <a:cubicBezTo>
                    <a:pt x="24515" y="22881"/>
                    <a:pt x="9910" y="3196"/>
                    <a:pt x="8640" y="2561"/>
                  </a:cubicBezTo>
                  <a:cubicBezTo>
                    <a:pt x="6735" y="1291"/>
                    <a:pt x="2925" y="-1249"/>
                    <a:pt x="-250" y="21"/>
                  </a:cubicBezTo>
                  <a:cubicBezTo>
                    <a:pt x="-250" y="2561"/>
                    <a:pt x="385" y="5101"/>
                    <a:pt x="385" y="7641"/>
                  </a:cubicBezTo>
                  <a:cubicBezTo>
                    <a:pt x="385" y="10181"/>
                    <a:pt x="-250" y="13356"/>
                    <a:pt x="-250" y="15896"/>
                  </a:cubicBezTo>
                  <a:cubicBezTo>
                    <a:pt x="1655" y="19706"/>
                    <a:pt x="6100" y="26056"/>
                    <a:pt x="9275" y="31136"/>
                  </a:cubicBezTo>
                  <a:cubicBezTo>
                    <a:pt x="13085" y="34946"/>
                    <a:pt x="14990" y="38756"/>
                    <a:pt x="15625" y="39391"/>
                  </a:cubicBezTo>
                </a:path>
              </a:pathLst>
            </a:custGeom>
            <a:solidFill>
              <a:srgbClr val="FFFFFF"/>
            </a:solidFill>
            <a:ln w="6350" cap="flat">
              <a:noFill/>
              <a:prstDash val="solid"/>
              <a:miter/>
            </a:ln>
          </p:spPr>
          <p:txBody>
            <a:bodyPr rtlCol="0" anchor="ctr"/>
            <a:lstStyle/>
            <a:p>
              <a:endParaRPr lang="en-GB"/>
            </a:p>
          </p:txBody>
        </p:sp>
        <p:sp>
          <p:nvSpPr>
            <p:cNvPr id="176" name="Freeform 175">
              <a:extLst>
                <a:ext uri="{FF2B5EF4-FFF2-40B4-BE49-F238E27FC236}">
                  <a16:creationId xmlns:a16="http://schemas.microsoft.com/office/drawing/2014/main" id="{E051BCD9-4D41-AD9D-1509-614CC685B83A}"/>
                </a:ext>
              </a:extLst>
            </p:cNvPr>
            <p:cNvSpPr/>
            <p:nvPr/>
          </p:nvSpPr>
          <p:spPr>
            <a:xfrm>
              <a:off x="4648075" y="3284605"/>
              <a:ext cx="26963" cy="25649"/>
            </a:xfrm>
            <a:custGeom>
              <a:avLst/>
              <a:gdLst>
                <a:gd name="connsiteX0" fmla="*/ 22734 w 26963"/>
                <a:gd name="connsiteY0" fmla="*/ 12624 h 25649"/>
                <a:gd name="connsiteX1" fmla="*/ 15115 w 26963"/>
                <a:gd name="connsiteY1" fmla="*/ 5639 h 25649"/>
                <a:gd name="connsiteX2" fmla="*/ 10034 w 26963"/>
                <a:gd name="connsiteY2" fmla="*/ 1194 h 25649"/>
                <a:gd name="connsiteX3" fmla="*/ 3684 w 26963"/>
                <a:gd name="connsiteY3" fmla="*/ -76 h 25649"/>
                <a:gd name="connsiteX4" fmla="*/ -125 w 26963"/>
                <a:gd name="connsiteY4" fmla="*/ 3734 h 25649"/>
                <a:gd name="connsiteX5" fmla="*/ 3050 w 26963"/>
                <a:gd name="connsiteY5" fmla="*/ 10719 h 25649"/>
                <a:gd name="connsiteX6" fmla="*/ 4320 w 26963"/>
                <a:gd name="connsiteY6" fmla="*/ 12624 h 25649"/>
                <a:gd name="connsiteX7" fmla="*/ 10670 w 26963"/>
                <a:gd name="connsiteY7" fmla="*/ 19609 h 25649"/>
                <a:gd name="connsiteX8" fmla="*/ 18925 w 26963"/>
                <a:gd name="connsiteY8" fmla="*/ 25324 h 25649"/>
                <a:gd name="connsiteX9" fmla="*/ 23370 w 26963"/>
                <a:gd name="connsiteY9" fmla="*/ 24054 h 25649"/>
                <a:gd name="connsiteX10" fmla="*/ 26545 w 26963"/>
                <a:gd name="connsiteY10" fmla="*/ 20244 h 25649"/>
                <a:gd name="connsiteX11" fmla="*/ 24640 w 26963"/>
                <a:gd name="connsiteY11" fmla="*/ 15164 h 25649"/>
                <a:gd name="connsiteX12" fmla="*/ 22734 w 26963"/>
                <a:gd name="connsiteY12" fmla="*/ 12624 h 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63" h="25649">
                  <a:moveTo>
                    <a:pt x="22734" y="12624"/>
                  </a:moveTo>
                  <a:cubicBezTo>
                    <a:pt x="20195" y="10084"/>
                    <a:pt x="17654" y="7544"/>
                    <a:pt x="15115" y="5639"/>
                  </a:cubicBezTo>
                  <a:cubicBezTo>
                    <a:pt x="13209" y="3734"/>
                    <a:pt x="11940" y="2464"/>
                    <a:pt x="10034" y="1194"/>
                  </a:cubicBezTo>
                  <a:cubicBezTo>
                    <a:pt x="8129" y="-76"/>
                    <a:pt x="6225" y="-711"/>
                    <a:pt x="3684" y="-76"/>
                  </a:cubicBezTo>
                  <a:cubicBezTo>
                    <a:pt x="1779" y="-76"/>
                    <a:pt x="-125" y="1829"/>
                    <a:pt x="-125" y="3734"/>
                  </a:cubicBezTo>
                  <a:cubicBezTo>
                    <a:pt x="-760" y="6274"/>
                    <a:pt x="1145" y="8814"/>
                    <a:pt x="3050" y="10719"/>
                  </a:cubicBezTo>
                  <a:cubicBezTo>
                    <a:pt x="3684" y="11354"/>
                    <a:pt x="4320" y="11989"/>
                    <a:pt x="4320" y="12624"/>
                  </a:cubicBezTo>
                  <a:cubicBezTo>
                    <a:pt x="6225" y="15164"/>
                    <a:pt x="8765" y="17069"/>
                    <a:pt x="10670" y="19609"/>
                  </a:cubicBezTo>
                  <a:cubicBezTo>
                    <a:pt x="13209" y="22149"/>
                    <a:pt x="15115" y="24689"/>
                    <a:pt x="18925" y="25324"/>
                  </a:cubicBezTo>
                  <a:cubicBezTo>
                    <a:pt x="20195" y="25324"/>
                    <a:pt x="22100" y="25324"/>
                    <a:pt x="23370" y="24054"/>
                  </a:cubicBezTo>
                  <a:cubicBezTo>
                    <a:pt x="24640" y="23419"/>
                    <a:pt x="25909" y="22149"/>
                    <a:pt x="26545" y="20244"/>
                  </a:cubicBezTo>
                  <a:cubicBezTo>
                    <a:pt x="27179" y="18339"/>
                    <a:pt x="25909" y="17069"/>
                    <a:pt x="24640" y="15164"/>
                  </a:cubicBezTo>
                  <a:cubicBezTo>
                    <a:pt x="24004" y="13894"/>
                    <a:pt x="23370" y="13259"/>
                    <a:pt x="22734" y="12624"/>
                  </a:cubicBezTo>
                </a:path>
              </a:pathLst>
            </a:custGeom>
            <a:solidFill>
              <a:srgbClr val="FFFFFF"/>
            </a:solidFill>
            <a:ln w="6350" cap="flat">
              <a:noFill/>
              <a:prstDash val="solid"/>
              <a:miter/>
            </a:ln>
          </p:spPr>
          <p:txBody>
            <a:bodyPr rtlCol="0" anchor="ctr"/>
            <a:lstStyle/>
            <a:p>
              <a:endParaRPr lang="en-GB"/>
            </a:p>
          </p:txBody>
        </p:sp>
        <p:sp>
          <p:nvSpPr>
            <p:cNvPr id="177" name="Freeform 176">
              <a:extLst>
                <a:ext uri="{FF2B5EF4-FFF2-40B4-BE49-F238E27FC236}">
                  <a16:creationId xmlns:a16="http://schemas.microsoft.com/office/drawing/2014/main" id="{48D5A48B-5A50-6CAD-C7E6-5177AB1AE055}"/>
                </a:ext>
              </a:extLst>
            </p:cNvPr>
            <p:cNvSpPr/>
            <p:nvPr/>
          </p:nvSpPr>
          <p:spPr>
            <a:xfrm>
              <a:off x="4622038" y="3216275"/>
              <a:ext cx="83476" cy="68782"/>
            </a:xfrm>
            <a:custGeom>
              <a:avLst/>
              <a:gdLst>
                <a:gd name="connsiteX0" fmla="*/ 80521 w 83476"/>
                <a:gd name="connsiteY0" fmla="*/ -325 h 68782"/>
                <a:gd name="connsiteX1" fmla="*/ 73536 w 83476"/>
                <a:gd name="connsiteY1" fmla="*/ -325 h 68782"/>
                <a:gd name="connsiteX2" fmla="*/ 55121 w 83476"/>
                <a:gd name="connsiteY2" fmla="*/ -325 h 68782"/>
                <a:gd name="connsiteX3" fmla="*/ 48771 w 83476"/>
                <a:gd name="connsiteY3" fmla="*/ -325 h 68782"/>
                <a:gd name="connsiteX4" fmla="*/ 36706 w 83476"/>
                <a:gd name="connsiteY4" fmla="*/ -325 h 68782"/>
                <a:gd name="connsiteX5" fmla="*/ -124 w 83476"/>
                <a:gd name="connsiteY5" fmla="*/ 13010 h 68782"/>
                <a:gd name="connsiteX6" fmla="*/ 2416 w 83476"/>
                <a:gd name="connsiteY6" fmla="*/ 22535 h 68782"/>
                <a:gd name="connsiteX7" fmla="*/ 8766 w 83476"/>
                <a:gd name="connsiteY7" fmla="*/ 33965 h 68782"/>
                <a:gd name="connsiteX8" fmla="*/ 8766 w 83476"/>
                <a:gd name="connsiteY8" fmla="*/ 34600 h 68782"/>
                <a:gd name="connsiteX9" fmla="*/ 9401 w 83476"/>
                <a:gd name="connsiteY9" fmla="*/ 35870 h 68782"/>
                <a:gd name="connsiteX10" fmla="*/ 16386 w 83476"/>
                <a:gd name="connsiteY10" fmla="*/ 53650 h 68782"/>
                <a:gd name="connsiteX11" fmla="*/ 16386 w 83476"/>
                <a:gd name="connsiteY11" fmla="*/ 54285 h 68782"/>
                <a:gd name="connsiteX12" fmla="*/ 16386 w 83476"/>
                <a:gd name="connsiteY12" fmla="*/ 54920 h 68782"/>
                <a:gd name="connsiteX13" fmla="*/ 15751 w 83476"/>
                <a:gd name="connsiteY13" fmla="*/ 61270 h 68782"/>
                <a:gd name="connsiteX14" fmla="*/ 15751 w 83476"/>
                <a:gd name="connsiteY14" fmla="*/ 61270 h 68782"/>
                <a:gd name="connsiteX15" fmla="*/ 16386 w 83476"/>
                <a:gd name="connsiteY15" fmla="*/ 67620 h 68782"/>
                <a:gd name="connsiteX16" fmla="*/ 26546 w 83476"/>
                <a:gd name="connsiteY16" fmla="*/ 63810 h 68782"/>
                <a:gd name="connsiteX17" fmla="*/ 22736 w 83476"/>
                <a:gd name="connsiteY17" fmla="*/ 51110 h 68782"/>
                <a:gd name="connsiteX18" fmla="*/ 34166 w 83476"/>
                <a:gd name="connsiteY18" fmla="*/ 58730 h 68782"/>
                <a:gd name="connsiteX19" fmla="*/ 39881 w 83476"/>
                <a:gd name="connsiteY19" fmla="*/ 51110 h 68782"/>
                <a:gd name="connsiteX20" fmla="*/ 32896 w 83476"/>
                <a:gd name="connsiteY20" fmla="*/ 39045 h 68782"/>
                <a:gd name="connsiteX21" fmla="*/ 43691 w 83476"/>
                <a:gd name="connsiteY21" fmla="*/ 42855 h 68782"/>
                <a:gd name="connsiteX22" fmla="*/ 55121 w 83476"/>
                <a:gd name="connsiteY22" fmla="*/ 41585 h 68782"/>
                <a:gd name="connsiteX23" fmla="*/ 42421 w 83476"/>
                <a:gd name="connsiteY23" fmla="*/ 25710 h 68782"/>
                <a:gd name="connsiteX24" fmla="*/ 46231 w 83476"/>
                <a:gd name="connsiteY24" fmla="*/ 24440 h 68782"/>
                <a:gd name="connsiteX25" fmla="*/ 61471 w 83476"/>
                <a:gd name="connsiteY25" fmla="*/ 33965 h 68782"/>
                <a:gd name="connsiteX26" fmla="*/ 67821 w 83476"/>
                <a:gd name="connsiteY26" fmla="*/ 28885 h 68782"/>
                <a:gd name="connsiteX27" fmla="*/ 53216 w 83476"/>
                <a:gd name="connsiteY27" fmla="*/ 14915 h 68782"/>
                <a:gd name="connsiteX28" fmla="*/ 65916 w 83476"/>
                <a:gd name="connsiteY28" fmla="*/ 17455 h 68782"/>
                <a:gd name="connsiteX29" fmla="*/ 71631 w 83476"/>
                <a:gd name="connsiteY29" fmla="*/ 19995 h 68782"/>
                <a:gd name="connsiteX30" fmla="*/ 76076 w 83476"/>
                <a:gd name="connsiteY30" fmla="*/ 16185 h 68782"/>
                <a:gd name="connsiteX31" fmla="*/ 65916 w 83476"/>
                <a:gd name="connsiteY31" fmla="*/ 6660 h 68782"/>
                <a:gd name="connsiteX32" fmla="*/ 77346 w 83476"/>
                <a:gd name="connsiteY32" fmla="*/ 7930 h 68782"/>
                <a:gd name="connsiteX33" fmla="*/ 83061 w 83476"/>
                <a:gd name="connsiteY33" fmla="*/ 3485 h 68782"/>
                <a:gd name="connsiteX34" fmla="*/ 80521 w 83476"/>
                <a:gd name="connsiteY34" fmla="*/ -325 h 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3476" h="68782">
                  <a:moveTo>
                    <a:pt x="80521" y="-325"/>
                  </a:moveTo>
                  <a:cubicBezTo>
                    <a:pt x="77981" y="-325"/>
                    <a:pt x="75441" y="-325"/>
                    <a:pt x="73536" y="-325"/>
                  </a:cubicBezTo>
                  <a:lnTo>
                    <a:pt x="55121" y="-325"/>
                  </a:lnTo>
                  <a:cubicBezTo>
                    <a:pt x="53216" y="-325"/>
                    <a:pt x="51311" y="-325"/>
                    <a:pt x="48771" y="-325"/>
                  </a:cubicBezTo>
                  <a:cubicBezTo>
                    <a:pt x="44326" y="-325"/>
                    <a:pt x="40516" y="-325"/>
                    <a:pt x="36706" y="-325"/>
                  </a:cubicBezTo>
                  <a:cubicBezTo>
                    <a:pt x="14481" y="310"/>
                    <a:pt x="1781" y="4755"/>
                    <a:pt x="-124" y="13010"/>
                  </a:cubicBezTo>
                  <a:cubicBezTo>
                    <a:pt x="-759" y="15550"/>
                    <a:pt x="1146" y="19360"/>
                    <a:pt x="2416" y="22535"/>
                  </a:cubicBezTo>
                  <a:cubicBezTo>
                    <a:pt x="4321" y="26345"/>
                    <a:pt x="6226" y="30155"/>
                    <a:pt x="8766" y="33965"/>
                  </a:cubicBezTo>
                  <a:lnTo>
                    <a:pt x="8766" y="34600"/>
                  </a:lnTo>
                  <a:lnTo>
                    <a:pt x="9401" y="35870"/>
                  </a:lnTo>
                  <a:cubicBezTo>
                    <a:pt x="12576" y="40950"/>
                    <a:pt x="15751" y="46665"/>
                    <a:pt x="16386" y="53650"/>
                  </a:cubicBezTo>
                  <a:lnTo>
                    <a:pt x="16386" y="54285"/>
                  </a:lnTo>
                  <a:lnTo>
                    <a:pt x="16386" y="54920"/>
                  </a:lnTo>
                  <a:cubicBezTo>
                    <a:pt x="16386" y="57460"/>
                    <a:pt x="16386" y="59365"/>
                    <a:pt x="15751" y="61270"/>
                  </a:cubicBezTo>
                  <a:lnTo>
                    <a:pt x="15751" y="61270"/>
                  </a:lnTo>
                  <a:cubicBezTo>
                    <a:pt x="15116" y="64445"/>
                    <a:pt x="15116" y="66350"/>
                    <a:pt x="16386" y="67620"/>
                  </a:cubicBezTo>
                  <a:cubicBezTo>
                    <a:pt x="19561" y="70160"/>
                    <a:pt x="25911" y="66350"/>
                    <a:pt x="26546" y="63810"/>
                  </a:cubicBezTo>
                  <a:cubicBezTo>
                    <a:pt x="27181" y="61270"/>
                    <a:pt x="19561" y="53650"/>
                    <a:pt x="22736" y="51110"/>
                  </a:cubicBezTo>
                  <a:cubicBezTo>
                    <a:pt x="27181" y="47300"/>
                    <a:pt x="31626" y="58730"/>
                    <a:pt x="34166" y="58730"/>
                  </a:cubicBezTo>
                  <a:cubicBezTo>
                    <a:pt x="37341" y="59365"/>
                    <a:pt x="42421" y="54920"/>
                    <a:pt x="39881" y="51110"/>
                  </a:cubicBezTo>
                  <a:cubicBezTo>
                    <a:pt x="39246" y="49840"/>
                    <a:pt x="29086" y="43490"/>
                    <a:pt x="32896" y="39045"/>
                  </a:cubicBezTo>
                  <a:cubicBezTo>
                    <a:pt x="35436" y="35235"/>
                    <a:pt x="40516" y="40315"/>
                    <a:pt x="43691" y="42855"/>
                  </a:cubicBezTo>
                  <a:cubicBezTo>
                    <a:pt x="49406" y="47935"/>
                    <a:pt x="53851" y="46030"/>
                    <a:pt x="55121" y="41585"/>
                  </a:cubicBezTo>
                  <a:cubicBezTo>
                    <a:pt x="55756" y="38410"/>
                    <a:pt x="37341" y="30155"/>
                    <a:pt x="42421" y="25710"/>
                  </a:cubicBezTo>
                  <a:cubicBezTo>
                    <a:pt x="43691" y="24440"/>
                    <a:pt x="44961" y="24440"/>
                    <a:pt x="46231" y="24440"/>
                  </a:cubicBezTo>
                  <a:cubicBezTo>
                    <a:pt x="51946" y="25710"/>
                    <a:pt x="58931" y="33330"/>
                    <a:pt x="61471" y="33965"/>
                  </a:cubicBezTo>
                  <a:cubicBezTo>
                    <a:pt x="64011" y="34600"/>
                    <a:pt x="67186" y="32060"/>
                    <a:pt x="67821" y="28885"/>
                  </a:cubicBezTo>
                  <a:cubicBezTo>
                    <a:pt x="68456" y="25075"/>
                    <a:pt x="50676" y="19360"/>
                    <a:pt x="53216" y="14915"/>
                  </a:cubicBezTo>
                  <a:cubicBezTo>
                    <a:pt x="55756" y="10470"/>
                    <a:pt x="62741" y="16185"/>
                    <a:pt x="65916" y="17455"/>
                  </a:cubicBezTo>
                  <a:cubicBezTo>
                    <a:pt x="67186" y="18090"/>
                    <a:pt x="70361" y="19995"/>
                    <a:pt x="71631" y="19995"/>
                  </a:cubicBezTo>
                  <a:cubicBezTo>
                    <a:pt x="74806" y="19995"/>
                    <a:pt x="76076" y="19360"/>
                    <a:pt x="76076" y="16185"/>
                  </a:cubicBezTo>
                  <a:cubicBezTo>
                    <a:pt x="76711" y="12375"/>
                    <a:pt x="64011" y="10470"/>
                    <a:pt x="65916" y="6660"/>
                  </a:cubicBezTo>
                  <a:cubicBezTo>
                    <a:pt x="68456" y="1580"/>
                    <a:pt x="74806" y="7295"/>
                    <a:pt x="77346" y="7930"/>
                  </a:cubicBezTo>
                  <a:cubicBezTo>
                    <a:pt x="81791" y="7295"/>
                    <a:pt x="83696" y="5390"/>
                    <a:pt x="83061" y="3485"/>
                  </a:cubicBezTo>
                  <a:cubicBezTo>
                    <a:pt x="83696" y="310"/>
                    <a:pt x="82426" y="310"/>
                    <a:pt x="80521" y="-325"/>
                  </a:cubicBezTo>
                </a:path>
              </a:pathLst>
            </a:custGeom>
            <a:solidFill>
              <a:srgbClr val="FFFFFF"/>
            </a:solidFill>
            <a:ln w="6350" cap="flat">
              <a:noFill/>
              <a:prstDash val="solid"/>
              <a:miter/>
            </a:ln>
          </p:spPr>
          <p:txBody>
            <a:bodyPr rtlCol="0" anchor="ctr"/>
            <a:lstStyle/>
            <a:p>
              <a:endParaRPr lang="en-GB"/>
            </a:p>
          </p:txBody>
        </p:sp>
        <p:sp>
          <p:nvSpPr>
            <p:cNvPr id="178" name="Freeform 177">
              <a:extLst>
                <a:ext uri="{FF2B5EF4-FFF2-40B4-BE49-F238E27FC236}">
                  <a16:creationId xmlns:a16="http://schemas.microsoft.com/office/drawing/2014/main" id="{833B9385-0EDF-87C7-E657-452E48E81469}"/>
                </a:ext>
              </a:extLst>
            </p:cNvPr>
            <p:cNvSpPr/>
            <p:nvPr/>
          </p:nvSpPr>
          <p:spPr>
            <a:xfrm>
              <a:off x="4305720" y="3216275"/>
              <a:ext cx="88605" cy="67689"/>
            </a:xfrm>
            <a:custGeom>
              <a:avLst/>
              <a:gdLst>
                <a:gd name="connsiteX0" fmla="*/ 71720 w 88605"/>
                <a:gd name="connsiteY0" fmla="*/ 53650 h 67689"/>
                <a:gd name="connsiteX1" fmla="*/ 71720 w 88605"/>
                <a:gd name="connsiteY1" fmla="*/ 53650 h 67689"/>
                <a:gd name="connsiteX2" fmla="*/ 78705 w 88605"/>
                <a:gd name="connsiteY2" fmla="*/ 35870 h 67689"/>
                <a:gd name="connsiteX3" fmla="*/ 79339 w 88605"/>
                <a:gd name="connsiteY3" fmla="*/ 34600 h 67689"/>
                <a:gd name="connsiteX4" fmla="*/ 79339 w 88605"/>
                <a:gd name="connsiteY4" fmla="*/ 33965 h 67689"/>
                <a:gd name="connsiteX5" fmla="*/ 85689 w 88605"/>
                <a:gd name="connsiteY5" fmla="*/ 22535 h 67689"/>
                <a:gd name="connsiteX6" fmla="*/ 88230 w 88605"/>
                <a:gd name="connsiteY6" fmla="*/ 13010 h 67689"/>
                <a:gd name="connsiteX7" fmla="*/ 51400 w 88605"/>
                <a:gd name="connsiteY7" fmla="*/ -325 h 67689"/>
                <a:gd name="connsiteX8" fmla="*/ 39335 w 88605"/>
                <a:gd name="connsiteY8" fmla="*/ -325 h 67689"/>
                <a:gd name="connsiteX9" fmla="*/ 29175 w 88605"/>
                <a:gd name="connsiteY9" fmla="*/ -325 h 67689"/>
                <a:gd name="connsiteX10" fmla="*/ 17110 w 88605"/>
                <a:gd name="connsiteY10" fmla="*/ -325 h 67689"/>
                <a:gd name="connsiteX11" fmla="*/ 5045 w 88605"/>
                <a:gd name="connsiteY11" fmla="*/ -325 h 67689"/>
                <a:gd name="connsiteX12" fmla="*/ 3139 w 88605"/>
                <a:gd name="connsiteY12" fmla="*/ -325 h 67689"/>
                <a:gd name="connsiteX13" fmla="*/ 3139 w 88605"/>
                <a:gd name="connsiteY13" fmla="*/ -325 h 67689"/>
                <a:gd name="connsiteX14" fmla="*/ -36 w 88605"/>
                <a:gd name="connsiteY14" fmla="*/ 2215 h 67689"/>
                <a:gd name="connsiteX15" fmla="*/ 3775 w 88605"/>
                <a:gd name="connsiteY15" fmla="*/ 7930 h 67689"/>
                <a:gd name="connsiteX16" fmla="*/ 16475 w 88605"/>
                <a:gd name="connsiteY16" fmla="*/ 6025 h 67689"/>
                <a:gd name="connsiteX17" fmla="*/ 6950 w 88605"/>
                <a:gd name="connsiteY17" fmla="*/ 18090 h 67689"/>
                <a:gd name="connsiteX18" fmla="*/ 17110 w 88605"/>
                <a:gd name="connsiteY18" fmla="*/ 18090 h 67689"/>
                <a:gd name="connsiteX19" fmla="*/ 33620 w 88605"/>
                <a:gd name="connsiteY19" fmla="*/ 13645 h 67689"/>
                <a:gd name="connsiteX20" fmla="*/ 19650 w 88605"/>
                <a:gd name="connsiteY20" fmla="*/ 28250 h 67689"/>
                <a:gd name="connsiteX21" fmla="*/ 18380 w 88605"/>
                <a:gd name="connsiteY21" fmla="*/ 33330 h 67689"/>
                <a:gd name="connsiteX22" fmla="*/ 36160 w 88605"/>
                <a:gd name="connsiteY22" fmla="*/ 26980 h 67689"/>
                <a:gd name="connsiteX23" fmla="*/ 41875 w 88605"/>
                <a:gd name="connsiteY23" fmla="*/ 22535 h 67689"/>
                <a:gd name="connsiteX24" fmla="*/ 45050 w 88605"/>
                <a:gd name="connsiteY24" fmla="*/ 22535 h 67689"/>
                <a:gd name="connsiteX25" fmla="*/ 48225 w 88605"/>
                <a:gd name="connsiteY25" fmla="*/ 25075 h 67689"/>
                <a:gd name="connsiteX26" fmla="*/ 46955 w 88605"/>
                <a:gd name="connsiteY26" fmla="*/ 29520 h 67689"/>
                <a:gd name="connsiteX27" fmla="*/ 41239 w 88605"/>
                <a:gd name="connsiteY27" fmla="*/ 33965 h 67689"/>
                <a:gd name="connsiteX28" fmla="*/ 37430 w 88605"/>
                <a:gd name="connsiteY28" fmla="*/ 37140 h 67689"/>
                <a:gd name="connsiteX29" fmla="*/ 32350 w 88605"/>
                <a:gd name="connsiteY29" fmla="*/ 44760 h 67689"/>
                <a:gd name="connsiteX30" fmla="*/ 37430 w 88605"/>
                <a:gd name="connsiteY30" fmla="*/ 49840 h 67689"/>
                <a:gd name="connsiteX31" fmla="*/ 39335 w 88605"/>
                <a:gd name="connsiteY31" fmla="*/ 49205 h 67689"/>
                <a:gd name="connsiteX32" fmla="*/ 54575 w 88605"/>
                <a:gd name="connsiteY32" fmla="*/ 36505 h 67689"/>
                <a:gd name="connsiteX33" fmla="*/ 57750 w 88605"/>
                <a:gd name="connsiteY33" fmla="*/ 38410 h 67689"/>
                <a:gd name="connsiteX34" fmla="*/ 57114 w 88605"/>
                <a:gd name="connsiteY34" fmla="*/ 43490 h 67689"/>
                <a:gd name="connsiteX35" fmla="*/ 51400 w 88605"/>
                <a:gd name="connsiteY35" fmla="*/ 49205 h 67689"/>
                <a:gd name="connsiteX36" fmla="*/ 47589 w 88605"/>
                <a:gd name="connsiteY36" fmla="*/ 53650 h 67689"/>
                <a:gd name="connsiteX37" fmla="*/ 52035 w 88605"/>
                <a:gd name="connsiteY37" fmla="*/ 59365 h 67689"/>
                <a:gd name="connsiteX38" fmla="*/ 54575 w 88605"/>
                <a:gd name="connsiteY38" fmla="*/ 58095 h 67689"/>
                <a:gd name="connsiteX39" fmla="*/ 63464 w 88605"/>
                <a:gd name="connsiteY39" fmla="*/ 49840 h 67689"/>
                <a:gd name="connsiteX40" fmla="*/ 60289 w 88605"/>
                <a:gd name="connsiteY40" fmla="*/ 63810 h 67689"/>
                <a:gd name="connsiteX41" fmla="*/ 62195 w 88605"/>
                <a:gd name="connsiteY41" fmla="*/ 66350 h 67689"/>
                <a:gd name="connsiteX42" fmla="*/ 64100 w 88605"/>
                <a:gd name="connsiteY42" fmla="*/ 66985 h 67689"/>
                <a:gd name="connsiteX43" fmla="*/ 70450 w 88605"/>
                <a:gd name="connsiteY43" fmla="*/ 65715 h 67689"/>
                <a:gd name="connsiteX44" fmla="*/ 71085 w 88605"/>
                <a:gd name="connsiteY44" fmla="*/ 62540 h 67689"/>
                <a:gd name="connsiteX45" fmla="*/ 71720 w 88605"/>
                <a:gd name="connsiteY45" fmla="*/ 53650 h 67689"/>
                <a:gd name="connsiteX46" fmla="*/ 71720 w 88605"/>
                <a:gd name="connsiteY46" fmla="*/ 53650 h 67689"/>
                <a:gd name="connsiteX47" fmla="*/ 71720 w 88605"/>
                <a:gd name="connsiteY47" fmla="*/ 53650 h 6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88605" h="67689">
                  <a:moveTo>
                    <a:pt x="71720" y="53650"/>
                  </a:moveTo>
                  <a:lnTo>
                    <a:pt x="71720" y="53650"/>
                  </a:lnTo>
                  <a:cubicBezTo>
                    <a:pt x="72989" y="46665"/>
                    <a:pt x="76164" y="40950"/>
                    <a:pt x="78705" y="35870"/>
                  </a:cubicBezTo>
                  <a:lnTo>
                    <a:pt x="79339" y="34600"/>
                  </a:lnTo>
                  <a:lnTo>
                    <a:pt x="79339" y="33965"/>
                  </a:lnTo>
                  <a:cubicBezTo>
                    <a:pt x="81245" y="30155"/>
                    <a:pt x="83785" y="26345"/>
                    <a:pt x="85689" y="22535"/>
                  </a:cubicBezTo>
                  <a:cubicBezTo>
                    <a:pt x="86960" y="19360"/>
                    <a:pt x="88864" y="15550"/>
                    <a:pt x="88230" y="13010"/>
                  </a:cubicBezTo>
                  <a:cubicBezTo>
                    <a:pt x="86325" y="4755"/>
                    <a:pt x="74260" y="310"/>
                    <a:pt x="51400" y="-325"/>
                  </a:cubicBezTo>
                  <a:cubicBezTo>
                    <a:pt x="47589" y="-325"/>
                    <a:pt x="43780" y="-325"/>
                    <a:pt x="39335" y="-325"/>
                  </a:cubicBezTo>
                  <a:cubicBezTo>
                    <a:pt x="36160" y="-325"/>
                    <a:pt x="32985" y="-325"/>
                    <a:pt x="29175" y="-325"/>
                  </a:cubicBezTo>
                  <a:cubicBezTo>
                    <a:pt x="25364" y="-325"/>
                    <a:pt x="20920" y="-325"/>
                    <a:pt x="17110" y="-325"/>
                  </a:cubicBezTo>
                  <a:cubicBezTo>
                    <a:pt x="13300" y="-325"/>
                    <a:pt x="8855" y="-325"/>
                    <a:pt x="5045" y="-325"/>
                  </a:cubicBezTo>
                  <a:cubicBezTo>
                    <a:pt x="4410" y="-325"/>
                    <a:pt x="3775" y="-325"/>
                    <a:pt x="3139" y="-325"/>
                  </a:cubicBezTo>
                  <a:lnTo>
                    <a:pt x="3139" y="-325"/>
                  </a:lnTo>
                  <a:cubicBezTo>
                    <a:pt x="1235" y="-325"/>
                    <a:pt x="-36" y="310"/>
                    <a:pt x="-36" y="2215"/>
                  </a:cubicBezTo>
                  <a:cubicBezTo>
                    <a:pt x="-670" y="4755"/>
                    <a:pt x="-36" y="7930"/>
                    <a:pt x="3775" y="7930"/>
                  </a:cubicBezTo>
                  <a:cubicBezTo>
                    <a:pt x="8220" y="7930"/>
                    <a:pt x="13300" y="2215"/>
                    <a:pt x="16475" y="6025"/>
                  </a:cubicBezTo>
                  <a:cubicBezTo>
                    <a:pt x="19650" y="10470"/>
                    <a:pt x="4410" y="13010"/>
                    <a:pt x="6950" y="18090"/>
                  </a:cubicBezTo>
                  <a:cubicBezTo>
                    <a:pt x="10125" y="24440"/>
                    <a:pt x="16475" y="18725"/>
                    <a:pt x="17110" y="18090"/>
                  </a:cubicBezTo>
                  <a:cubicBezTo>
                    <a:pt x="20285" y="16820"/>
                    <a:pt x="29810" y="7930"/>
                    <a:pt x="33620" y="13645"/>
                  </a:cubicBezTo>
                  <a:cubicBezTo>
                    <a:pt x="36795" y="18725"/>
                    <a:pt x="21555" y="25710"/>
                    <a:pt x="19650" y="28250"/>
                  </a:cubicBezTo>
                  <a:cubicBezTo>
                    <a:pt x="19014" y="28885"/>
                    <a:pt x="17745" y="32695"/>
                    <a:pt x="18380" y="33330"/>
                  </a:cubicBezTo>
                  <a:cubicBezTo>
                    <a:pt x="21555" y="40950"/>
                    <a:pt x="30445" y="33965"/>
                    <a:pt x="36160" y="26980"/>
                  </a:cubicBezTo>
                  <a:cubicBezTo>
                    <a:pt x="38064" y="24440"/>
                    <a:pt x="39970" y="23170"/>
                    <a:pt x="41875" y="22535"/>
                  </a:cubicBezTo>
                  <a:cubicBezTo>
                    <a:pt x="43145" y="22535"/>
                    <a:pt x="44414" y="21900"/>
                    <a:pt x="45050" y="22535"/>
                  </a:cubicBezTo>
                  <a:cubicBezTo>
                    <a:pt x="46320" y="22535"/>
                    <a:pt x="47589" y="23805"/>
                    <a:pt x="48225" y="25075"/>
                  </a:cubicBezTo>
                  <a:cubicBezTo>
                    <a:pt x="48860" y="26345"/>
                    <a:pt x="48225" y="28250"/>
                    <a:pt x="46955" y="29520"/>
                  </a:cubicBezTo>
                  <a:cubicBezTo>
                    <a:pt x="45050" y="30790"/>
                    <a:pt x="43145" y="32695"/>
                    <a:pt x="41239" y="33965"/>
                  </a:cubicBezTo>
                  <a:cubicBezTo>
                    <a:pt x="39970" y="35235"/>
                    <a:pt x="38700" y="36505"/>
                    <a:pt x="37430" y="37140"/>
                  </a:cubicBezTo>
                  <a:cubicBezTo>
                    <a:pt x="35525" y="39045"/>
                    <a:pt x="32350" y="41585"/>
                    <a:pt x="32350" y="44760"/>
                  </a:cubicBezTo>
                  <a:cubicBezTo>
                    <a:pt x="32350" y="47300"/>
                    <a:pt x="34889" y="49840"/>
                    <a:pt x="37430" y="49840"/>
                  </a:cubicBezTo>
                  <a:cubicBezTo>
                    <a:pt x="38064" y="49840"/>
                    <a:pt x="38700" y="49840"/>
                    <a:pt x="39335" y="49205"/>
                  </a:cubicBezTo>
                  <a:cubicBezTo>
                    <a:pt x="41875" y="47935"/>
                    <a:pt x="50130" y="34600"/>
                    <a:pt x="54575" y="36505"/>
                  </a:cubicBezTo>
                  <a:cubicBezTo>
                    <a:pt x="55845" y="37140"/>
                    <a:pt x="57114" y="37140"/>
                    <a:pt x="57750" y="38410"/>
                  </a:cubicBezTo>
                  <a:cubicBezTo>
                    <a:pt x="58385" y="40315"/>
                    <a:pt x="58385" y="42220"/>
                    <a:pt x="57114" y="43490"/>
                  </a:cubicBezTo>
                  <a:cubicBezTo>
                    <a:pt x="55845" y="45395"/>
                    <a:pt x="53305" y="47300"/>
                    <a:pt x="51400" y="49205"/>
                  </a:cubicBezTo>
                  <a:cubicBezTo>
                    <a:pt x="50130" y="50475"/>
                    <a:pt x="48225" y="51745"/>
                    <a:pt x="47589" y="53650"/>
                  </a:cubicBezTo>
                  <a:cubicBezTo>
                    <a:pt x="45685" y="57460"/>
                    <a:pt x="48860" y="59365"/>
                    <a:pt x="52035" y="59365"/>
                  </a:cubicBezTo>
                  <a:cubicBezTo>
                    <a:pt x="53305" y="59365"/>
                    <a:pt x="53939" y="58730"/>
                    <a:pt x="54575" y="58095"/>
                  </a:cubicBezTo>
                  <a:cubicBezTo>
                    <a:pt x="56480" y="56190"/>
                    <a:pt x="59020" y="47935"/>
                    <a:pt x="63464" y="49840"/>
                  </a:cubicBezTo>
                  <a:cubicBezTo>
                    <a:pt x="67910" y="52380"/>
                    <a:pt x="59655" y="58730"/>
                    <a:pt x="60289" y="63810"/>
                  </a:cubicBezTo>
                  <a:cubicBezTo>
                    <a:pt x="60289" y="64445"/>
                    <a:pt x="61560" y="65715"/>
                    <a:pt x="62195" y="66350"/>
                  </a:cubicBezTo>
                  <a:cubicBezTo>
                    <a:pt x="62830" y="66985"/>
                    <a:pt x="63464" y="66985"/>
                    <a:pt x="64100" y="66985"/>
                  </a:cubicBezTo>
                  <a:cubicBezTo>
                    <a:pt x="66639" y="67620"/>
                    <a:pt x="68545" y="67620"/>
                    <a:pt x="70450" y="65715"/>
                  </a:cubicBezTo>
                  <a:cubicBezTo>
                    <a:pt x="71085" y="64445"/>
                    <a:pt x="71085" y="63810"/>
                    <a:pt x="71085" y="62540"/>
                  </a:cubicBezTo>
                  <a:cubicBezTo>
                    <a:pt x="71720" y="59365"/>
                    <a:pt x="71720" y="56825"/>
                    <a:pt x="71720" y="53650"/>
                  </a:cubicBezTo>
                  <a:lnTo>
                    <a:pt x="71720" y="53650"/>
                  </a:lnTo>
                  <a:lnTo>
                    <a:pt x="71720" y="53650"/>
                  </a:lnTo>
                  <a:close/>
                </a:path>
              </a:pathLst>
            </a:custGeom>
            <a:solidFill>
              <a:srgbClr val="FFFFFF"/>
            </a:solidFill>
            <a:ln w="6350" cap="flat">
              <a:noFill/>
              <a:prstDash val="solid"/>
              <a:miter/>
            </a:ln>
          </p:spPr>
          <p:txBody>
            <a:bodyPr rtlCol="0" anchor="ctr"/>
            <a:lstStyle/>
            <a:p>
              <a:endParaRPr lang="en-GB"/>
            </a:p>
          </p:txBody>
        </p:sp>
        <p:sp>
          <p:nvSpPr>
            <p:cNvPr id="179" name="Freeform 178">
              <a:extLst>
                <a:ext uri="{FF2B5EF4-FFF2-40B4-BE49-F238E27FC236}">
                  <a16:creationId xmlns:a16="http://schemas.microsoft.com/office/drawing/2014/main" id="{8ADDFD97-F565-A073-9B12-F5DD4D7119AF}"/>
                </a:ext>
              </a:extLst>
            </p:cNvPr>
            <p:cNvSpPr/>
            <p:nvPr/>
          </p:nvSpPr>
          <p:spPr>
            <a:xfrm>
              <a:off x="4012411" y="3188808"/>
              <a:ext cx="420522" cy="96046"/>
            </a:xfrm>
            <a:custGeom>
              <a:avLst/>
              <a:gdLst>
                <a:gd name="connsiteX0" fmla="*/ 39273 w 420522"/>
                <a:gd name="connsiteY0" fmla="*/ 25872 h 96046"/>
                <a:gd name="connsiteX1" fmla="*/ 171353 w 420522"/>
                <a:gd name="connsiteY1" fmla="*/ 27142 h 96046"/>
                <a:gd name="connsiteX2" fmla="*/ 245648 w 420522"/>
                <a:gd name="connsiteY2" fmla="*/ 29047 h 96046"/>
                <a:gd name="connsiteX3" fmla="*/ 244378 w 420522"/>
                <a:gd name="connsiteY3" fmla="*/ 27142 h 96046"/>
                <a:gd name="connsiteX4" fmla="*/ 243108 w 420522"/>
                <a:gd name="connsiteY4" fmla="*/ 26507 h 96046"/>
                <a:gd name="connsiteX5" fmla="*/ 239298 w 420522"/>
                <a:gd name="connsiteY5" fmla="*/ 25872 h 96046"/>
                <a:gd name="connsiteX6" fmla="*/ 180878 w 420522"/>
                <a:gd name="connsiteY6" fmla="*/ 17617 h 96046"/>
                <a:gd name="connsiteX7" fmla="*/ 111663 w 420522"/>
                <a:gd name="connsiteY7" fmla="*/ 16982 h 96046"/>
                <a:gd name="connsiteX8" fmla="*/ 101503 w 420522"/>
                <a:gd name="connsiteY8" fmla="*/ 13172 h 96046"/>
                <a:gd name="connsiteX9" fmla="*/ 105313 w 420522"/>
                <a:gd name="connsiteY9" fmla="*/ 12537 h 96046"/>
                <a:gd name="connsiteX10" fmla="*/ 158018 w 420522"/>
                <a:gd name="connsiteY10" fmla="*/ 10632 h 96046"/>
                <a:gd name="connsiteX11" fmla="*/ 160558 w 420522"/>
                <a:gd name="connsiteY11" fmla="*/ 10632 h 96046"/>
                <a:gd name="connsiteX12" fmla="*/ 232313 w 420522"/>
                <a:gd name="connsiteY12" fmla="*/ 16982 h 96046"/>
                <a:gd name="connsiteX13" fmla="*/ 232313 w 420522"/>
                <a:gd name="connsiteY13" fmla="*/ 16982 h 96046"/>
                <a:gd name="connsiteX14" fmla="*/ 234853 w 420522"/>
                <a:gd name="connsiteY14" fmla="*/ 16982 h 96046"/>
                <a:gd name="connsiteX15" fmla="*/ 235488 w 420522"/>
                <a:gd name="connsiteY15" fmla="*/ 16982 h 96046"/>
                <a:gd name="connsiteX16" fmla="*/ 288828 w 420522"/>
                <a:gd name="connsiteY16" fmla="*/ 20792 h 96046"/>
                <a:gd name="connsiteX17" fmla="*/ 289463 w 420522"/>
                <a:gd name="connsiteY17" fmla="*/ 20792 h 96046"/>
                <a:gd name="connsiteX18" fmla="*/ 299623 w 420522"/>
                <a:gd name="connsiteY18" fmla="*/ 20792 h 96046"/>
                <a:gd name="connsiteX19" fmla="*/ 309783 w 420522"/>
                <a:gd name="connsiteY19" fmla="*/ 20792 h 96046"/>
                <a:gd name="connsiteX20" fmla="*/ 321848 w 420522"/>
                <a:gd name="connsiteY20" fmla="*/ 20792 h 96046"/>
                <a:gd name="connsiteX21" fmla="*/ 322483 w 420522"/>
                <a:gd name="connsiteY21" fmla="*/ 20792 h 96046"/>
                <a:gd name="connsiteX22" fmla="*/ 332643 w 420522"/>
                <a:gd name="connsiteY22" fmla="*/ 20792 h 96046"/>
                <a:gd name="connsiteX23" fmla="*/ 344708 w 420522"/>
                <a:gd name="connsiteY23" fmla="*/ 20792 h 96046"/>
                <a:gd name="connsiteX24" fmla="*/ 387253 w 420522"/>
                <a:gd name="connsiteY24" fmla="*/ 38572 h 96046"/>
                <a:gd name="connsiteX25" fmla="*/ 384713 w 420522"/>
                <a:gd name="connsiteY25" fmla="*/ 51907 h 96046"/>
                <a:gd name="connsiteX26" fmla="*/ 378363 w 420522"/>
                <a:gd name="connsiteY26" fmla="*/ 64607 h 96046"/>
                <a:gd name="connsiteX27" fmla="*/ 371378 w 420522"/>
                <a:gd name="connsiteY27" fmla="*/ 81752 h 96046"/>
                <a:gd name="connsiteX28" fmla="*/ 372648 w 420522"/>
                <a:gd name="connsiteY28" fmla="*/ 90642 h 96046"/>
                <a:gd name="connsiteX29" fmla="*/ 375188 w 420522"/>
                <a:gd name="connsiteY29" fmla="*/ 95722 h 96046"/>
                <a:gd name="connsiteX30" fmla="*/ 383443 w 420522"/>
                <a:gd name="connsiteY30" fmla="*/ 84927 h 96046"/>
                <a:gd name="connsiteX31" fmla="*/ 381538 w 420522"/>
                <a:gd name="connsiteY31" fmla="*/ 81752 h 96046"/>
                <a:gd name="connsiteX32" fmla="*/ 395508 w 420522"/>
                <a:gd name="connsiteY32" fmla="*/ 52542 h 96046"/>
                <a:gd name="connsiteX33" fmla="*/ 412018 w 420522"/>
                <a:gd name="connsiteY33" fmla="*/ 36032 h 96046"/>
                <a:gd name="connsiteX34" fmla="*/ 420273 w 420522"/>
                <a:gd name="connsiteY34" fmla="*/ 20157 h 96046"/>
                <a:gd name="connsiteX35" fmla="*/ 408208 w 420522"/>
                <a:gd name="connsiteY35" fmla="*/ 8092 h 96046"/>
                <a:gd name="connsiteX36" fmla="*/ 391698 w 420522"/>
                <a:gd name="connsiteY36" fmla="*/ 3012 h 96046"/>
                <a:gd name="connsiteX37" fmla="*/ 353598 w 420522"/>
                <a:gd name="connsiteY37" fmla="*/ -163 h 96046"/>
                <a:gd name="connsiteX38" fmla="*/ 318673 w 420522"/>
                <a:gd name="connsiteY38" fmla="*/ 2377 h 96046"/>
                <a:gd name="connsiteX39" fmla="*/ 276128 w 420522"/>
                <a:gd name="connsiteY39" fmla="*/ 4917 h 96046"/>
                <a:gd name="connsiteX40" fmla="*/ 234218 w 420522"/>
                <a:gd name="connsiteY40" fmla="*/ 3012 h 96046"/>
                <a:gd name="connsiteX41" fmla="*/ 229773 w 420522"/>
                <a:gd name="connsiteY41" fmla="*/ 3012 h 96046"/>
                <a:gd name="connsiteX42" fmla="*/ 202468 w 420522"/>
                <a:gd name="connsiteY42" fmla="*/ 1107 h 96046"/>
                <a:gd name="connsiteX43" fmla="*/ 138333 w 420522"/>
                <a:gd name="connsiteY43" fmla="*/ 1107 h 96046"/>
                <a:gd name="connsiteX44" fmla="*/ 130078 w 420522"/>
                <a:gd name="connsiteY44" fmla="*/ 1742 h 96046"/>
                <a:gd name="connsiteX45" fmla="*/ 64038 w 420522"/>
                <a:gd name="connsiteY45" fmla="*/ 4282 h 96046"/>
                <a:gd name="connsiteX46" fmla="*/ 31018 w 420522"/>
                <a:gd name="connsiteY46" fmla="*/ 2377 h 96046"/>
                <a:gd name="connsiteX47" fmla="*/ 13873 w 420522"/>
                <a:gd name="connsiteY47" fmla="*/ 472 h 96046"/>
                <a:gd name="connsiteX48" fmla="*/ 9428 w 420522"/>
                <a:gd name="connsiteY48" fmla="*/ 1107 h 96046"/>
                <a:gd name="connsiteX49" fmla="*/ 7523 w 420522"/>
                <a:gd name="connsiteY49" fmla="*/ 1742 h 96046"/>
                <a:gd name="connsiteX50" fmla="*/ -97 w 420522"/>
                <a:gd name="connsiteY50" fmla="*/ 10632 h 96046"/>
                <a:gd name="connsiteX51" fmla="*/ 22763 w 420522"/>
                <a:gd name="connsiteY51" fmla="*/ 22062 h 96046"/>
                <a:gd name="connsiteX52" fmla="*/ 39273 w 420522"/>
                <a:gd name="connsiteY52" fmla="*/ 25872 h 9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20522" h="96046">
                  <a:moveTo>
                    <a:pt x="39273" y="25872"/>
                  </a:moveTo>
                  <a:cubicBezTo>
                    <a:pt x="64038" y="25872"/>
                    <a:pt x="135158" y="25872"/>
                    <a:pt x="171353" y="27142"/>
                  </a:cubicBezTo>
                  <a:cubicBezTo>
                    <a:pt x="207548" y="27777"/>
                    <a:pt x="245648" y="30952"/>
                    <a:pt x="245648" y="29047"/>
                  </a:cubicBezTo>
                  <a:cubicBezTo>
                    <a:pt x="245648" y="27777"/>
                    <a:pt x="245013" y="27142"/>
                    <a:pt x="244378" y="27142"/>
                  </a:cubicBezTo>
                  <a:cubicBezTo>
                    <a:pt x="243743" y="27142"/>
                    <a:pt x="243743" y="27142"/>
                    <a:pt x="243108" y="26507"/>
                  </a:cubicBezTo>
                  <a:cubicBezTo>
                    <a:pt x="241838" y="25872"/>
                    <a:pt x="240568" y="25872"/>
                    <a:pt x="239298" y="25872"/>
                  </a:cubicBezTo>
                  <a:cubicBezTo>
                    <a:pt x="220248" y="22062"/>
                    <a:pt x="200563" y="19522"/>
                    <a:pt x="180878" y="17617"/>
                  </a:cubicBezTo>
                  <a:cubicBezTo>
                    <a:pt x="163098" y="15712"/>
                    <a:pt x="116743" y="16347"/>
                    <a:pt x="111663" y="16982"/>
                  </a:cubicBezTo>
                  <a:cubicBezTo>
                    <a:pt x="107853" y="16982"/>
                    <a:pt x="103408" y="16982"/>
                    <a:pt x="101503" y="13172"/>
                  </a:cubicBezTo>
                  <a:cubicBezTo>
                    <a:pt x="102773" y="13172"/>
                    <a:pt x="104043" y="12537"/>
                    <a:pt x="105313" y="12537"/>
                  </a:cubicBezTo>
                  <a:cubicBezTo>
                    <a:pt x="123093" y="10632"/>
                    <a:pt x="140238" y="10632"/>
                    <a:pt x="158018" y="10632"/>
                  </a:cubicBezTo>
                  <a:cubicBezTo>
                    <a:pt x="158653" y="10632"/>
                    <a:pt x="159288" y="10632"/>
                    <a:pt x="160558" y="10632"/>
                  </a:cubicBezTo>
                  <a:cubicBezTo>
                    <a:pt x="184688" y="11267"/>
                    <a:pt x="208183" y="14442"/>
                    <a:pt x="232313" y="16982"/>
                  </a:cubicBezTo>
                  <a:cubicBezTo>
                    <a:pt x="232313" y="16982"/>
                    <a:pt x="232313" y="16982"/>
                    <a:pt x="232313" y="16982"/>
                  </a:cubicBezTo>
                  <a:cubicBezTo>
                    <a:pt x="232313" y="16982"/>
                    <a:pt x="233583" y="16982"/>
                    <a:pt x="234853" y="16982"/>
                  </a:cubicBezTo>
                  <a:cubicBezTo>
                    <a:pt x="234853" y="16982"/>
                    <a:pt x="235488" y="16982"/>
                    <a:pt x="235488" y="16982"/>
                  </a:cubicBezTo>
                  <a:cubicBezTo>
                    <a:pt x="244378" y="17617"/>
                    <a:pt x="280573" y="20792"/>
                    <a:pt x="288828" y="20792"/>
                  </a:cubicBezTo>
                  <a:cubicBezTo>
                    <a:pt x="288828" y="20792"/>
                    <a:pt x="289463" y="20792"/>
                    <a:pt x="289463" y="20792"/>
                  </a:cubicBezTo>
                  <a:cubicBezTo>
                    <a:pt x="292638" y="20792"/>
                    <a:pt x="296448" y="20792"/>
                    <a:pt x="299623" y="20792"/>
                  </a:cubicBezTo>
                  <a:cubicBezTo>
                    <a:pt x="302798" y="20792"/>
                    <a:pt x="306608" y="20792"/>
                    <a:pt x="309783" y="20792"/>
                  </a:cubicBezTo>
                  <a:cubicBezTo>
                    <a:pt x="313593" y="20792"/>
                    <a:pt x="318038" y="20792"/>
                    <a:pt x="321848" y="20792"/>
                  </a:cubicBezTo>
                  <a:lnTo>
                    <a:pt x="322483" y="20792"/>
                  </a:lnTo>
                  <a:cubicBezTo>
                    <a:pt x="325658" y="20792"/>
                    <a:pt x="328833" y="20792"/>
                    <a:pt x="332643" y="20792"/>
                  </a:cubicBezTo>
                  <a:cubicBezTo>
                    <a:pt x="336453" y="20792"/>
                    <a:pt x="340898" y="20792"/>
                    <a:pt x="344708" y="20792"/>
                  </a:cubicBezTo>
                  <a:cubicBezTo>
                    <a:pt x="357408" y="20792"/>
                    <a:pt x="383443" y="22697"/>
                    <a:pt x="387253" y="38572"/>
                  </a:cubicBezTo>
                  <a:cubicBezTo>
                    <a:pt x="388523" y="43017"/>
                    <a:pt x="385983" y="48097"/>
                    <a:pt x="384713" y="51907"/>
                  </a:cubicBezTo>
                  <a:cubicBezTo>
                    <a:pt x="382808" y="56352"/>
                    <a:pt x="380268" y="60162"/>
                    <a:pt x="378363" y="64607"/>
                  </a:cubicBezTo>
                  <a:cubicBezTo>
                    <a:pt x="375188" y="70322"/>
                    <a:pt x="372013" y="75402"/>
                    <a:pt x="371378" y="81752"/>
                  </a:cubicBezTo>
                  <a:cubicBezTo>
                    <a:pt x="371378" y="84927"/>
                    <a:pt x="371378" y="87467"/>
                    <a:pt x="372648" y="90642"/>
                  </a:cubicBezTo>
                  <a:cubicBezTo>
                    <a:pt x="373283" y="91912"/>
                    <a:pt x="373918" y="93817"/>
                    <a:pt x="375188" y="95722"/>
                  </a:cubicBezTo>
                  <a:cubicBezTo>
                    <a:pt x="377728" y="91912"/>
                    <a:pt x="380268" y="88737"/>
                    <a:pt x="383443" y="84927"/>
                  </a:cubicBezTo>
                  <a:cubicBezTo>
                    <a:pt x="382808" y="83657"/>
                    <a:pt x="381538" y="81752"/>
                    <a:pt x="381538" y="81752"/>
                  </a:cubicBezTo>
                  <a:cubicBezTo>
                    <a:pt x="375823" y="71592"/>
                    <a:pt x="389158" y="58892"/>
                    <a:pt x="395508" y="52542"/>
                  </a:cubicBezTo>
                  <a:cubicBezTo>
                    <a:pt x="401223" y="46827"/>
                    <a:pt x="406938" y="41747"/>
                    <a:pt x="412018" y="36032"/>
                  </a:cubicBezTo>
                  <a:cubicBezTo>
                    <a:pt x="415828" y="31587"/>
                    <a:pt x="420273" y="26507"/>
                    <a:pt x="420273" y="20157"/>
                  </a:cubicBezTo>
                  <a:cubicBezTo>
                    <a:pt x="419638" y="13172"/>
                    <a:pt x="413288" y="10632"/>
                    <a:pt x="408208" y="8092"/>
                  </a:cubicBezTo>
                  <a:cubicBezTo>
                    <a:pt x="403128" y="5552"/>
                    <a:pt x="397413" y="4282"/>
                    <a:pt x="391698" y="3012"/>
                  </a:cubicBezTo>
                  <a:cubicBezTo>
                    <a:pt x="378998" y="472"/>
                    <a:pt x="366298" y="-798"/>
                    <a:pt x="353598" y="-163"/>
                  </a:cubicBezTo>
                  <a:cubicBezTo>
                    <a:pt x="342168" y="-163"/>
                    <a:pt x="330738" y="1107"/>
                    <a:pt x="318673" y="2377"/>
                  </a:cubicBezTo>
                  <a:cubicBezTo>
                    <a:pt x="304703" y="4282"/>
                    <a:pt x="290733" y="4917"/>
                    <a:pt x="276128" y="4917"/>
                  </a:cubicBezTo>
                  <a:cubicBezTo>
                    <a:pt x="262158" y="4917"/>
                    <a:pt x="248188" y="4282"/>
                    <a:pt x="234218" y="3012"/>
                  </a:cubicBezTo>
                  <a:cubicBezTo>
                    <a:pt x="232948" y="3012"/>
                    <a:pt x="231678" y="3012"/>
                    <a:pt x="229773" y="3012"/>
                  </a:cubicBezTo>
                  <a:cubicBezTo>
                    <a:pt x="220883" y="2377"/>
                    <a:pt x="211993" y="1742"/>
                    <a:pt x="202468" y="1107"/>
                  </a:cubicBezTo>
                  <a:cubicBezTo>
                    <a:pt x="188498" y="-163"/>
                    <a:pt x="144683" y="472"/>
                    <a:pt x="138333" y="1107"/>
                  </a:cubicBezTo>
                  <a:cubicBezTo>
                    <a:pt x="135793" y="1107"/>
                    <a:pt x="133253" y="1107"/>
                    <a:pt x="130078" y="1742"/>
                  </a:cubicBezTo>
                  <a:cubicBezTo>
                    <a:pt x="107853" y="3012"/>
                    <a:pt x="86263" y="5552"/>
                    <a:pt x="64038" y="4282"/>
                  </a:cubicBezTo>
                  <a:cubicBezTo>
                    <a:pt x="52608" y="3647"/>
                    <a:pt x="42448" y="3647"/>
                    <a:pt x="31018" y="2377"/>
                  </a:cubicBezTo>
                  <a:lnTo>
                    <a:pt x="13873" y="472"/>
                  </a:lnTo>
                  <a:cubicBezTo>
                    <a:pt x="12603" y="472"/>
                    <a:pt x="10698" y="472"/>
                    <a:pt x="9428" y="1107"/>
                  </a:cubicBezTo>
                  <a:cubicBezTo>
                    <a:pt x="8793" y="1107"/>
                    <a:pt x="8158" y="1107"/>
                    <a:pt x="7523" y="1742"/>
                  </a:cubicBezTo>
                  <a:cubicBezTo>
                    <a:pt x="5618" y="3012"/>
                    <a:pt x="-1367" y="9997"/>
                    <a:pt x="-97" y="10632"/>
                  </a:cubicBezTo>
                  <a:cubicBezTo>
                    <a:pt x="538" y="11267"/>
                    <a:pt x="21493" y="22062"/>
                    <a:pt x="22763" y="22062"/>
                  </a:cubicBezTo>
                  <a:cubicBezTo>
                    <a:pt x="29748" y="24602"/>
                    <a:pt x="31653" y="25872"/>
                    <a:pt x="39273" y="25872"/>
                  </a:cubicBezTo>
                </a:path>
              </a:pathLst>
            </a:custGeom>
            <a:solidFill>
              <a:srgbClr val="FFFFFF"/>
            </a:solidFill>
            <a:ln w="6350" cap="flat">
              <a:noFill/>
              <a:prstDash val="solid"/>
              <a:miter/>
            </a:ln>
          </p:spPr>
          <p:txBody>
            <a:bodyPr rtlCol="0" anchor="ctr"/>
            <a:lstStyle/>
            <a:p>
              <a:endParaRPr lang="en-GB"/>
            </a:p>
          </p:txBody>
        </p:sp>
        <p:sp>
          <p:nvSpPr>
            <p:cNvPr id="180" name="Freeform 179">
              <a:extLst>
                <a:ext uri="{FF2B5EF4-FFF2-40B4-BE49-F238E27FC236}">
                  <a16:creationId xmlns:a16="http://schemas.microsoft.com/office/drawing/2014/main" id="{47EE6420-A4E7-A3D1-5662-25F6FBAAE21D}"/>
                </a:ext>
              </a:extLst>
            </p:cNvPr>
            <p:cNvSpPr/>
            <p:nvPr/>
          </p:nvSpPr>
          <p:spPr>
            <a:xfrm>
              <a:off x="4584010" y="3188334"/>
              <a:ext cx="419480" cy="96520"/>
            </a:xfrm>
            <a:custGeom>
              <a:avLst/>
              <a:gdLst>
                <a:gd name="connsiteX0" fmla="*/ 411919 w 419480"/>
                <a:gd name="connsiteY0" fmla="*/ 1580 h 96520"/>
                <a:gd name="connsiteX1" fmla="*/ 410014 w 419480"/>
                <a:gd name="connsiteY1" fmla="*/ 945 h 96520"/>
                <a:gd name="connsiteX2" fmla="*/ 405569 w 419480"/>
                <a:gd name="connsiteY2" fmla="*/ 310 h 96520"/>
                <a:gd name="connsiteX3" fmla="*/ 388424 w 419480"/>
                <a:gd name="connsiteY3" fmla="*/ 2215 h 96520"/>
                <a:gd name="connsiteX4" fmla="*/ 355404 w 419480"/>
                <a:gd name="connsiteY4" fmla="*/ 4120 h 96520"/>
                <a:gd name="connsiteX5" fmla="*/ 289364 w 419480"/>
                <a:gd name="connsiteY5" fmla="*/ 1580 h 96520"/>
                <a:gd name="connsiteX6" fmla="*/ 281109 w 419480"/>
                <a:gd name="connsiteY6" fmla="*/ 945 h 96520"/>
                <a:gd name="connsiteX7" fmla="*/ 216974 w 419480"/>
                <a:gd name="connsiteY7" fmla="*/ 945 h 96520"/>
                <a:gd name="connsiteX8" fmla="*/ 189669 w 419480"/>
                <a:gd name="connsiteY8" fmla="*/ 2850 h 96520"/>
                <a:gd name="connsiteX9" fmla="*/ 185224 w 419480"/>
                <a:gd name="connsiteY9" fmla="*/ 2850 h 96520"/>
                <a:gd name="connsiteX10" fmla="*/ 143314 w 419480"/>
                <a:gd name="connsiteY10" fmla="*/ 4755 h 96520"/>
                <a:gd name="connsiteX11" fmla="*/ 100769 w 419480"/>
                <a:gd name="connsiteY11" fmla="*/ 2215 h 96520"/>
                <a:gd name="connsiteX12" fmla="*/ 65844 w 419480"/>
                <a:gd name="connsiteY12" fmla="*/ -325 h 96520"/>
                <a:gd name="connsiteX13" fmla="*/ 27744 w 419480"/>
                <a:gd name="connsiteY13" fmla="*/ 2850 h 96520"/>
                <a:gd name="connsiteX14" fmla="*/ 15679 w 419480"/>
                <a:gd name="connsiteY14" fmla="*/ 6025 h 96520"/>
                <a:gd name="connsiteX15" fmla="*/ 15044 w 419480"/>
                <a:gd name="connsiteY15" fmla="*/ 6660 h 96520"/>
                <a:gd name="connsiteX16" fmla="*/ 12504 w 419480"/>
                <a:gd name="connsiteY16" fmla="*/ 7930 h 96520"/>
                <a:gd name="connsiteX17" fmla="*/ 12504 w 419480"/>
                <a:gd name="connsiteY17" fmla="*/ 7930 h 96520"/>
                <a:gd name="connsiteX18" fmla="*/ 11869 w 419480"/>
                <a:gd name="connsiteY18" fmla="*/ 8565 h 96520"/>
                <a:gd name="connsiteX19" fmla="*/ -196 w 419480"/>
                <a:gd name="connsiteY19" fmla="*/ 20630 h 96520"/>
                <a:gd name="connsiteX20" fmla="*/ 8059 w 419480"/>
                <a:gd name="connsiteY20" fmla="*/ 36505 h 96520"/>
                <a:gd name="connsiteX21" fmla="*/ 24569 w 419480"/>
                <a:gd name="connsiteY21" fmla="*/ 53015 h 96520"/>
                <a:gd name="connsiteX22" fmla="*/ 38539 w 419480"/>
                <a:gd name="connsiteY22" fmla="*/ 82225 h 96520"/>
                <a:gd name="connsiteX23" fmla="*/ 35999 w 419480"/>
                <a:gd name="connsiteY23" fmla="*/ 85400 h 96520"/>
                <a:gd name="connsiteX24" fmla="*/ 44254 w 419480"/>
                <a:gd name="connsiteY24" fmla="*/ 96195 h 96520"/>
                <a:gd name="connsiteX25" fmla="*/ 46794 w 419480"/>
                <a:gd name="connsiteY25" fmla="*/ 90480 h 96520"/>
                <a:gd name="connsiteX26" fmla="*/ 48064 w 419480"/>
                <a:gd name="connsiteY26" fmla="*/ 81590 h 96520"/>
                <a:gd name="connsiteX27" fmla="*/ 41079 w 419480"/>
                <a:gd name="connsiteY27" fmla="*/ 64445 h 96520"/>
                <a:gd name="connsiteX28" fmla="*/ 34729 w 419480"/>
                <a:gd name="connsiteY28" fmla="*/ 51745 h 96520"/>
                <a:gd name="connsiteX29" fmla="*/ 32189 w 419480"/>
                <a:gd name="connsiteY29" fmla="*/ 38410 h 96520"/>
                <a:gd name="connsiteX30" fmla="*/ 74734 w 419480"/>
                <a:gd name="connsiteY30" fmla="*/ 20630 h 96520"/>
                <a:gd name="connsiteX31" fmla="*/ 86799 w 419480"/>
                <a:gd name="connsiteY31" fmla="*/ 20630 h 96520"/>
                <a:gd name="connsiteX32" fmla="*/ 96959 w 419480"/>
                <a:gd name="connsiteY32" fmla="*/ 20630 h 96520"/>
                <a:gd name="connsiteX33" fmla="*/ 97594 w 419480"/>
                <a:gd name="connsiteY33" fmla="*/ 20630 h 96520"/>
                <a:gd name="connsiteX34" fmla="*/ 109659 w 419480"/>
                <a:gd name="connsiteY34" fmla="*/ 20630 h 96520"/>
                <a:gd name="connsiteX35" fmla="*/ 119819 w 419480"/>
                <a:gd name="connsiteY35" fmla="*/ 20630 h 96520"/>
                <a:gd name="connsiteX36" fmla="*/ 129979 w 419480"/>
                <a:gd name="connsiteY36" fmla="*/ 20630 h 96520"/>
                <a:gd name="connsiteX37" fmla="*/ 130614 w 419480"/>
                <a:gd name="connsiteY37" fmla="*/ 20630 h 96520"/>
                <a:gd name="connsiteX38" fmla="*/ 183954 w 419480"/>
                <a:gd name="connsiteY38" fmla="*/ 16820 h 96520"/>
                <a:gd name="connsiteX39" fmla="*/ 184589 w 419480"/>
                <a:gd name="connsiteY39" fmla="*/ 16820 h 96520"/>
                <a:gd name="connsiteX40" fmla="*/ 187129 w 419480"/>
                <a:gd name="connsiteY40" fmla="*/ 16820 h 96520"/>
                <a:gd name="connsiteX41" fmla="*/ 187129 w 419480"/>
                <a:gd name="connsiteY41" fmla="*/ 16820 h 96520"/>
                <a:gd name="connsiteX42" fmla="*/ 258884 w 419480"/>
                <a:gd name="connsiteY42" fmla="*/ 10470 h 96520"/>
                <a:gd name="connsiteX43" fmla="*/ 261424 w 419480"/>
                <a:gd name="connsiteY43" fmla="*/ 10470 h 96520"/>
                <a:gd name="connsiteX44" fmla="*/ 314129 w 419480"/>
                <a:gd name="connsiteY44" fmla="*/ 12375 h 96520"/>
                <a:gd name="connsiteX45" fmla="*/ 317939 w 419480"/>
                <a:gd name="connsiteY45" fmla="*/ 13010 h 96520"/>
                <a:gd name="connsiteX46" fmla="*/ 307779 w 419480"/>
                <a:gd name="connsiteY46" fmla="*/ 16820 h 96520"/>
                <a:gd name="connsiteX47" fmla="*/ 238564 w 419480"/>
                <a:gd name="connsiteY47" fmla="*/ 17455 h 96520"/>
                <a:gd name="connsiteX48" fmla="*/ 180144 w 419480"/>
                <a:gd name="connsiteY48" fmla="*/ 25710 h 96520"/>
                <a:gd name="connsiteX49" fmla="*/ 176334 w 419480"/>
                <a:gd name="connsiteY49" fmla="*/ 26345 h 96520"/>
                <a:gd name="connsiteX50" fmla="*/ 175064 w 419480"/>
                <a:gd name="connsiteY50" fmla="*/ 26980 h 96520"/>
                <a:gd name="connsiteX51" fmla="*/ 173794 w 419480"/>
                <a:gd name="connsiteY51" fmla="*/ 28885 h 96520"/>
                <a:gd name="connsiteX52" fmla="*/ 248089 w 419480"/>
                <a:gd name="connsiteY52" fmla="*/ 26980 h 96520"/>
                <a:gd name="connsiteX53" fmla="*/ 380169 w 419480"/>
                <a:gd name="connsiteY53" fmla="*/ 25710 h 96520"/>
                <a:gd name="connsiteX54" fmla="*/ 396044 w 419480"/>
                <a:gd name="connsiteY54" fmla="*/ 21265 h 96520"/>
                <a:gd name="connsiteX55" fmla="*/ 418904 w 419480"/>
                <a:gd name="connsiteY55" fmla="*/ 9835 h 96520"/>
                <a:gd name="connsiteX56" fmla="*/ 411919 w 419480"/>
                <a:gd name="connsiteY56" fmla="*/ 1580 h 9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19480" h="96520">
                  <a:moveTo>
                    <a:pt x="411919" y="1580"/>
                  </a:moveTo>
                  <a:cubicBezTo>
                    <a:pt x="411284" y="1580"/>
                    <a:pt x="410649" y="945"/>
                    <a:pt x="410014" y="945"/>
                  </a:cubicBezTo>
                  <a:cubicBezTo>
                    <a:pt x="408744" y="945"/>
                    <a:pt x="407474" y="310"/>
                    <a:pt x="405569" y="310"/>
                  </a:cubicBezTo>
                  <a:lnTo>
                    <a:pt x="388424" y="2215"/>
                  </a:lnTo>
                  <a:cubicBezTo>
                    <a:pt x="376994" y="2850"/>
                    <a:pt x="366834" y="3485"/>
                    <a:pt x="355404" y="4120"/>
                  </a:cubicBezTo>
                  <a:cubicBezTo>
                    <a:pt x="333179" y="5390"/>
                    <a:pt x="311589" y="2850"/>
                    <a:pt x="289364" y="1580"/>
                  </a:cubicBezTo>
                  <a:cubicBezTo>
                    <a:pt x="286824" y="1580"/>
                    <a:pt x="284284" y="1580"/>
                    <a:pt x="281109" y="945"/>
                  </a:cubicBezTo>
                  <a:cubicBezTo>
                    <a:pt x="274759" y="310"/>
                    <a:pt x="231579" y="310"/>
                    <a:pt x="216974" y="945"/>
                  </a:cubicBezTo>
                  <a:cubicBezTo>
                    <a:pt x="207449" y="1580"/>
                    <a:pt x="198559" y="2215"/>
                    <a:pt x="189669" y="2850"/>
                  </a:cubicBezTo>
                  <a:cubicBezTo>
                    <a:pt x="188399" y="2850"/>
                    <a:pt x="187129" y="2850"/>
                    <a:pt x="185224" y="2850"/>
                  </a:cubicBezTo>
                  <a:cubicBezTo>
                    <a:pt x="171254" y="3485"/>
                    <a:pt x="157284" y="4120"/>
                    <a:pt x="143314" y="4755"/>
                  </a:cubicBezTo>
                  <a:cubicBezTo>
                    <a:pt x="129344" y="4755"/>
                    <a:pt x="114739" y="4120"/>
                    <a:pt x="100769" y="2215"/>
                  </a:cubicBezTo>
                  <a:cubicBezTo>
                    <a:pt x="89339" y="945"/>
                    <a:pt x="77909" y="-325"/>
                    <a:pt x="65844" y="-325"/>
                  </a:cubicBezTo>
                  <a:cubicBezTo>
                    <a:pt x="53144" y="-325"/>
                    <a:pt x="40444" y="310"/>
                    <a:pt x="27744" y="2850"/>
                  </a:cubicBezTo>
                  <a:cubicBezTo>
                    <a:pt x="23934" y="3485"/>
                    <a:pt x="19489" y="4755"/>
                    <a:pt x="15679" y="6025"/>
                  </a:cubicBezTo>
                  <a:cubicBezTo>
                    <a:pt x="15679" y="6025"/>
                    <a:pt x="15044" y="6025"/>
                    <a:pt x="15044" y="6660"/>
                  </a:cubicBezTo>
                  <a:cubicBezTo>
                    <a:pt x="14409" y="7295"/>
                    <a:pt x="13139" y="7295"/>
                    <a:pt x="12504" y="7930"/>
                  </a:cubicBezTo>
                  <a:lnTo>
                    <a:pt x="12504" y="7930"/>
                  </a:lnTo>
                  <a:cubicBezTo>
                    <a:pt x="12504" y="7930"/>
                    <a:pt x="11869" y="7930"/>
                    <a:pt x="11869" y="8565"/>
                  </a:cubicBezTo>
                  <a:cubicBezTo>
                    <a:pt x="6789" y="11105"/>
                    <a:pt x="-196" y="14280"/>
                    <a:pt x="-196" y="20630"/>
                  </a:cubicBezTo>
                  <a:cubicBezTo>
                    <a:pt x="-831" y="26980"/>
                    <a:pt x="4249" y="32060"/>
                    <a:pt x="8059" y="36505"/>
                  </a:cubicBezTo>
                  <a:cubicBezTo>
                    <a:pt x="13139" y="42220"/>
                    <a:pt x="19489" y="47300"/>
                    <a:pt x="24569" y="53015"/>
                  </a:cubicBezTo>
                  <a:cubicBezTo>
                    <a:pt x="30919" y="59365"/>
                    <a:pt x="43619" y="72065"/>
                    <a:pt x="38539" y="82225"/>
                  </a:cubicBezTo>
                  <a:cubicBezTo>
                    <a:pt x="38539" y="82225"/>
                    <a:pt x="36634" y="84765"/>
                    <a:pt x="35999" y="85400"/>
                  </a:cubicBezTo>
                  <a:cubicBezTo>
                    <a:pt x="39174" y="88575"/>
                    <a:pt x="41714" y="92385"/>
                    <a:pt x="44254" y="96195"/>
                  </a:cubicBezTo>
                  <a:cubicBezTo>
                    <a:pt x="44889" y="94290"/>
                    <a:pt x="46159" y="92385"/>
                    <a:pt x="46794" y="90480"/>
                  </a:cubicBezTo>
                  <a:cubicBezTo>
                    <a:pt x="48064" y="87305"/>
                    <a:pt x="48699" y="84765"/>
                    <a:pt x="48064" y="81590"/>
                  </a:cubicBezTo>
                  <a:cubicBezTo>
                    <a:pt x="46794" y="75240"/>
                    <a:pt x="43619" y="70160"/>
                    <a:pt x="41079" y="64445"/>
                  </a:cubicBezTo>
                  <a:cubicBezTo>
                    <a:pt x="38539" y="60000"/>
                    <a:pt x="36634" y="56190"/>
                    <a:pt x="34729" y="51745"/>
                  </a:cubicBezTo>
                  <a:cubicBezTo>
                    <a:pt x="32824" y="47935"/>
                    <a:pt x="30919" y="42855"/>
                    <a:pt x="32189" y="38410"/>
                  </a:cubicBezTo>
                  <a:cubicBezTo>
                    <a:pt x="35999" y="21900"/>
                    <a:pt x="62034" y="20630"/>
                    <a:pt x="74734" y="20630"/>
                  </a:cubicBezTo>
                  <a:cubicBezTo>
                    <a:pt x="78544" y="20630"/>
                    <a:pt x="82989" y="20630"/>
                    <a:pt x="86799" y="20630"/>
                  </a:cubicBezTo>
                  <a:cubicBezTo>
                    <a:pt x="89974" y="20630"/>
                    <a:pt x="93149" y="20630"/>
                    <a:pt x="96959" y="20630"/>
                  </a:cubicBezTo>
                  <a:cubicBezTo>
                    <a:pt x="96959" y="20630"/>
                    <a:pt x="97594" y="20630"/>
                    <a:pt x="97594" y="20630"/>
                  </a:cubicBezTo>
                  <a:cubicBezTo>
                    <a:pt x="101404" y="20630"/>
                    <a:pt x="105849" y="20630"/>
                    <a:pt x="109659" y="20630"/>
                  </a:cubicBezTo>
                  <a:cubicBezTo>
                    <a:pt x="112834" y="20630"/>
                    <a:pt x="116644" y="20630"/>
                    <a:pt x="119819" y="20630"/>
                  </a:cubicBezTo>
                  <a:cubicBezTo>
                    <a:pt x="122994" y="20630"/>
                    <a:pt x="126804" y="20630"/>
                    <a:pt x="129979" y="20630"/>
                  </a:cubicBezTo>
                  <a:cubicBezTo>
                    <a:pt x="129979" y="20630"/>
                    <a:pt x="130614" y="20630"/>
                    <a:pt x="130614" y="20630"/>
                  </a:cubicBezTo>
                  <a:cubicBezTo>
                    <a:pt x="138869" y="20630"/>
                    <a:pt x="174429" y="17455"/>
                    <a:pt x="183954" y="16820"/>
                  </a:cubicBezTo>
                  <a:cubicBezTo>
                    <a:pt x="183954" y="16820"/>
                    <a:pt x="184589" y="16820"/>
                    <a:pt x="184589" y="16820"/>
                  </a:cubicBezTo>
                  <a:cubicBezTo>
                    <a:pt x="185859" y="16820"/>
                    <a:pt x="187129" y="16820"/>
                    <a:pt x="187129" y="16820"/>
                  </a:cubicBezTo>
                  <a:cubicBezTo>
                    <a:pt x="187129" y="16820"/>
                    <a:pt x="187129" y="16820"/>
                    <a:pt x="187129" y="16820"/>
                  </a:cubicBezTo>
                  <a:cubicBezTo>
                    <a:pt x="211259" y="14280"/>
                    <a:pt x="234754" y="11105"/>
                    <a:pt x="258884" y="10470"/>
                  </a:cubicBezTo>
                  <a:cubicBezTo>
                    <a:pt x="259519" y="10470"/>
                    <a:pt x="260154" y="10470"/>
                    <a:pt x="261424" y="10470"/>
                  </a:cubicBezTo>
                  <a:cubicBezTo>
                    <a:pt x="279204" y="10470"/>
                    <a:pt x="296984" y="10470"/>
                    <a:pt x="314129" y="12375"/>
                  </a:cubicBezTo>
                  <a:cubicBezTo>
                    <a:pt x="315399" y="12375"/>
                    <a:pt x="316669" y="12375"/>
                    <a:pt x="317939" y="13010"/>
                  </a:cubicBezTo>
                  <a:cubicBezTo>
                    <a:pt x="316034" y="16820"/>
                    <a:pt x="311589" y="16820"/>
                    <a:pt x="307779" y="16820"/>
                  </a:cubicBezTo>
                  <a:cubicBezTo>
                    <a:pt x="302699" y="16820"/>
                    <a:pt x="256344" y="16185"/>
                    <a:pt x="238564" y="17455"/>
                  </a:cubicBezTo>
                  <a:cubicBezTo>
                    <a:pt x="218879" y="19360"/>
                    <a:pt x="199829" y="21900"/>
                    <a:pt x="180144" y="25710"/>
                  </a:cubicBezTo>
                  <a:cubicBezTo>
                    <a:pt x="178874" y="25710"/>
                    <a:pt x="177604" y="26345"/>
                    <a:pt x="176334" y="26345"/>
                  </a:cubicBezTo>
                  <a:cubicBezTo>
                    <a:pt x="175699" y="26345"/>
                    <a:pt x="175699" y="26345"/>
                    <a:pt x="175064" y="26980"/>
                  </a:cubicBezTo>
                  <a:cubicBezTo>
                    <a:pt x="174429" y="27615"/>
                    <a:pt x="173159" y="28250"/>
                    <a:pt x="173794" y="28885"/>
                  </a:cubicBezTo>
                  <a:cubicBezTo>
                    <a:pt x="173794" y="30790"/>
                    <a:pt x="211894" y="28250"/>
                    <a:pt x="248089" y="26980"/>
                  </a:cubicBezTo>
                  <a:cubicBezTo>
                    <a:pt x="284284" y="26345"/>
                    <a:pt x="355404" y="25710"/>
                    <a:pt x="380169" y="25710"/>
                  </a:cubicBezTo>
                  <a:cubicBezTo>
                    <a:pt x="387154" y="25710"/>
                    <a:pt x="389694" y="23805"/>
                    <a:pt x="396044" y="21265"/>
                  </a:cubicBezTo>
                  <a:cubicBezTo>
                    <a:pt x="397314" y="20630"/>
                    <a:pt x="417634" y="10470"/>
                    <a:pt x="418904" y="9835"/>
                  </a:cubicBezTo>
                  <a:cubicBezTo>
                    <a:pt x="420809" y="9835"/>
                    <a:pt x="413824" y="2850"/>
                    <a:pt x="411919" y="1580"/>
                  </a:cubicBezTo>
                </a:path>
              </a:pathLst>
            </a:custGeom>
            <a:solidFill>
              <a:srgbClr val="FFFFFF"/>
            </a:solidFill>
            <a:ln w="6350" cap="flat">
              <a:noFill/>
              <a:prstDash val="solid"/>
              <a:miter/>
            </a:ln>
          </p:spPr>
          <p:txBody>
            <a:bodyPr rtlCol="0" anchor="ctr"/>
            <a:lstStyle/>
            <a:p>
              <a:endParaRPr lang="en-GB"/>
            </a:p>
          </p:txBody>
        </p:sp>
      </p:grpSp>
      <p:grpSp>
        <p:nvGrpSpPr>
          <p:cNvPr id="241" name="Graphic 79">
            <a:extLst>
              <a:ext uri="{FF2B5EF4-FFF2-40B4-BE49-F238E27FC236}">
                <a16:creationId xmlns:a16="http://schemas.microsoft.com/office/drawing/2014/main" id="{D9D18FEC-07C7-9264-1D29-AF12EA856392}"/>
              </a:ext>
            </a:extLst>
          </p:cNvPr>
          <p:cNvGrpSpPr/>
          <p:nvPr/>
        </p:nvGrpSpPr>
        <p:grpSpPr>
          <a:xfrm>
            <a:off x="7022464" y="4538344"/>
            <a:ext cx="1321435" cy="156844"/>
            <a:chOff x="7022464" y="4538344"/>
            <a:chExt cx="1321435" cy="156844"/>
          </a:xfrm>
          <a:solidFill>
            <a:srgbClr val="002733"/>
          </a:solidFill>
        </p:grpSpPr>
        <p:sp>
          <p:nvSpPr>
            <p:cNvPr id="242" name="Freeform 241">
              <a:extLst>
                <a:ext uri="{FF2B5EF4-FFF2-40B4-BE49-F238E27FC236}">
                  <a16:creationId xmlns:a16="http://schemas.microsoft.com/office/drawing/2014/main" id="{620C5DAD-5616-8A74-2DB3-FA422AB51AE9}"/>
                </a:ext>
              </a:extLst>
            </p:cNvPr>
            <p:cNvSpPr/>
            <p:nvPr/>
          </p:nvSpPr>
          <p:spPr>
            <a:xfrm>
              <a:off x="8241664" y="4540250"/>
              <a:ext cx="102235" cy="152400"/>
            </a:xfrm>
            <a:custGeom>
              <a:avLst/>
              <a:gdLst>
                <a:gd name="connsiteX0" fmla="*/ 25783 w 102235"/>
                <a:gd name="connsiteY0" fmla="*/ -1575 h 152400"/>
                <a:gd name="connsiteX1" fmla="*/ 25783 w 102235"/>
                <a:gd name="connsiteY1" fmla="*/ -1575 h 152400"/>
                <a:gd name="connsiteX2" fmla="*/ -2158 w 102235"/>
                <a:gd name="connsiteY2" fmla="*/ -1575 h 152400"/>
                <a:gd name="connsiteX3" fmla="*/ -2158 w 102235"/>
                <a:gd name="connsiteY3" fmla="*/ 7950 h 152400"/>
                <a:gd name="connsiteX4" fmla="*/ 25783 w 102235"/>
                <a:gd name="connsiteY4" fmla="*/ 7950 h 152400"/>
                <a:gd name="connsiteX5" fmla="*/ 91188 w 102235"/>
                <a:gd name="connsiteY5" fmla="*/ 74625 h 152400"/>
                <a:gd name="connsiteX6" fmla="*/ 25783 w 102235"/>
                <a:gd name="connsiteY6" fmla="*/ 141300 h 152400"/>
                <a:gd name="connsiteX7" fmla="*/ -2158 w 102235"/>
                <a:gd name="connsiteY7" fmla="*/ 141300 h 152400"/>
                <a:gd name="connsiteX8" fmla="*/ -2158 w 102235"/>
                <a:gd name="connsiteY8" fmla="*/ 150825 h 152400"/>
                <a:gd name="connsiteX9" fmla="*/ 25783 w 102235"/>
                <a:gd name="connsiteY9" fmla="*/ 150825 h 152400"/>
                <a:gd name="connsiteX10" fmla="*/ 100078 w 102235"/>
                <a:gd name="connsiteY10" fmla="*/ 74625 h 152400"/>
                <a:gd name="connsiteX11" fmla="*/ 25783 w 102235"/>
                <a:gd name="connsiteY11"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5" h="152400">
                  <a:moveTo>
                    <a:pt x="25783" y="-1575"/>
                  </a:moveTo>
                  <a:lnTo>
                    <a:pt x="25783" y="-1575"/>
                  </a:lnTo>
                  <a:lnTo>
                    <a:pt x="-2158" y="-1575"/>
                  </a:lnTo>
                  <a:lnTo>
                    <a:pt x="-2158" y="7950"/>
                  </a:lnTo>
                  <a:lnTo>
                    <a:pt x="25783" y="7950"/>
                  </a:lnTo>
                  <a:cubicBezTo>
                    <a:pt x="61978" y="7950"/>
                    <a:pt x="91188" y="37795"/>
                    <a:pt x="91188" y="74625"/>
                  </a:cubicBezTo>
                  <a:cubicBezTo>
                    <a:pt x="91188" y="111455"/>
                    <a:pt x="61978" y="141300"/>
                    <a:pt x="25783" y="141300"/>
                  </a:cubicBezTo>
                  <a:lnTo>
                    <a:pt x="-2158" y="141300"/>
                  </a:lnTo>
                  <a:lnTo>
                    <a:pt x="-2158" y="150825"/>
                  </a:lnTo>
                  <a:lnTo>
                    <a:pt x="25783" y="150825"/>
                  </a:lnTo>
                  <a:cubicBezTo>
                    <a:pt x="67058" y="150825"/>
                    <a:pt x="100078" y="116536"/>
                    <a:pt x="100078" y="74625"/>
                  </a:cubicBezTo>
                  <a:cubicBezTo>
                    <a:pt x="100078" y="32714"/>
                    <a:pt x="67058" y="-1575"/>
                    <a:pt x="25783" y="-1575"/>
                  </a:cubicBezTo>
                  <a:close/>
                </a:path>
              </a:pathLst>
            </a:custGeom>
            <a:solidFill>
              <a:srgbClr val="002733"/>
            </a:solidFill>
            <a:ln w="6350" cap="flat">
              <a:noFill/>
              <a:prstDash val="solid"/>
              <a:miter/>
            </a:ln>
          </p:spPr>
          <p:txBody>
            <a:bodyPr rtlCol="0" anchor="ctr"/>
            <a:lstStyle/>
            <a:p>
              <a:endParaRPr lang="en-GB"/>
            </a:p>
          </p:txBody>
        </p:sp>
        <p:sp>
          <p:nvSpPr>
            <p:cNvPr id="243" name="Freeform 242">
              <a:extLst>
                <a:ext uri="{FF2B5EF4-FFF2-40B4-BE49-F238E27FC236}">
                  <a16:creationId xmlns:a16="http://schemas.microsoft.com/office/drawing/2014/main" id="{3769DD16-C1CA-8D17-94BC-BBEE90DAFCDB}"/>
                </a:ext>
              </a:extLst>
            </p:cNvPr>
            <p:cNvSpPr/>
            <p:nvPr/>
          </p:nvSpPr>
          <p:spPr>
            <a:xfrm>
              <a:off x="8221980"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002733"/>
            </a:solidFill>
            <a:ln w="6350" cap="flat">
              <a:noFill/>
              <a:prstDash val="solid"/>
              <a:miter/>
            </a:ln>
          </p:spPr>
          <p:txBody>
            <a:bodyPr rtlCol="0" anchor="ctr"/>
            <a:lstStyle/>
            <a:p>
              <a:endParaRPr lang="en-GB"/>
            </a:p>
          </p:txBody>
        </p:sp>
        <p:sp>
          <p:nvSpPr>
            <p:cNvPr id="244" name="Freeform 243">
              <a:extLst>
                <a:ext uri="{FF2B5EF4-FFF2-40B4-BE49-F238E27FC236}">
                  <a16:creationId xmlns:a16="http://schemas.microsoft.com/office/drawing/2014/main" id="{B936175B-F74C-1579-7830-7F1525504529}"/>
                </a:ext>
              </a:extLst>
            </p:cNvPr>
            <p:cNvSpPr/>
            <p:nvPr/>
          </p:nvSpPr>
          <p:spPr>
            <a:xfrm>
              <a:off x="7982585" y="4640580"/>
              <a:ext cx="59053" cy="8889"/>
            </a:xfrm>
            <a:custGeom>
              <a:avLst/>
              <a:gdLst>
                <a:gd name="connsiteX0" fmla="*/ -2158 w 59053"/>
                <a:gd name="connsiteY0" fmla="*/ -1575 h 8889"/>
                <a:gd name="connsiteX1" fmla="*/ -2158 w 59053"/>
                <a:gd name="connsiteY1" fmla="*/ -1575 h 8889"/>
                <a:gd name="connsiteX2" fmla="*/ 56896 w 59053"/>
                <a:gd name="connsiteY2" fmla="*/ -1575 h 8889"/>
                <a:gd name="connsiteX3" fmla="*/ 56896 w 59053"/>
                <a:gd name="connsiteY3" fmla="*/ 7314 h 8889"/>
                <a:gd name="connsiteX4" fmla="*/ -2158 w 59053"/>
                <a:gd name="connsiteY4" fmla="*/ 7314 h 8889"/>
                <a:gd name="connsiteX5" fmla="*/ -2158 w 59053"/>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3" h="8889">
                  <a:moveTo>
                    <a:pt x="-2158" y="-1575"/>
                  </a:moveTo>
                  <a:lnTo>
                    <a:pt x="-2158" y="-1575"/>
                  </a:lnTo>
                  <a:lnTo>
                    <a:pt x="56896" y="-1575"/>
                  </a:lnTo>
                  <a:lnTo>
                    <a:pt x="56896" y="7314"/>
                  </a:lnTo>
                  <a:lnTo>
                    <a:pt x="-2158" y="7314"/>
                  </a:lnTo>
                  <a:lnTo>
                    <a:pt x="-2158" y="-1575"/>
                  </a:lnTo>
                  <a:close/>
                </a:path>
              </a:pathLst>
            </a:custGeom>
            <a:solidFill>
              <a:srgbClr val="002733"/>
            </a:solidFill>
            <a:ln w="6350" cap="flat">
              <a:noFill/>
              <a:prstDash val="solid"/>
              <a:miter/>
            </a:ln>
          </p:spPr>
          <p:txBody>
            <a:bodyPr rtlCol="0" anchor="ctr"/>
            <a:lstStyle/>
            <a:p>
              <a:endParaRPr lang="en-GB"/>
            </a:p>
          </p:txBody>
        </p:sp>
        <p:sp>
          <p:nvSpPr>
            <p:cNvPr id="245" name="Freeform 244">
              <a:extLst>
                <a:ext uri="{FF2B5EF4-FFF2-40B4-BE49-F238E27FC236}">
                  <a16:creationId xmlns:a16="http://schemas.microsoft.com/office/drawing/2014/main" id="{ABCD7668-9B79-366A-F72E-66A7EA546CFC}"/>
                </a:ext>
              </a:extLst>
            </p:cNvPr>
            <p:cNvSpPr/>
            <p:nvPr/>
          </p:nvSpPr>
          <p:spPr>
            <a:xfrm>
              <a:off x="7945755" y="4540250"/>
              <a:ext cx="135255" cy="152400"/>
            </a:xfrm>
            <a:custGeom>
              <a:avLst/>
              <a:gdLst>
                <a:gd name="connsiteX0" fmla="*/ 69597 w 135255"/>
                <a:gd name="connsiteY0" fmla="*/ -1575 h 152400"/>
                <a:gd name="connsiteX1" fmla="*/ 69597 w 135255"/>
                <a:gd name="connsiteY1" fmla="*/ -1575 h 152400"/>
                <a:gd name="connsiteX2" fmla="*/ 69597 w 135255"/>
                <a:gd name="connsiteY2" fmla="*/ -1575 h 152400"/>
                <a:gd name="connsiteX3" fmla="*/ 60706 w 135255"/>
                <a:gd name="connsiteY3" fmla="*/ -1575 h 152400"/>
                <a:gd name="connsiteX4" fmla="*/ 60706 w 135255"/>
                <a:gd name="connsiteY4" fmla="*/ -1575 h 152400"/>
                <a:gd name="connsiteX5" fmla="*/ 60706 w 135255"/>
                <a:gd name="connsiteY5" fmla="*/ -1575 h 152400"/>
                <a:gd name="connsiteX6" fmla="*/ -2158 w 135255"/>
                <a:gd name="connsiteY6" fmla="*/ 147014 h 152400"/>
                <a:gd name="connsiteX7" fmla="*/ 6097 w 135255"/>
                <a:gd name="connsiteY7" fmla="*/ 150825 h 152400"/>
                <a:gd name="connsiteX8" fmla="*/ 65151 w 135255"/>
                <a:gd name="connsiteY8" fmla="*/ 9855 h 152400"/>
                <a:gd name="connsiteX9" fmla="*/ 124842 w 135255"/>
                <a:gd name="connsiteY9" fmla="*/ 150825 h 152400"/>
                <a:gd name="connsiteX10" fmla="*/ 133097 w 135255"/>
                <a:gd name="connsiteY10" fmla="*/ 147014 h 152400"/>
                <a:gd name="connsiteX11" fmla="*/ 69597 w 135255"/>
                <a:gd name="connsiteY11" fmla="*/ -1575 h 152400"/>
                <a:gd name="connsiteX12" fmla="*/ 69597 w 135255"/>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5" h="152400">
                  <a:moveTo>
                    <a:pt x="69597" y="-1575"/>
                  </a:moveTo>
                  <a:lnTo>
                    <a:pt x="69597" y="-1575"/>
                  </a:lnTo>
                  <a:lnTo>
                    <a:pt x="69597" y="-1575"/>
                  </a:lnTo>
                  <a:lnTo>
                    <a:pt x="60706" y="-1575"/>
                  </a:lnTo>
                  <a:lnTo>
                    <a:pt x="60706" y="-1575"/>
                  </a:lnTo>
                  <a:lnTo>
                    <a:pt x="60706" y="-1575"/>
                  </a:lnTo>
                  <a:lnTo>
                    <a:pt x="-2158" y="147014"/>
                  </a:lnTo>
                  <a:lnTo>
                    <a:pt x="6097" y="150825"/>
                  </a:lnTo>
                  <a:lnTo>
                    <a:pt x="65151" y="9855"/>
                  </a:lnTo>
                  <a:lnTo>
                    <a:pt x="124842" y="150825"/>
                  </a:lnTo>
                  <a:lnTo>
                    <a:pt x="133097" y="147014"/>
                  </a:lnTo>
                  <a:lnTo>
                    <a:pt x="69597" y="-1575"/>
                  </a:lnTo>
                  <a:lnTo>
                    <a:pt x="69597" y="-1575"/>
                  </a:lnTo>
                  <a:close/>
                </a:path>
              </a:pathLst>
            </a:custGeom>
            <a:solidFill>
              <a:srgbClr val="002733"/>
            </a:solidFill>
            <a:ln w="6350" cap="flat">
              <a:noFill/>
              <a:prstDash val="solid"/>
              <a:miter/>
            </a:ln>
          </p:spPr>
          <p:txBody>
            <a:bodyPr rtlCol="0" anchor="ctr"/>
            <a:lstStyle/>
            <a:p>
              <a:endParaRPr lang="en-GB"/>
            </a:p>
          </p:txBody>
        </p:sp>
        <p:sp>
          <p:nvSpPr>
            <p:cNvPr id="246" name="Freeform 245">
              <a:extLst>
                <a:ext uri="{FF2B5EF4-FFF2-40B4-BE49-F238E27FC236}">
                  <a16:creationId xmlns:a16="http://schemas.microsoft.com/office/drawing/2014/main" id="{ADED7562-CC88-D35F-BBCD-287C6A6966ED}"/>
                </a:ext>
              </a:extLst>
            </p:cNvPr>
            <p:cNvSpPr/>
            <p:nvPr/>
          </p:nvSpPr>
          <p:spPr>
            <a:xfrm>
              <a:off x="7795260"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002733"/>
            </a:solidFill>
            <a:ln w="6350" cap="flat">
              <a:noFill/>
              <a:prstDash val="solid"/>
              <a:miter/>
            </a:ln>
          </p:spPr>
          <p:txBody>
            <a:bodyPr rtlCol="0" anchor="ctr"/>
            <a:lstStyle/>
            <a:p>
              <a:endParaRPr lang="en-GB"/>
            </a:p>
          </p:txBody>
        </p:sp>
        <p:sp>
          <p:nvSpPr>
            <p:cNvPr id="247" name="Freeform 246">
              <a:extLst>
                <a:ext uri="{FF2B5EF4-FFF2-40B4-BE49-F238E27FC236}">
                  <a16:creationId xmlns:a16="http://schemas.microsoft.com/office/drawing/2014/main" id="{C8802EBC-2D0E-ACA3-B106-E3702A41AB04}"/>
                </a:ext>
              </a:extLst>
            </p:cNvPr>
            <p:cNvSpPr/>
            <p:nvPr/>
          </p:nvSpPr>
          <p:spPr>
            <a:xfrm>
              <a:off x="7608569" y="4625339"/>
              <a:ext cx="43815" cy="67310"/>
            </a:xfrm>
            <a:custGeom>
              <a:avLst/>
              <a:gdLst>
                <a:gd name="connsiteX0" fmla="*/ -2158 w 43815"/>
                <a:gd name="connsiteY0" fmla="*/ 2871 h 67310"/>
                <a:gd name="connsiteX1" fmla="*/ -2158 w 43815"/>
                <a:gd name="connsiteY1" fmla="*/ 2871 h 67310"/>
                <a:gd name="connsiteX2" fmla="*/ 34037 w 43815"/>
                <a:gd name="connsiteY2" fmla="*/ 65736 h 67310"/>
                <a:gd name="connsiteX3" fmla="*/ 41658 w 43815"/>
                <a:gd name="connsiteY3" fmla="*/ 61291 h 67310"/>
                <a:gd name="connsiteX4" fmla="*/ 5462 w 43815"/>
                <a:gd name="connsiteY4" fmla="*/ -1575 h 67310"/>
                <a:gd name="connsiteX5" fmla="*/ -2158 w 43815"/>
                <a:gd name="connsiteY5" fmla="*/ 2871 h 6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15" h="67310">
                  <a:moveTo>
                    <a:pt x="-2158" y="2871"/>
                  </a:moveTo>
                  <a:lnTo>
                    <a:pt x="-2158" y="2871"/>
                  </a:lnTo>
                  <a:lnTo>
                    <a:pt x="34037" y="65736"/>
                  </a:lnTo>
                  <a:lnTo>
                    <a:pt x="41658" y="61291"/>
                  </a:lnTo>
                  <a:lnTo>
                    <a:pt x="5462" y="-1575"/>
                  </a:lnTo>
                  <a:lnTo>
                    <a:pt x="-2158" y="2871"/>
                  </a:lnTo>
                  <a:close/>
                </a:path>
              </a:pathLst>
            </a:custGeom>
            <a:solidFill>
              <a:srgbClr val="002733"/>
            </a:solidFill>
            <a:ln w="6350" cap="flat">
              <a:noFill/>
              <a:prstDash val="solid"/>
              <a:miter/>
            </a:ln>
          </p:spPr>
          <p:txBody>
            <a:bodyPr rtlCol="0" anchor="ctr"/>
            <a:lstStyle/>
            <a:p>
              <a:endParaRPr lang="en-GB"/>
            </a:p>
          </p:txBody>
        </p:sp>
        <p:sp>
          <p:nvSpPr>
            <p:cNvPr id="248" name="Freeform 247">
              <a:extLst>
                <a:ext uri="{FF2B5EF4-FFF2-40B4-BE49-F238E27FC236}">
                  <a16:creationId xmlns:a16="http://schemas.microsoft.com/office/drawing/2014/main" id="{F89556F5-7307-8C89-FE05-946D231F4D93}"/>
                </a:ext>
              </a:extLst>
            </p:cNvPr>
            <p:cNvSpPr/>
            <p:nvPr/>
          </p:nvSpPr>
          <p:spPr>
            <a:xfrm>
              <a:off x="7559039" y="4540885"/>
              <a:ext cx="91440" cy="149859"/>
            </a:xfrm>
            <a:custGeom>
              <a:avLst/>
              <a:gdLst>
                <a:gd name="connsiteX0" fmla="*/ 41022 w 91440"/>
                <a:gd name="connsiteY0" fmla="*/ 66370 h 149859"/>
                <a:gd name="connsiteX1" fmla="*/ 41022 w 91440"/>
                <a:gd name="connsiteY1" fmla="*/ 66370 h 149859"/>
                <a:gd name="connsiteX2" fmla="*/ 6097 w 91440"/>
                <a:gd name="connsiteY2" fmla="*/ 66370 h 149859"/>
                <a:gd name="connsiteX3" fmla="*/ 6097 w 91440"/>
                <a:gd name="connsiteY3" fmla="*/ 6045 h 149859"/>
                <a:gd name="connsiteX4" fmla="*/ 39117 w 91440"/>
                <a:gd name="connsiteY4" fmla="*/ 6045 h 149859"/>
                <a:gd name="connsiteX5" fmla="*/ 54358 w 91440"/>
                <a:gd name="connsiteY5" fmla="*/ 7314 h 149859"/>
                <a:gd name="connsiteX6" fmla="*/ 67692 w 91440"/>
                <a:gd name="connsiteY6" fmla="*/ 12395 h 149859"/>
                <a:gd name="connsiteX7" fmla="*/ 76583 w 91440"/>
                <a:gd name="connsiteY7" fmla="*/ 21920 h 149859"/>
                <a:gd name="connsiteX8" fmla="*/ 79758 w 91440"/>
                <a:gd name="connsiteY8" fmla="*/ 36525 h 149859"/>
                <a:gd name="connsiteX9" fmla="*/ 70233 w 91440"/>
                <a:gd name="connsiteY9" fmla="*/ 58750 h 149859"/>
                <a:gd name="connsiteX10" fmla="*/ 41022 w 91440"/>
                <a:gd name="connsiteY10" fmla="*/ 66370 h 149859"/>
                <a:gd name="connsiteX11" fmla="*/ 74042 w 91440"/>
                <a:gd name="connsiteY11" fmla="*/ 65734 h 149859"/>
                <a:gd name="connsiteX12" fmla="*/ 74042 w 91440"/>
                <a:gd name="connsiteY12" fmla="*/ 65734 h 149859"/>
                <a:gd name="connsiteX13" fmla="*/ 84838 w 91440"/>
                <a:gd name="connsiteY13" fmla="*/ 54304 h 149859"/>
                <a:gd name="connsiteX14" fmla="*/ 89283 w 91440"/>
                <a:gd name="connsiteY14" fmla="*/ 35889 h 149859"/>
                <a:gd name="connsiteX15" fmla="*/ 84838 w 91440"/>
                <a:gd name="connsiteY15" fmla="*/ 16839 h 149859"/>
                <a:gd name="connsiteX16" fmla="*/ 73408 w 91440"/>
                <a:gd name="connsiteY16" fmla="*/ 5409 h 149859"/>
                <a:gd name="connsiteX17" fmla="*/ 58167 w 91440"/>
                <a:gd name="connsiteY17" fmla="*/ -305 h 149859"/>
                <a:gd name="connsiteX18" fmla="*/ 41658 w 91440"/>
                <a:gd name="connsiteY18" fmla="*/ -1575 h 149859"/>
                <a:gd name="connsiteX19" fmla="*/ -2158 w 91440"/>
                <a:gd name="connsiteY19" fmla="*/ -1575 h 149859"/>
                <a:gd name="connsiteX20" fmla="*/ -2158 w 91440"/>
                <a:gd name="connsiteY20" fmla="*/ 148284 h 149859"/>
                <a:gd name="connsiteX21" fmla="*/ 6733 w 91440"/>
                <a:gd name="connsiteY21" fmla="*/ 148284 h 149859"/>
                <a:gd name="connsiteX22" fmla="*/ 6733 w 91440"/>
                <a:gd name="connsiteY22" fmla="*/ 74625 h 149859"/>
                <a:gd name="connsiteX23" fmla="*/ 40388 w 91440"/>
                <a:gd name="connsiteY23" fmla="*/ 74625 h 149859"/>
                <a:gd name="connsiteX24" fmla="*/ 44833 w 91440"/>
                <a:gd name="connsiteY24" fmla="*/ 73989 h 149859"/>
                <a:gd name="connsiteX25" fmla="*/ 60072 w 91440"/>
                <a:gd name="connsiteY25" fmla="*/ 72084 h 149859"/>
                <a:gd name="connsiteX26" fmla="*/ 74042 w 91440"/>
                <a:gd name="connsiteY26" fmla="*/ 65734 h 14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1440" h="149859">
                  <a:moveTo>
                    <a:pt x="41022" y="66370"/>
                  </a:moveTo>
                  <a:lnTo>
                    <a:pt x="41022" y="66370"/>
                  </a:lnTo>
                  <a:lnTo>
                    <a:pt x="6097" y="66370"/>
                  </a:lnTo>
                  <a:lnTo>
                    <a:pt x="6097" y="6045"/>
                  </a:lnTo>
                  <a:lnTo>
                    <a:pt x="39117" y="6045"/>
                  </a:lnTo>
                  <a:cubicBezTo>
                    <a:pt x="44197" y="6045"/>
                    <a:pt x="49913" y="6679"/>
                    <a:pt x="54358" y="7314"/>
                  </a:cubicBezTo>
                  <a:cubicBezTo>
                    <a:pt x="59438" y="8584"/>
                    <a:pt x="63883" y="9854"/>
                    <a:pt x="67692" y="12395"/>
                  </a:cubicBezTo>
                  <a:cubicBezTo>
                    <a:pt x="71503" y="14300"/>
                    <a:pt x="74042" y="17475"/>
                    <a:pt x="76583" y="21920"/>
                  </a:cubicBezTo>
                  <a:cubicBezTo>
                    <a:pt x="78488" y="25729"/>
                    <a:pt x="79758" y="30809"/>
                    <a:pt x="79758" y="36525"/>
                  </a:cubicBezTo>
                  <a:cubicBezTo>
                    <a:pt x="79758" y="46684"/>
                    <a:pt x="77217" y="53670"/>
                    <a:pt x="70233" y="58750"/>
                  </a:cubicBezTo>
                  <a:cubicBezTo>
                    <a:pt x="63883" y="63195"/>
                    <a:pt x="53722" y="66370"/>
                    <a:pt x="41022" y="66370"/>
                  </a:cubicBezTo>
                  <a:close/>
                  <a:moveTo>
                    <a:pt x="74042" y="65734"/>
                  </a:moveTo>
                  <a:lnTo>
                    <a:pt x="74042" y="65734"/>
                  </a:lnTo>
                  <a:cubicBezTo>
                    <a:pt x="78488" y="63195"/>
                    <a:pt x="82297" y="58750"/>
                    <a:pt x="84838" y="54304"/>
                  </a:cubicBezTo>
                  <a:cubicBezTo>
                    <a:pt x="87378" y="49859"/>
                    <a:pt x="89283" y="43509"/>
                    <a:pt x="89283" y="35889"/>
                  </a:cubicBezTo>
                  <a:cubicBezTo>
                    <a:pt x="89283" y="28270"/>
                    <a:pt x="88013" y="21920"/>
                    <a:pt x="84838" y="16839"/>
                  </a:cubicBezTo>
                  <a:cubicBezTo>
                    <a:pt x="82297" y="11759"/>
                    <a:pt x="78488" y="7950"/>
                    <a:pt x="73408" y="5409"/>
                  </a:cubicBezTo>
                  <a:cubicBezTo>
                    <a:pt x="68963" y="2870"/>
                    <a:pt x="64517" y="329"/>
                    <a:pt x="58167" y="-305"/>
                  </a:cubicBezTo>
                  <a:cubicBezTo>
                    <a:pt x="53088" y="-1575"/>
                    <a:pt x="46738" y="-1575"/>
                    <a:pt x="41658" y="-1575"/>
                  </a:cubicBezTo>
                  <a:lnTo>
                    <a:pt x="-2158" y="-1575"/>
                  </a:lnTo>
                  <a:lnTo>
                    <a:pt x="-2158" y="148284"/>
                  </a:lnTo>
                  <a:lnTo>
                    <a:pt x="6733" y="148284"/>
                  </a:lnTo>
                  <a:lnTo>
                    <a:pt x="6733" y="74625"/>
                  </a:lnTo>
                  <a:lnTo>
                    <a:pt x="40388" y="74625"/>
                  </a:lnTo>
                  <a:lnTo>
                    <a:pt x="44833" y="73989"/>
                  </a:lnTo>
                  <a:cubicBezTo>
                    <a:pt x="49913" y="73989"/>
                    <a:pt x="54992" y="73354"/>
                    <a:pt x="60072" y="72084"/>
                  </a:cubicBezTo>
                  <a:cubicBezTo>
                    <a:pt x="64517" y="70814"/>
                    <a:pt x="69597" y="68909"/>
                    <a:pt x="74042" y="65734"/>
                  </a:cubicBezTo>
                  <a:close/>
                </a:path>
              </a:pathLst>
            </a:custGeom>
            <a:solidFill>
              <a:srgbClr val="002733"/>
            </a:solidFill>
            <a:ln w="6350" cap="flat">
              <a:noFill/>
              <a:prstDash val="solid"/>
              <a:miter/>
            </a:ln>
          </p:spPr>
          <p:txBody>
            <a:bodyPr rtlCol="0" anchor="ctr"/>
            <a:lstStyle/>
            <a:p>
              <a:endParaRPr lang="en-GB"/>
            </a:p>
          </p:txBody>
        </p:sp>
        <p:sp>
          <p:nvSpPr>
            <p:cNvPr id="249" name="Freeform 248">
              <a:extLst>
                <a:ext uri="{FF2B5EF4-FFF2-40B4-BE49-F238E27FC236}">
                  <a16:creationId xmlns:a16="http://schemas.microsoft.com/office/drawing/2014/main" id="{CDA0766C-711F-DD82-9946-369AD0E6F8CD}"/>
                </a:ext>
              </a:extLst>
            </p:cNvPr>
            <p:cNvSpPr/>
            <p:nvPr/>
          </p:nvSpPr>
          <p:spPr>
            <a:xfrm>
              <a:off x="7320914" y="4640580"/>
              <a:ext cx="59055" cy="8889"/>
            </a:xfrm>
            <a:custGeom>
              <a:avLst/>
              <a:gdLst>
                <a:gd name="connsiteX0" fmla="*/ -2158 w 59055"/>
                <a:gd name="connsiteY0" fmla="*/ -1575 h 8889"/>
                <a:gd name="connsiteX1" fmla="*/ -2158 w 59055"/>
                <a:gd name="connsiteY1" fmla="*/ -1575 h 8889"/>
                <a:gd name="connsiteX2" fmla="*/ 56897 w 59055"/>
                <a:gd name="connsiteY2" fmla="*/ -1575 h 8889"/>
                <a:gd name="connsiteX3" fmla="*/ 56897 w 59055"/>
                <a:gd name="connsiteY3" fmla="*/ 7314 h 8889"/>
                <a:gd name="connsiteX4" fmla="*/ -2158 w 59055"/>
                <a:gd name="connsiteY4" fmla="*/ 7314 h 8889"/>
                <a:gd name="connsiteX5" fmla="*/ -2158 w 59055"/>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 h="8889">
                  <a:moveTo>
                    <a:pt x="-2158" y="-1575"/>
                  </a:moveTo>
                  <a:lnTo>
                    <a:pt x="-2158" y="-1575"/>
                  </a:lnTo>
                  <a:lnTo>
                    <a:pt x="56897" y="-1575"/>
                  </a:lnTo>
                  <a:lnTo>
                    <a:pt x="56897" y="7314"/>
                  </a:lnTo>
                  <a:lnTo>
                    <a:pt x="-2158" y="7314"/>
                  </a:lnTo>
                  <a:lnTo>
                    <a:pt x="-2158" y="-1575"/>
                  </a:lnTo>
                  <a:close/>
                </a:path>
              </a:pathLst>
            </a:custGeom>
            <a:solidFill>
              <a:srgbClr val="002733"/>
            </a:solidFill>
            <a:ln w="6350" cap="flat">
              <a:noFill/>
              <a:prstDash val="solid"/>
              <a:miter/>
            </a:ln>
          </p:spPr>
          <p:txBody>
            <a:bodyPr rtlCol="0" anchor="ctr"/>
            <a:lstStyle/>
            <a:p>
              <a:endParaRPr lang="en-GB"/>
            </a:p>
          </p:txBody>
        </p:sp>
        <p:sp>
          <p:nvSpPr>
            <p:cNvPr id="250" name="Freeform 249">
              <a:extLst>
                <a:ext uri="{FF2B5EF4-FFF2-40B4-BE49-F238E27FC236}">
                  <a16:creationId xmlns:a16="http://schemas.microsoft.com/office/drawing/2014/main" id="{4A9408BC-4413-834F-016F-B249D5DB42F0}"/>
                </a:ext>
              </a:extLst>
            </p:cNvPr>
            <p:cNvSpPr/>
            <p:nvPr/>
          </p:nvSpPr>
          <p:spPr>
            <a:xfrm>
              <a:off x="7282180" y="4540250"/>
              <a:ext cx="135255" cy="152400"/>
            </a:xfrm>
            <a:custGeom>
              <a:avLst/>
              <a:gdLst>
                <a:gd name="connsiteX0" fmla="*/ 69597 w 135255"/>
                <a:gd name="connsiteY0" fmla="*/ -1575 h 152400"/>
                <a:gd name="connsiteX1" fmla="*/ 69597 w 135255"/>
                <a:gd name="connsiteY1" fmla="*/ -1575 h 152400"/>
                <a:gd name="connsiteX2" fmla="*/ 69597 w 135255"/>
                <a:gd name="connsiteY2" fmla="*/ -1575 h 152400"/>
                <a:gd name="connsiteX3" fmla="*/ 60706 w 135255"/>
                <a:gd name="connsiteY3" fmla="*/ -1575 h 152400"/>
                <a:gd name="connsiteX4" fmla="*/ 60706 w 135255"/>
                <a:gd name="connsiteY4" fmla="*/ -1575 h 152400"/>
                <a:gd name="connsiteX5" fmla="*/ 60706 w 135255"/>
                <a:gd name="connsiteY5" fmla="*/ -1575 h 152400"/>
                <a:gd name="connsiteX6" fmla="*/ -2158 w 135255"/>
                <a:gd name="connsiteY6" fmla="*/ 147014 h 152400"/>
                <a:gd name="connsiteX7" fmla="*/ 6097 w 135255"/>
                <a:gd name="connsiteY7" fmla="*/ 150825 h 152400"/>
                <a:gd name="connsiteX8" fmla="*/ 65151 w 135255"/>
                <a:gd name="connsiteY8" fmla="*/ 9855 h 152400"/>
                <a:gd name="connsiteX9" fmla="*/ 124842 w 135255"/>
                <a:gd name="connsiteY9" fmla="*/ 150825 h 152400"/>
                <a:gd name="connsiteX10" fmla="*/ 133097 w 135255"/>
                <a:gd name="connsiteY10" fmla="*/ 147014 h 152400"/>
                <a:gd name="connsiteX11" fmla="*/ 69597 w 135255"/>
                <a:gd name="connsiteY11" fmla="*/ -1575 h 152400"/>
                <a:gd name="connsiteX12" fmla="*/ 69597 w 135255"/>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5" h="152400">
                  <a:moveTo>
                    <a:pt x="69597" y="-1575"/>
                  </a:moveTo>
                  <a:lnTo>
                    <a:pt x="69597" y="-1575"/>
                  </a:lnTo>
                  <a:lnTo>
                    <a:pt x="69597" y="-1575"/>
                  </a:lnTo>
                  <a:lnTo>
                    <a:pt x="60706" y="-1575"/>
                  </a:lnTo>
                  <a:lnTo>
                    <a:pt x="60706" y="-1575"/>
                  </a:lnTo>
                  <a:lnTo>
                    <a:pt x="60706" y="-1575"/>
                  </a:lnTo>
                  <a:lnTo>
                    <a:pt x="-2158" y="147014"/>
                  </a:lnTo>
                  <a:lnTo>
                    <a:pt x="6097" y="150825"/>
                  </a:lnTo>
                  <a:lnTo>
                    <a:pt x="65151" y="9855"/>
                  </a:lnTo>
                  <a:lnTo>
                    <a:pt x="124842" y="150825"/>
                  </a:lnTo>
                  <a:lnTo>
                    <a:pt x="133097" y="147014"/>
                  </a:lnTo>
                  <a:lnTo>
                    <a:pt x="69597" y="-1575"/>
                  </a:lnTo>
                  <a:lnTo>
                    <a:pt x="69597" y="-1575"/>
                  </a:lnTo>
                  <a:close/>
                </a:path>
              </a:pathLst>
            </a:custGeom>
            <a:solidFill>
              <a:srgbClr val="002733"/>
            </a:solidFill>
            <a:ln w="6350" cap="flat">
              <a:noFill/>
              <a:prstDash val="solid"/>
              <a:miter/>
            </a:ln>
          </p:spPr>
          <p:txBody>
            <a:bodyPr rtlCol="0" anchor="ctr"/>
            <a:lstStyle/>
            <a:p>
              <a:endParaRPr lang="en-GB"/>
            </a:p>
          </p:txBody>
        </p:sp>
        <p:sp>
          <p:nvSpPr>
            <p:cNvPr id="251" name="Freeform 250">
              <a:extLst>
                <a:ext uri="{FF2B5EF4-FFF2-40B4-BE49-F238E27FC236}">
                  <a16:creationId xmlns:a16="http://schemas.microsoft.com/office/drawing/2014/main" id="{7A39042E-1D31-61EC-EFA6-ABC9A896AC56}"/>
                </a:ext>
              </a:extLst>
            </p:cNvPr>
            <p:cNvSpPr/>
            <p:nvPr/>
          </p:nvSpPr>
          <p:spPr>
            <a:xfrm>
              <a:off x="7022464" y="4538344"/>
              <a:ext cx="135255" cy="156844"/>
            </a:xfrm>
            <a:custGeom>
              <a:avLst/>
              <a:gdLst>
                <a:gd name="connsiteX0" fmla="*/ 73408 w 135255"/>
                <a:gd name="connsiteY0" fmla="*/ 6680 h 156844"/>
                <a:gd name="connsiteX1" fmla="*/ 73408 w 135255"/>
                <a:gd name="connsiteY1" fmla="*/ 6680 h 156844"/>
                <a:gd name="connsiteX2" fmla="*/ 126747 w 135255"/>
                <a:gd name="connsiteY2" fmla="*/ 35255 h 156844"/>
                <a:gd name="connsiteX3" fmla="*/ 133097 w 135255"/>
                <a:gd name="connsiteY3" fmla="*/ 29541 h 156844"/>
                <a:gd name="connsiteX4" fmla="*/ 72772 w 135255"/>
                <a:gd name="connsiteY4" fmla="*/ -1575 h 156844"/>
                <a:gd name="connsiteX5" fmla="*/ -2158 w 135255"/>
                <a:gd name="connsiteY5" fmla="*/ 76530 h 156844"/>
                <a:gd name="connsiteX6" fmla="*/ 72772 w 135255"/>
                <a:gd name="connsiteY6" fmla="*/ 155270 h 156844"/>
                <a:gd name="connsiteX7" fmla="*/ 133097 w 135255"/>
                <a:gd name="connsiteY7" fmla="*/ 123520 h 156844"/>
                <a:gd name="connsiteX8" fmla="*/ 126747 w 135255"/>
                <a:gd name="connsiteY8" fmla="*/ 117805 h 156844"/>
                <a:gd name="connsiteX9" fmla="*/ 73408 w 135255"/>
                <a:gd name="connsiteY9" fmla="*/ 146380 h 156844"/>
                <a:gd name="connsiteX10" fmla="*/ 6733 w 135255"/>
                <a:gd name="connsiteY10" fmla="*/ 76530 h 156844"/>
                <a:gd name="connsiteX11" fmla="*/ 73408 w 135255"/>
                <a:gd name="connsiteY11" fmla="*/ 6680 h 15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255" h="156844">
                  <a:moveTo>
                    <a:pt x="73408" y="6680"/>
                  </a:moveTo>
                  <a:lnTo>
                    <a:pt x="73408" y="6680"/>
                  </a:lnTo>
                  <a:cubicBezTo>
                    <a:pt x="95633" y="6680"/>
                    <a:pt x="115317" y="18111"/>
                    <a:pt x="126747" y="35255"/>
                  </a:cubicBezTo>
                  <a:lnTo>
                    <a:pt x="133097" y="29541"/>
                  </a:lnTo>
                  <a:cubicBezTo>
                    <a:pt x="119763" y="10491"/>
                    <a:pt x="97538" y="-1575"/>
                    <a:pt x="72772" y="-1575"/>
                  </a:cubicBezTo>
                  <a:cubicBezTo>
                    <a:pt x="31497" y="-1575"/>
                    <a:pt x="-2158" y="33350"/>
                    <a:pt x="-2158" y="76530"/>
                  </a:cubicBezTo>
                  <a:cubicBezTo>
                    <a:pt x="-2158" y="119711"/>
                    <a:pt x="31497" y="155270"/>
                    <a:pt x="72772" y="155270"/>
                  </a:cubicBezTo>
                  <a:cubicBezTo>
                    <a:pt x="97538" y="155270"/>
                    <a:pt x="119763" y="143205"/>
                    <a:pt x="133097" y="123520"/>
                  </a:cubicBezTo>
                  <a:lnTo>
                    <a:pt x="126747" y="117805"/>
                  </a:lnTo>
                  <a:cubicBezTo>
                    <a:pt x="114683" y="135586"/>
                    <a:pt x="94997" y="146380"/>
                    <a:pt x="73408" y="146380"/>
                  </a:cubicBezTo>
                  <a:cubicBezTo>
                    <a:pt x="36578" y="146380"/>
                    <a:pt x="6733" y="115266"/>
                    <a:pt x="6733" y="76530"/>
                  </a:cubicBezTo>
                  <a:cubicBezTo>
                    <a:pt x="6733" y="37795"/>
                    <a:pt x="36578" y="6680"/>
                    <a:pt x="73408" y="6680"/>
                  </a:cubicBezTo>
                  <a:close/>
                </a:path>
              </a:pathLst>
            </a:custGeom>
            <a:solidFill>
              <a:srgbClr val="002733"/>
            </a:solidFill>
            <a:ln w="6350" cap="flat">
              <a:noFill/>
              <a:prstDash val="solid"/>
              <a:miter/>
            </a:ln>
          </p:spPr>
          <p:txBody>
            <a:bodyPr rtlCol="0" anchor="ctr"/>
            <a:lstStyle/>
            <a:p>
              <a:endParaRPr lang="en-GB"/>
            </a:p>
          </p:txBody>
        </p:sp>
      </p:grpSp>
      <p:grpSp>
        <p:nvGrpSpPr>
          <p:cNvPr id="263" name="Graphic 79">
            <a:extLst>
              <a:ext uri="{FF2B5EF4-FFF2-40B4-BE49-F238E27FC236}">
                <a16:creationId xmlns:a16="http://schemas.microsoft.com/office/drawing/2014/main" id="{64972B44-DCCE-3AF1-F614-0E9224694B9C}"/>
              </a:ext>
            </a:extLst>
          </p:cNvPr>
          <p:cNvGrpSpPr/>
          <p:nvPr/>
        </p:nvGrpSpPr>
        <p:grpSpPr>
          <a:xfrm>
            <a:off x="8832850" y="1952625"/>
            <a:ext cx="876582" cy="575151"/>
            <a:chOff x="8832850" y="1952625"/>
            <a:chExt cx="876582" cy="575151"/>
          </a:xfrm>
          <a:solidFill>
            <a:srgbClr val="002733"/>
          </a:solidFill>
        </p:grpSpPr>
        <p:sp>
          <p:nvSpPr>
            <p:cNvPr id="264" name="Freeform 263">
              <a:extLst>
                <a:ext uri="{FF2B5EF4-FFF2-40B4-BE49-F238E27FC236}">
                  <a16:creationId xmlns:a16="http://schemas.microsoft.com/office/drawing/2014/main" id="{43099BA4-DFEB-1EBE-02AE-4C07A0F76081}"/>
                </a:ext>
              </a:extLst>
            </p:cNvPr>
            <p:cNvSpPr/>
            <p:nvPr/>
          </p:nvSpPr>
          <p:spPr>
            <a:xfrm>
              <a:off x="9014460" y="1952625"/>
              <a:ext cx="510539" cy="395605"/>
            </a:xfrm>
            <a:custGeom>
              <a:avLst/>
              <a:gdLst>
                <a:gd name="connsiteX0" fmla="*/ -2035 w 510539"/>
                <a:gd name="connsiteY0" fmla="*/ -681 h 395605"/>
                <a:gd name="connsiteX1" fmla="*/ -2035 w 510539"/>
                <a:gd name="connsiteY1" fmla="*/ -681 h 395605"/>
                <a:gd name="connsiteX2" fmla="*/ 248790 w 510539"/>
                <a:gd name="connsiteY2" fmla="*/ 87584 h 395605"/>
                <a:gd name="connsiteX3" fmla="*/ 257679 w 510539"/>
                <a:gd name="connsiteY3" fmla="*/ 87584 h 395605"/>
                <a:gd name="connsiteX4" fmla="*/ 508504 w 510539"/>
                <a:gd name="connsiteY4" fmla="*/ -681 h 395605"/>
                <a:gd name="connsiteX5" fmla="*/ 418335 w 510539"/>
                <a:gd name="connsiteY5" fmla="*/ 141559 h 395605"/>
                <a:gd name="connsiteX6" fmla="*/ 375790 w 510539"/>
                <a:gd name="connsiteY6" fmla="*/ 124414 h 395605"/>
                <a:gd name="connsiteX7" fmla="*/ 401190 w 510539"/>
                <a:gd name="connsiteY7" fmla="*/ 81234 h 395605"/>
                <a:gd name="connsiteX8" fmla="*/ 319910 w 510539"/>
                <a:gd name="connsiteY8" fmla="*/ 121874 h 395605"/>
                <a:gd name="connsiteX9" fmla="*/ 375790 w 510539"/>
                <a:gd name="connsiteY9" fmla="*/ 143464 h 395605"/>
                <a:gd name="connsiteX10" fmla="*/ 398015 w 510539"/>
                <a:gd name="connsiteY10" fmla="*/ 168229 h 395605"/>
                <a:gd name="connsiteX11" fmla="*/ 384044 w 510539"/>
                <a:gd name="connsiteY11" fmla="*/ 203789 h 395605"/>
                <a:gd name="connsiteX12" fmla="*/ 262760 w 510539"/>
                <a:gd name="connsiteY12" fmla="*/ 394924 h 395605"/>
                <a:gd name="connsiteX13" fmla="*/ 263394 w 510539"/>
                <a:gd name="connsiteY13" fmla="*/ 344759 h 395605"/>
                <a:gd name="connsiteX14" fmla="*/ 309749 w 510539"/>
                <a:gd name="connsiteY14" fmla="*/ 191089 h 395605"/>
                <a:gd name="connsiteX15" fmla="*/ 298319 w 510539"/>
                <a:gd name="connsiteY15" fmla="*/ 176484 h 395605"/>
                <a:gd name="connsiteX16" fmla="*/ 252599 w 510539"/>
                <a:gd name="connsiteY16" fmla="*/ 154894 h 395605"/>
                <a:gd name="connsiteX17" fmla="*/ 205610 w 510539"/>
                <a:gd name="connsiteY17" fmla="*/ 177754 h 395605"/>
                <a:gd name="connsiteX18" fmla="*/ 196719 w 510539"/>
                <a:gd name="connsiteY18" fmla="*/ 190454 h 395605"/>
                <a:gd name="connsiteX19" fmla="*/ 243074 w 510539"/>
                <a:gd name="connsiteY19" fmla="*/ 344124 h 395605"/>
                <a:gd name="connsiteX20" fmla="*/ 243074 w 510539"/>
                <a:gd name="connsiteY20" fmla="*/ 394924 h 395605"/>
                <a:gd name="connsiteX21" fmla="*/ 123060 w 510539"/>
                <a:gd name="connsiteY21" fmla="*/ 205694 h 395605"/>
                <a:gd name="connsiteX22" fmla="*/ 107819 w 510539"/>
                <a:gd name="connsiteY22" fmla="*/ 167594 h 395605"/>
                <a:gd name="connsiteX23" fmla="*/ 130044 w 510539"/>
                <a:gd name="connsiteY23" fmla="*/ 142829 h 395605"/>
                <a:gd name="connsiteX24" fmla="*/ 185924 w 510539"/>
                <a:gd name="connsiteY24" fmla="*/ 121239 h 395605"/>
                <a:gd name="connsiteX25" fmla="*/ 104644 w 510539"/>
                <a:gd name="connsiteY25" fmla="*/ 80599 h 395605"/>
                <a:gd name="connsiteX26" fmla="*/ 130044 w 510539"/>
                <a:gd name="connsiteY26" fmla="*/ 123779 h 395605"/>
                <a:gd name="connsiteX27" fmla="*/ 86865 w 510539"/>
                <a:gd name="connsiteY27" fmla="*/ 140924 h 395605"/>
                <a:gd name="connsiteX28" fmla="*/ -2035 w 510539"/>
                <a:gd name="connsiteY28" fmla="*/ -681 h 39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0539" h="395605">
                  <a:moveTo>
                    <a:pt x="-2035" y="-681"/>
                  </a:moveTo>
                  <a:lnTo>
                    <a:pt x="-2035" y="-681"/>
                  </a:lnTo>
                  <a:cubicBezTo>
                    <a:pt x="81785" y="28529"/>
                    <a:pt x="164969" y="59009"/>
                    <a:pt x="248790" y="87584"/>
                  </a:cubicBezTo>
                  <a:cubicBezTo>
                    <a:pt x="251965" y="88854"/>
                    <a:pt x="254504" y="88854"/>
                    <a:pt x="257679" y="87584"/>
                  </a:cubicBezTo>
                  <a:cubicBezTo>
                    <a:pt x="341499" y="59009"/>
                    <a:pt x="424685" y="28529"/>
                    <a:pt x="508504" y="-681"/>
                  </a:cubicBezTo>
                  <a:cubicBezTo>
                    <a:pt x="478660" y="46944"/>
                    <a:pt x="448815" y="93934"/>
                    <a:pt x="418335" y="141559"/>
                  </a:cubicBezTo>
                  <a:cubicBezTo>
                    <a:pt x="404365" y="135209"/>
                    <a:pt x="389760" y="130129"/>
                    <a:pt x="375790" y="124414"/>
                  </a:cubicBezTo>
                  <a:cubicBezTo>
                    <a:pt x="384044" y="109809"/>
                    <a:pt x="392935" y="95839"/>
                    <a:pt x="401190" y="81234"/>
                  </a:cubicBezTo>
                  <a:cubicBezTo>
                    <a:pt x="374519" y="95204"/>
                    <a:pt x="346579" y="107904"/>
                    <a:pt x="319910" y="121874"/>
                  </a:cubicBezTo>
                  <a:cubicBezTo>
                    <a:pt x="338960" y="128859"/>
                    <a:pt x="357374" y="135844"/>
                    <a:pt x="375790" y="143464"/>
                  </a:cubicBezTo>
                  <a:cubicBezTo>
                    <a:pt x="386585" y="147909"/>
                    <a:pt x="397379" y="156164"/>
                    <a:pt x="398015" y="168229"/>
                  </a:cubicBezTo>
                  <a:cubicBezTo>
                    <a:pt x="399919" y="181564"/>
                    <a:pt x="390394" y="192994"/>
                    <a:pt x="384044" y="203789"/>
                  </a:cubicBezTo>
                  <a:cubicBezTo>
                    <a:pt x="343404" y="267289"/>
                    <a:pt x="303399" y="331424"/>
                    <a:pt x="262760" y="394924"/>
                  </a:cubicBezTo>
                  <a:cubicBezTo>
                    <a:pt x="262760" y="377779"/>
                    <a:pt x="260854" y="361269"/>
                    <a:pt x="263394" y="344759"/>
                  </a:cubicBezTo>
                  <a:cubicBezTo>
                    <a:pt x="279269" y="293324"/>
                    <a:pt x="295144" y="242524"/>
                    <a:pt x="309749" y="191089"/>
                  </a:cubicBezTo>
                  <a:cubicBezTo>
                    <a:pt x="312924" y="183469"/>
                    <a:pt x="304035" y="179024"/>
                    <a:pt x="298319" y="176484"/>
                  </a:cubicBezTo>
                  <a:cubicBezTo>
                    <a:pt x="283079" y="169499"/>
                    <a:pt x="268474" y="160609"/>
                    <a:pt x="252599" y="154894"/>
                  </a:cubicBezTo>
                  <a:cubicBezTo>
                    <a:pt x="236724" y="161879"/>
                    <a:pt x="221485" y="170134"/>
                    <a:pt x="205610" y="177754"/>
                  </a:cubicBezTo>
                  <a:cubicBezTo>
                    <a:pt x="200529" y="179659"/>
                    <a:pt x="194179" y="184104"/>
                    <a:pt x="196719" y="190454"/>
                  </a:cubicBezTo>
                  <a:cubicBezTo>
                    <a:pt x="211324" y="241889"/>
                    <a:pt x="227199" y="293324"/>
                    <a:pt x="243074" y="344124"/>
                  </a:cubicBezTo>
                  <a:cubicBezTo>
                    <a:pt x="244979" y="360634"/>
                    <a:pt x="243074" y="377779"/>
                    <a:pt x="243074" y="394924"/>
                  </a:cubicBezTo>
                  <a:cubicBezTo>
                    <a:pt x="203069" y="332059"/>
                    <a:pt x="163065" y="268559"/>
                    <a:pt x="123060" y="205694"/>
                  </a:cubicBezTo>
                  <a:cubicBezTo>
                    <a:pt x="116074" y="194264"/>
                    <a:pt x="105915" y="182199"/>
                    <a:pt x="107819" y="167594"/>
                  </a:cubicBezTo>
                  <a:cubicBezTo>
                    <a:pt x="108454" y="155529"/>
                    <a:pt x="119885" y="147274"/>
                    <a:pt x="130044" y="142829"/>
                  </a:cubicBezTo>
                  <a:cubicBezTo>
                    <a:pt x="148460" y="135209"/>
                    <a:pt x="167510" y="128224"/>
                    <a:pt x="185924" y="121239"/>
                  </a:cubicBezTo>
                  <a:cubicBezTo>
                    <a:pt x="159254" y="107269"/>
                    <a:pt x="131949" y="94569"/>
                    <a:pt x="104644" y="80599"/>
                  </a:cubicBezTo>
                  <a:cubicBezTo>
                    <a:pt x="112899" y="95204"/>
                    <a:pt x="121790" y="109174"/>
                    <a:pt x="130044" y="123779"/>
                  </a:cubicBezTo>
                  <a:cubicBezTo>
                    <a:pt x="115440" y="129494"/>
                    <a:pt x="101469" y="134574"/>
                    <a:pt x="86865" y="140924"/>
                  </a:cubicBezTo>
                  <a:cubicBezTo>
                    <a:pt x="57654" y="93934"/>
                    <a:pt x="27810" y="46309"/>
                    <a:pt x="-2035" y="-681"/>
                  </a:cubicBezTo>
                  <a:close/>
                </a:path>
              </a:pathLst>
            </a:custGeom>
            <a:solidFill>
              <a:srgbClr val="002733"/>
            </a:solidFill>
            <a:ln w="6350" cap="flat">
              <a:noFill/>
              <a:prstDash val="solid"/>
              <a:miter/>
            </a:ln>
          </p:spPr>
          <p:txBody>
            <a:bodyPr rtlCol="0" anchor="ctr"/>
            <a:lstStyle/>
            <a:p>
              <a:endParaRPr lang="en-GB"/>
            </a:p>
          </p:txBody>
        </p:sp>
        <p:sp>
          <p:nvSpPr>
            <p:cNvPr id="265" name="Freeform 264">
              <a:extLst>
                <a:ext uri="{FF2B5EF4-FFF2-40B4-BE49-F238E27FC236}">
                  <a16:creationId xmlns:a16="http://schemas.microsoft.com/office/drawing/2014/main" id="{F0AEAD2A-C3D2-25C8-F223-E642B6C11C4E}"/>
                </a:ext>
              </a:extLst>
            </p:cNvPr>
            <p:cNvSpPr/>
            <p:nvPr/>
          </p:nvSpPr>
          <p:spPr>
            <a:xfrm>
              <a:off x="9190989" y="2444750"/>
              <a:ext cx="159483" cy="82550"/>
            </a:xfrm>
            <a:custGeom>
              <a:avLst/>
              <a:gdLst>
                <a:gd name="connsiteX0" fmla="*/ 23365 w 159483"/>
                <a:gd name="connsiteY0" fmla="*/ 17734 h 82550"/>
                <a:gd name="connsiteX1" fmla="*/ 23365 w 159483"/>
                <a:gd name="connsiteY1" fmla="*/ 17734 h 82550"/>
                <a:gd name="connsiteX2" fmla="*/ 24001 w 159483"/>
                <a:gd name="connsiteY2" fmla="*/ 36784 h 82550"/>
                <a:gd name="connsiteX3" fmla="*/ 130681 w 159483"/>
                <a:gd name="connsiteY3" fmla="*/ 36149 h 82550"/>
                <a:gd name="connsiteX4" fmla="*/ 133856 w 159483"/>
                <a:gd name="connsiteY4" fmla="*/ 17734 h 82550"/>
                <a:gd name="connsiteX5" fmla="*/ 23365 w 159483"/>
                <a:gd name="connsiteY5" fmla="*/ 17734 h 82550"/>
                <a:gd name="connsiteX6" fmla="*/ -2035 w 159483"/>
                <a:gd name="connsiteY6" fmla="*/ 81869 h 82550"/>
                <a:gd name="connsiteX7" fmla="*/ -2035 w 159483"/>
                <a:gd name="connsiteY7" fmla="*/ 81869 h 82550"/>
                <a:gd name="connsiteX8" fmla="*/ -2035 w 159483"/>
                <a:gd name="connsiteY8" fmla="*/ -681 h 82550"/>
                <a:gd name="connsiteX9" fmla="*/ 135761 w 159483"/>
                <a:gd name="connsiteY9" fmla="*/ -681 h 82550"/>
                <a:gd name="connsiteX10" fmla="*/ 156715 w 159483"/>
                <a:gd name="connsiteY10" fmla="*/ 13289 h 82550"/>
                <a:gd name="connsiteX11" fmla="*/ 156715 w 159483"/>
                <a:gd name="connsiteY11" fmla="*/ 41229 h 82550"/>
                <a:gd name="connsiteX12" fmla="*/ 135761 w 159483"/>
                <a:gd name="connsiteY12" fmla="*/ 57104 h 82550"/>
                <a:gd name="connsiteX13" fmla="*/ 23365 w 159483"/>
                <a:gd name="connsiteY13" fmla="*/ 57104 h 82550"/>
                <a:gd name="connsiteX14" fmla="*/ 23365 w 159483"/>
                <a:gd name="connsiteY14" fmla="*/ 81869 h 82550"/>
                <a:gd name="connsiteX15" fmla="*/ -2035 w 159483"/>
                <a:gd name="connsiteY15" fmla="*/ 81869 h 8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483" h="82550">
                  <a:moveTo>
                    <a:pt x="23365" y="17734"/>
                  </a:moveTo>
                  <a:lnTo>
                    <a:pt x="23365" y="17734"/>
                  </a:lnTo>
                  <a:cubicBezTo>
                    <a:pt x="23365" y="24084"/>
                    <a:pt x="23365" y="30434"/>
                    <a:pt x="24001" y="36784"/>
                  </a:cubicBezTo>
                  <a:cubicBezTo>
                    <a:pt x="59561" y="36149"/>
                    <a:pt x="95120" y="36784"/>
                    <a:pt x="130681" y="36149"/>
                  </a:cubicBezTo>
                  <a:cubicBezTo>
                    <a:pt x="137031" y="32339"/>
                    <a:pt x="132586" y="24084"/>
                    <a:pt x="133856" y="17734"/>
                  </a:cubicBezTo>
                  <a:cubicBezTo>
                    <a:pt x="97026" y="17099"/>
                    <a:pt x="60195" y="18369"/>
                    <a:pt x="23365" y="17734"/>
                  </a:cubicBezTo>
                  <a:close/>
                  <a:moveTo>
                    <a:pt x="-2035" y="81869"/>
                  </a:moveTo>
                  <a:lnTo>
                    <a:pt x="-2035" y="81869"/>
                  </a:lnTo>
                  <a:cubicBezTo>
                    <a:pt x="-2035" y="54564"/>
                    <a:pt x="-2035" y="26624"/>
                    <a:pt x="-2035" y="-681"/>
                  </a:cubicBezTo>
                  <a:cubicBezTo>
                    <a:pt x="44320" y="-681"/>
                    <a:pt x="90040" y="-681"/>
                    <a:pt x="135761" y="-681"/>
                  </a:cubicBezTo>
                  <a:cubicBezTo>
                    <a:pt x="144651" y="-681"/>
                    <a:pt x="155445" y="3764"/>
                    <a:pt x="156715" y="13289"/>
                  </a:cubicBezTo>
                  <a:cubicBezTo>
                    <a:pt x="157986" y="22179"/>
                    <a:pt x="157351" y="32339"/>
                    <a:pt x="156715" y="41229"/>
                  </a:cubicBezTo>
                  <a:cubicBezTo>
                    <a:pt x="156081" y="51389"/>
                    <a:pt x="145286" y="57739"/>
                    <a:pt x="135761" y="57104"/>
                  </a:cubicBezTo>
                  <a:cubicBezTo>
                    <a:pt x="98295" y="57104"/>
                    <a:pt x="60831" y="57104"/>
                    <a:pt x="23365" y="57104"/>
                  </a:cubicBezTo>
                  <a:cubicBezTo>
                    <a:pt x="23365" y="65359"/>
                    <a:pt x="23365" y="73614"/>
                    <a:pt x="23365" y="81869"/>
                  </a:cubicBezTo>
                  <a:cubicBezTo>
                    <a:pt x="15111" y="81869"/>
                    <a:pt x="6856" y="81869"/>
                    <a:pt x="-2035" y="81869"/>
                  </a:cubicBezTo>
                  <a:close/>
                </a:path>
              </a:pathLst>
            </a:custGeom>
            <a:solidFill>
              <a:srgbClr val="002733"/>
            </a:solidFill>
            <a:ln w="6350" cap="flat">
              <a:noFill/>
              <a:prstDash val="solid"/>
              <a:miter/>
            </a:ln>
          </p:spPr>
          <p:txBody>
            <a:bodyPr rtlCol="0" anchor="ctr"/>
            <a:lstStyle/>
            <a:p>
              <a:endParaRPr lang="en-GB"/>
            </a:p>
          </p:txBody>
        </p:sp>
        <p:sp>
          <p:nvSpPr>
            <p:cNvPr id="266" name="Freeform 265">
              <a:extLst>
                <a:ext uri="{FF2B5EF4-FFF2-40B4-BE49-F238E27FC236}">
                  <a16:creationId xmlns:a16="http://schemas.microsoft.com/office/drawing/2014/main" id="{3241A7CD-0432-6B89-8197-45EF821E8395}"/>
                </a:ext>
              </a:extLst>
            </p:cNvPr>
            <p:cNvSpPr/>
            <p:nvPr/>
          </p:nvSpPr>
          <p:spPr>
            <a:xfrm>
              <a:off x="8832850" y="2444750"/>
              <a:ext cx="156844" cy="82005"/>
            </a:xfrm>
            <a:custGeom>
              <a:avLst/>
              <a:gdLst>
                <a:gd name="connsiteX0" fmla="*/ -130 w 156844"/>
                <a:gd name="connsiteY0" fmla="*/ 12019 h 82005"/>
                <a:gd name="connsiteX1" fmla="*/ -130 w 156844"/>
                <a:gd name="connsiteY1" fmla="*/ 12019 h 82005"/>
                <a:gd name="connsiteX2" fmla="*/ 21460 w 156844"/>
                <a:gd name="connsiteY2" fmla="*/ -681 h 82005"/>
                <a:gd name="connsiteX3" fmla="*/ 154810 w 156844"/>
                <a:gd name="connsiteY3" fmla="*/ -681 h 82005"/>
                <a:gd name="connsiteX4" fmla="*/ 154810 w 156844"/>
                <a:gd name="connsiteY4" fmla="*/ 22179 h 82005"/>
                <a:gd name="connsiteX5" fmla="*/ 24001 w 156844"/>
                <a:gd name="connsiteY5" fmla="*/ 22179 h 82005"/>
                <a:gd name="connsiteX6" fmla="*/ 20826 w 156844"/>
                <a:gd name="connsiteY6" fmla="*/ 24719 h 82005"/>
                <a:gd name="connsiteX7" fmla="*/ 20826 w 156844"/>
                <a:gd name="connsiteY7" fmla="*/ 57104 h 82005"/>
                <a:gd name="connsiteX8" fmla="*/ 32890 w 156844"/>
                <a:gd name="connsiteY8" fmla="*/ 59009 h 82005"/>
                <a:gd name="connsiteX9" fmla="*/ 154810 w 156844"/>
                <a:gd name="connsiteY9" fmla="*/ 59009 h 82005"/>
                <a:gd name="connsiteX10" fmla="*/ 154810 w 156844"/>
                <a:gd name="connsiteY10" fmla="*/ 80599 h 82005"/>
                <a:gd name="connsiteX11" fmla="*/ 26540 w 156844"/>
                <a:gd name="connsiteY11" fmla="*/ 81234 h 82005"/>
                <a:gd name="connsiteX12" fmla="*/ -765 w 156844"/>
                <a:gd name="connsiteY12" fmla="*/ 68534 h 82005"/>
                <a:gd name="connsiteX13" fmla="*/ -2035 w 156844"/>
                <a:gd name="connsiteY13" fmla="*/ 38689 h 82005"/>
                <a:gd name="connsiteX14" fmla="*/ -130 w 156844"/>
                <a:gd name="connsiteY14" fmla="*/ 12019 h 82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844" h="82005">
                  <a:moveTo>
                    <a:pt x="-130" y="12019"/>
                  </a:moveTo>
                  <a:lnTo>
                    <a:pt x="-130" y="12019"/>
                  </a:lnTo>
                  <a:cubicBezTo>
                    <a:pt x="3679" y="3764"/>
                    <a:pt x="13204" y="-681"/>
                    <a:pt x="21460" y="-681"/>
                  </a:cubicBezTo>
                  <a:cubicBezTo>
                    <a:pt x="65910" y="-681"/>
                    <a:pt x="110360" y="-681"/>
                    <a:pt x="154810" y="-681"/>
                  </a:cubicBezTo>
                  <a:cubicBezTo>
                    <a:pt x="154810" y="6939"/>
                    <a:pt x="154810" y="14559"/>
                    <a:pt x="154810" y="22179"/>
                  </a:cubicBezTo>
                  <a:cubicBezTo>
                    <a:pt x="110995" y="22179"/>
                    <a:pt x="67815" y="21544"/>
                    <a:pt x="24001" y="22179"/>
                  </a:cubicBezTo>
                  <a:cubicBezTo>
                    <a:pt x="23365" y="22814"/>
                    <a:pt x="21460" y="24084"/>
                    <a:pt x="20826" y="24719"/>
                  </a:cubicBezTo>
                  <a:cubicBezTo>
                    <a:pt x="20190" y="35514"/>
                    <a:pt x="20826" y="46309"/>
                    <a:pt x="20826" y="57104"/>
                  </a:cubicBezTo>
                  <a:cubicBezTo>
                    <a:pt x="24635" y="57739"/>
                    <a:pt x="28445" y="59009"/>
                    <a:pt x="32890" y="59009"/>
                  </a:cubicBezTo>
                  <a:cubicBezTo>
                    <a:pt x="73529" y="59009"/>
                    <a:pt x="114170" y="59009"/>
                    <a:pt x="154810" y="59009"/>
                  </a:cubicBezTo>
                  <a:cubicBezTo>
                    <a:pt x="154810" y="65994"/>
                    <a:pt x="154810" y="73614"/>
                    <a:pt x="154810" y="80599"/>
                  </a:cubicBezTo>
                  <a:cubicBezTo>
                    <a:pt x="112265" y="81869"/>
                    <a:pt x="69720" y="80599"/>
                    <a:pt x="26540" y="81234"/>
                  </a:cubicBezTo>
                  <a:cubicBezTo>
                    <a:pt x="16379" y="81869"/>
                    <a:pt x="3045" y="79329"/>
                    <a:pt x="-765" y="68534"/>
                  </a:cubicBezTo>
                  <a:cubicBezTo>
                    <a:pt x="-2671" y="59009"/>
                    <a:pt x="-1399" y="48849"/>
                    <a:pt x="-2035" y="38689"/>
                  </a:cubicBezTo>
                  <a:cubicBezTo>
                    <a:pt x="-1399" y="30434"/>
                    <a:pt x="-2671" y="20909"/>
                    <a:pt x="-130" y="12019"/>
                  </a:cubicBezTo>
                  <a:close/>
                </a:path>
              </a:pathLst>
            </a:custGeom>
            <a:solidFill>
              <a:srgbClr val="002733"/>
            </a:solidFill>
            <a:ln w="6350" cap="flat">
              <a:noFill/>
              <a:prstDash val="solid"/>
              <a:miter/>
            </a:ln>
          </p:spPr>
          <p:txBody>
            <a:bodyPr rtlCol="0" anchor="ctr"/>
            <a:lstStyle/>
            <a:p>
              <a:endParaRPr lang="en-GB"/>
            </a:p>
          </p:txBody>
        </p:sp>
        <p:sp>
          <p:nvSpPr>
            <p:cNvPr id="267" name="Freeform 266">
              <a:extLst>
                <a:ext uri="{FF2B5EF4-FFF2-40B4-BE49-F238E27FC236}">
                  <a16:creationId xmlns:a16="http://schemas.microsoft.com/office/drawing/2014/main" id="{D1C99D49-C1B8-F407-6ED1-1900F54B0881}"/>
                </a:ext>
              </a:extLst>
            </p:cNvPr>
            <p:cNvSpPr/>
            <p:nvPr/>
          </p:nvSpPr>
          <p:spPr>
            <a:xfrm>
              <a:off x="9011876" y="2444115"/>
              <a:ext cx="160063" cy="82733"/>
            </a:xfrm>
            <a:custGeom>
              <a:avLst/>
              <a:gdLst>
                <a:gd name="connsiteX0" fmla="*/ -1991 w 160063"/>
                <a:gd name="connsiteY0" fmla="*/ 61549 h 82733"/>
                <a:gd name="connsiteX1" fmla="*/ -1991 w 160063"/>
                <a:gd name="connsiteY1" fmla="*/ 61549 h 82733"/>
                <a:gd name="connsiteX2" fmla="*/ -1991 w 160063"/>
                <a:gd name="connsiteY2" fmla="*/ -681 h 82733"/>
                <a:gd name="connsiteX3" fmla="*/ 25950 w 160063"/>
                <a:gd name="connsiteY3" fmla="*/ -681 h 82733"/>
                <a:gd name="connsiteX4" fmla="*/ 26584 w 160063"/>
                <a:gd name="connsiteY4" fmla="*/ 59009 h 82733"/>
                <a:gd name="connsiteX5" fmla="*/ 129453 w 160063"/>
                <a:gd name="connsiteY5" fmla="*/ 59009 h 82733"/>
                <a:gd name="connsiteX6" fmla="*/ 130089 w 160063"/>
                <a:gd name="connsiteY6" fmla="*/ -681 h 82733"/>
                <a:gd name="connsiteX7" fmla="*/ 158028 w 160063"/>
                <a:gd name="connsiteY7" fmla="*/ -681 h 82733"/>
                <a:gd name="connsiteX8" fmla="*/ 158028 w 160063"/>
                <a:gd name="connsiteY8" fmla="*/ 61549 h 82733"/>
                <a:gd name="connsiteX9" fmla="*/ 136439 w 160063"/>
                <a:gd name="connsiteY9" fmla="*/ 81869 h 82733"/>
                <a:gd name="connsiteX10" fmla="*/ 39919 w 160063"/>
                <a:gd name="connsiteY10" fmla="*/ 81869 h 82733"/>
                <a:gd name="connsiteX11" fmla="*/ 11978 w 160063"/>
                <a:gd name="connsiteY11" fmla="*/ 79964 h 82733"/>
                <a:gd name="connsiteX12" fmla="*/ -1991 w 160063"/>
                <a:gd name="connsiteY12" fmla="*/ 61549 h 8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063" h="82733">
                  <a:moveTo>
                    <a:pt x="-1991" y="61549"/>
                  </a:moveTo>
                  <a:lnTo>
                    <a:pt x="-1991" y="61549"/>
                  </a:lnTo>
                  <a:cubicBezTo>
                    <a:pt x="-1991" y="41229"/>
                    <a:pt x="-1991" y="20274"/>
                    <a:pt x="-1991" y="-681"/>
                  </a:cubicBezTo>
                  <a:cubicBezTo>
                    <a:pt x="7534" y="-681"/>
                    <a:pt x="16425" y="-681"/>
                    <a:pt x="25950" y="-681"/>
                  </a:cubicBezTo>
                  <a:cubicBezTo>
                    <a:pt x="26584" y="19004"/>
                    <a:pt x="25314" y="39324"/>
                    <a:pt x="26584" y="59009"/>
                  </a:cubicBezTo>
                  <a:cubicBezTo>
                    <a:pt x="60875" y="59644"/>
                    <a:pt x="95164" y="59009"/>
                    <a:pt x="129453" y="59009"/>
                  </a:cubicBezTo>
                  <a:cubicBezTo>
                    <a:pt x="130725" y="39324"/>
                    <a:pt x="130089" y="19004"/>
                    <a:pt x="130089" y="-681"/>
                  </a:cubicBezTo>
                  <a:cubicBezTo>
                    <a:pt x="139614" y="-681"/>
                    <a:pt x="148503" y="-681"/>
                    <a:pt x="158028" y="-681"/>
                  </a:cubicBezTo>
                  <a:cubicBezTo>
                    <a:pt x="158028" y="19639"/>
                    <a:pt x="158028" y="40594"/>
                    <a:pt x="158028" y="61549"/>
                  </a:cubicBezTo>
                  <a:cubicBezTo>
                    <a:pt x="158028" y="72344"/>
                    <a:pt x="147234" y="81869"/>
                    <a:pt x="136439" y="81869"/>
                  </a:cubicBezTo>
                  <a:cubicBezTo>
                    <a:pt x="104053" y="82504"/>
                    <a:pt x="72303" y="81234"/>
                    <a:pt x="39919" y="81869"/>
                  </a:cubicBezTo>
                  <a:cubicBezTo>
                    <a:pt x="30394" y="81869"/>
                    <a:pt x="20869" y="82504"/>
                    <a:pt x="11978" y="79964"/>
                  </a:cubicBezTo>
                  <a:cubicBezTo>
                    <a:pt x="3725" y="77424"/>
                    <a:pt x="-2625" y="70439"/>
                    <a:pt x="-1991" y="61549"/>
                  </a:cubicBezTo>
                  <a:close/>
                </a:path>
              </a:pathLst>
            </a:custGeom>
            <a:solidFill>
              <a:srgbClr val="002733"/>
            </a:solidFill>
            <a:ln w="6350" cap="flat">
              <a:noFill/>
              <a:prstDash val="solid"/>
              <a:miter/>
            </a:ln>
          </p:spPr>
          <p:txBody>
            <a:bodyPr rtlCol="0" anchor="ctr"/>
            <a:lstStyle/>
            <a:p>
              <a:endParaRPr lang="en-GB"/>
            </a:p>
          </p:txBody>
        </p:sp>
        <p:sp>
          <p:nvSpPr>
            <p:cNvPr id="268" name="Freeform 267">
              <a:extLst>
                <a:ext uri="{FF2B5EF4-FFF2-40B4-BE49-F238E27FC236}">
                  <a16:creationId xmlns:a16="http://schemas.microsoft.com/office/drawing/2014/main" id="{ED37E8DA-2AA0-CC5B-98BC-CD720CDAAE2D}"/>
                </a:ext>
              </a:extLst>
            </p:cNvPr>
            <p:cNvSpPr/>
            <p:nvPr/>
          </p:nvSpPr>
          <p:spPr>
            <a:xfrm>
              <a:off x="9371330" y="2444750"/>
              <a:ext cx="158114" cy="83026"/>
            </a:xfrm>
            <a:custGeom>
              <a:avLst/>
              <a:gdLst>
                <a:gd name="connsiteX0" fmla="*/ 25904 w 158114"/>
                <a:gd name="connsiteY0" fmla="*/ 17099 h 83026"/>
                <a:gd name="connsiteX1" fmla="*/ 25904 w 158114"/>
                <a:gd name="connsiteY1" fmla="*/ 17099 h 83026"/>
                <a:gd name="connsiteX2" fmla="*/ 25904 w 158114"/>
                <a:gd name="connsiteY2" fmla="*/ 37419 h 83026"/>
                <a:gd name="connsiteX3" fmla="*/ 128774 w 158114"/>
                <a:gd name="connsiteY3" fmla="*/ 37419 h 83026"/>
                <a:gd name="connsiteX4" fmla="*/ 132585 w 158114"/>
                <a:gd name="connsiteY4" fmla="*/ 34879 h 83026"/>
                <a:gd name="connsiteX5" fmla="*/ 128774 w 158114"/>
                <a:gd name="connsiteY5" fmla="*/ 17734 h 83026"/>
                <a:gd name="connsiteX6" fmla="*/ 25904 w 158114"/>
                <a:gd name="connsiteY6" fmla="*/ 17099 h 83026"/>
                <a:gd name="connsiteX7" fmla="*/ -765 w 158114"/>
                <a:gd name="connsiteY7" fmla="*/ -681 h 83026"/>
                <a:gd name="connsiteX8" fmla="*/ -765 w 158114"/>
                <a:gd name="connsiteY8" fmla="*/ -681 h 83026"/>
                <a:gd name="connsiteX9" fmla="*/ 131315 w 158114"/>
                <a:gd name="connsiteY9" fmla="*/ -681 h 83026"/>
                <a:gd name="connsiteX10" fmla="*/ 154174 w 158114"/>
                <a:gd name="connsiteY10" fmla="*/ 13924 h 83026"/>
                <a:gd name="connsiteX11" fmla="*/ 154174 w 158114"/>
                <a:gd name="connsiteY11" fmla="*/ 41864 h 83026"/>
                <a:gd name="connsiteX12" fmla="*/ 139570 w 158114"/>
                <a:gd name="connsiteY12" fmla="*/ 57104 h 83026"/>
                <a:gd name="connsiteX13" fmla="*/ 156079 w 158114"/>
                <a:gd name="connsiteY13" fmla="*/ 81234 h 83026"/>
                <a:gd name="connsiteX14" fmla="*/ 122424 w 158114"/>
                <a:gd name="connsiteY14" fmla="*/ 74884 h 83026"/>
                <a:gd name="connsiteX15" fmla="*/ 111629 w 158114"/>
                <a:gd name="connsiteY15" fmla="*/ 57104 h 83026"/>
                <a:gd name="connsiteX16" fmla="*/ 23999 w 158114"/>
                <a:gd name="connsiteY16" fmla="*/ 57104 h 83026"/>
                <a:gd name="connsiteX17" fmla="*/ 23999 w 158114"/>
                <a:gd name="connsiteY17" fmla="*/ 81234 h 83026"/>
                <a:gd name="connsiteX18" fmla="*/ -2035 w 158114"/>
                <a:gd name="connsiteY18" fmla="*/ 81234 h 83026"/>
                <a:gd name="connsiteX19" fmla="*/ -765 w 158114"/>
                <a:gd name="connsiteY19" fmla="*/ -681 h 8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8114" h="83026">
                  <a:moveTo>
                    <a:pt x="25904" y="17099"/>
                  </a:moveTo>
                  <a:lnTo>
                    <a:pt x="25904" y="17099"/>
                  </a:lnTo>
                  <a:cubicBezTo>
                    <a:pt x="25904" y="24084"/>
                    <a:pt x="25904" y="30434"/>
                    <a:pt x="25904" y="37419"/>
                  </a:cubicBezTo>
                  <a:cubicBezTo>
                    <a:pt x="60195" y="37419"/>
                    <a:pt x="95120" y="38054"/>
                    <a:pt x="128774" y="37419"/>
                  </a:cubicBezTo>
                  <a:cubicBezTo>
                    <a:pt x="130045" y="36784"/>
                    <a:pt x="131315" y="35514"/>
                    <a:pt x="132585" y="34879"/>
                  </a:cubicBezTo>
                  <a:cubicBezTo>
                    <a:pt x="131949" y="29164"/>
                    <a:pt x="135760" y="20909"/>
                    <a:pt x="128774" y="17734"/>
                  </a:cubicBezTo>
                  <a:cubicBezTo>
                    <a:pt x="93849" y="16464"/>
                    <a:pt x="60195" y="17734"/>
                    <a:pt x="25904" y="17099"/>
                  </a:cubicBezTo>
                  <a:close/>
                  <a:moveTo>
                    <a:pt x="-765" y="-681"/>
                  </a:moveTo>
                  <a:lnTo>
                    <a:pt x="-765" y="-681"/>
                  </a:lnTo>
                  <a:cubicBezTo>
                    <a:pt x="43049" y="-681"/>
                    <a:pt x="87499" y="-681"/>
                    <a:pt x="131315" y="-681"/>
                  </a:cubicBezTo>
                  <a:cubicBezTo>
                    <a:pt x="140840" y="-681"/>
                    <a:pt x="152270" y="4399"/>
                    <a:pt x="154174" y="13924"/>
                  </a:cubicBezTo>
                  <a:cubicBezTo>
                    <a:pt x="154810" y="23449"/>
                    <a:pt x="154810" y="32339"/>
                    <a:pt x="154174" y="41864"/>
                  </a:cubicBezTo>
                  <a:cubicBezTo>
                    <a:pt x="152904" y="49484"/>
                    <a:pt x="145920" y="53929"/>
                    <a:pt x="139570" y="57104"/>
                  </a:cubicBezTo>
                  <a:cubicBezTo>
                    <a:pt x="145285" y="64724"/>
                    <a:pt x="150999" y="72979"/>
                    <a:pt x="156079" y="81234"/>
                  </a:cubicBezTo>
                  <a:cubicBezTo>
                    <a:pt x="145285" y="80599"/>
                    <a:pt x="128774" y="86949"/>
                    <a:pt x="122424" y="74884"/>
                  </a:cubicBezTo>
                  <a:cubicBezTo>
                    <a:pt x="118615" y="69169"/>
                    <a:pt x="115440" y="62819"/>
                    <a:pt x="111629" y="57104"/>
                  </a:cubicBezTo>
                  <a:cubicBezTo>
                    <a:pt x="82420" y="57104"/>
                    <a:pt x="53210" y="57104"/>
                    <a:pt x="23999" y="57104"/>
                  </a:cubicBezTo>
                  <a:cubicBezTo>
                    <a:pt x="23999" y="65359"/>
                    <a:pt x="23999" y="72979"/>
                    <a:pt x="23999" y="81234"/>
                  </a:cubicBezTo>
                  <a:cubicBezTo>
                    <a:pt x="15110" y="81869"/>
                    <a:pt x="6854" y="81869"/>
                    <a:pt x="-2035" y="81234"/>
                  </a:cubicBezTo>
                  <a:cubicBezTo>
                    <a:pt x="-765" y="54564"/>
                    <a:pt x="-765" y="26624"/>
                    <a:pt x="-765" y="-681"/>
                  </a:cubicBezTo>
                  <a:close/>
                </a:path>
              </a:pathLst>
            </a:custGeom>
            <a:solidFill>
              <a:srgbClr val="002733"/>
            </a:solidFill>
            <a:ln w="6350" cap="flat">
              <a:noFill/>
              <a:prstDash val="solid"/>
              <a:miter/>
            </a:ln>
          </p:spPr>
          <p:txBody>
            <a:bodyPr rtlCol="0" anchor="ctr"/>
            <a:lstStyle/>
            <a:p>
              <a:endParaRPr lang="en-GB"/>
            </a:p>
          </p:txBody>
        </p:sp>
        <p:sp>
          <p:nvSpPr>
            <p:cNvPr id="269" name="Freeform 268">
              <a:extLst>
                <a:ext uri="{FF2B5EF4-FFF2-40B4-BE49-F238E27FC236}">
                  <a16:creationId xmlns:a16="http://schemas.microsoft.com/office/drawing/2014/main" id="{801B681C-56D8-0396-67A2-D9F0554DBA32}"/>
                </a:ext>
              </a:extLst>
            </p:cNvPr>
            <p:cNvSpPr/>
            <p:nvPr/>
          </p:nvSpPr>
          <p:spPr>
            <a:xfrm>
              <a:off x="9552127" y="2442812"/>
              <a:ext cx="157305" cy="84487"/>
            </a:xfrm>
            <a:custGeom>
              <a:avLst/>
              <a:gdLst>
                <a:gd name="connsiteX0" fmla="*/ 24177 w 157305"/>
                <a:gd name="connsiteY0" fmla="*/ 18401 h 84487"/>
                <a:gd name="connsiteX1" fmla="*/ 24177 w 157305"/>
                <a:gd name="connsiteY1" fmla="*/ 18401 h 84487"/>
                <a:gd name="connsiteX2" fmla="*/ 24177 w 157305"/>
                <a:gd name="connsiteY2" fmla="*/ 37451 h 84487"/>
                <a:gd name="connsiteX3" fmla="*/ 130223 w 157305"/>
                <a:gd name="connsiteY3" fmla="*/ 37451 h 84487"/>
                <a:gd name="connsiteX4" fmla="*/ 130223 w 157305"/>
                <a:gd name="connsiteY4" fmla="*/ 18401 h 84487"/>
                <a:gd name="connsiteX5" fmla="*/ 24177 w 157305"/>
                <a:gd name="connsiteY5" fmla="*/ 18401 h 84487"/>
                <a:gd name="connsiteX6" fmla="*/ -1857 w 157305"/>
                <a:gd name="connsiteY6" fmla="*/ 20306 h 84487"/>
                <a:gd name="connsiteX7" fmla="*/ -1857 w 157305"/>
                <a:gd name="connsiteY7" fmla="*/ 20306 h 84487"/>
                <a:gd name="connsiteX8" fmla="*/ 22908 w 157305"/>
                <a:gd name="connsiteY8" fmla="*/ -649 h 84487"/>
                <a:gd name="connsiteX9" fmla="*/ 154988 w 157305"/>
                <a:gd name="connsiteY9" fmla="*/ -649 h 84487"/>
                <a:gd name="connsiteX10" fmla="*/ 154988 w 157305"/>
                <a:gd name="connsiteY10" fmla="*/ 83171 h 84487"/>
                <a:gd name="connsiteX11" fmla="*/ 132127 w 157305"/>
                <a:gd name="connsiteY11" fmla="*/ 83171 h 84487"/>
                <a:gd name="connsiteX12" fmla="*/ 130858 w 157305"/>
                <a:gd name="connsiteY12" fmla="*/ 58406 h 84487"/>
                <a:gd name="connsiteX13" fmla="*/ 24177 w 157305"/>
                <a:gd name="connsiteY13" fmla="*/ 58406 h 84487"/>
                <a:gd name="connsiteX14" fmla="*/ 24177 w 157305"/>
                <a:gd name="connsiteY14" fmla="*/ 83806 h 84487"/>
                <a:gd name="connsiteX15" fmla="*/ -1223 w 157305"/>
                <a:gd name="connsiteY15" fmla="*/ 83806 h 84487"/>
                <a:gd name="connsiteX16" fmla="*/ -1857 w 157305"/>
                <a:gd name="connsiteY16" fmla="*/ 20306 h 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05" h="84487">
                  <a:moveTo>
                    <a:pt x="24177" y="18401"/>
                  </a:moveTo>
                  <a:lnTo>
                    <a:pt x="24177" y="18401"/>
                  </a:lnTo>
                  <a:cubicBezTo>
                    <a:pt x="24177" y="24751"/>
                    <a:pt x="24177" y="31101"/>
                    <a:pt x="24177" y="37451"/>
                  </a:cubicBezTo>
                  <a:cubicBezTo>
                    <a:pt x="59738" y="37451"/>
                    <a:pt x="94663" y="37451"/>
                    <a:pt x="130223" y="37451"/>
                  </a:cubicBezTo>
                  <a:cubicBezTo>
                    <a:pt x="130223" y="31101"/>
                    <a:pt x="130223" y="24751"/>
                    <a:pt x="130223" y="18401"/>
                  </a:cubicBezTo>
                  <a:cubicBezTo>
                    <a:pt x="94663" y="18401"/>
                    <a:pt x="59102" y="17766"/>
                    <a:pt x="24177" y="18401"/>
                  </a:cubicBezTo>
                  <a:close/>
                  <a:moveTo>
                    <a:pt x="-1857" y="20306"/>
                  </a:moveTo>
                  <a:lnTo>
                    <a:pt x="-1857" y="20306"/>
                  </a:lnTo>
                  <a:cubicBezTo>
                    <a:pt x="-2492" y="7606"/>
                    <a:pt x="10843" y="-1284"/>
                    <a:pt x="22908" y="-649"/>
                  </a:cubicBezTo>
                  <a:cubicBezTo>
                    <a:pt x="66723" y="-649"/>
                    <a:pt x="111173" y="-649"/>
                    <a:pt x="154988" y="-649"/>
                  </a:cubicBezTo>
                  <a:cubicBezTo>
                    <a:pt x="154988" y="27291"/>
                    <a:pt x="155623" y="55231"/>
                    <a:pt x="154988" y="83171"/>
                  </a:cubicBezTo>
                  <a:cubicBezTo>
                    <a:pt x="147368" y="83171"/>
                    <a:pt x="139748" y="84441"/>
                    <a:pt x="132127" y="83171"/>
                  </a:cubicBezTo>
                  <a:cubicBezTo>
                    <a:pt x="128318" y="76187"/>
                    <a:pt x="131493" y="66662"/>
                    <a:pt x="130858" y="58406"/>
                  </a:cubicBezTo>
                  <a:cubicBezTo>
                    <a:pt x="95298" y="58406"/>
                    <a:pt x="59738" y="58406"/>
                    <a:pt x="24177" y="58406"/>
                  </a:cubicBezTo>
                  <a:cubicBezTo>
                    <a:pt x="24177" y="66662"/>
                    <a:pt x="24177" y="74916"/>
                    <a:pt x="24177" y="83806"/>
                  </a:cubicBezTo>
                  <a:cubicBezTo>
                    <a:pt x="15288" y="83806"/>
                    <a:pt x="7033" y="83806"/>
                    <a:pt x="-1223" y="83806"/>
                  </a:cubicBezTo>
                  <a:cubicBezTo>
                    <a:pt x="-1223" y="62216"/>
                    <a:pt x="-2492" y="41262"/>
                    <a:pt x="-1857" y="20306"/>
                  </a:cubicBezTo>
                  <a:close/>
                </a:path>
              </a:pathLst>
            </a:custGeom>
            <a:solidFill>
              <a:srgbClr val="002733"/>
            </a:solidFill>
            <a:ln w="6350" cap="flat">
              <a:noFill/>
              <a:prstDash val="solid"/>
              <a:miter/>
            </a:ln>
          </p:spPr>
          <p:txBody>
            <a:bodyPr rtlCol="0" anchor="ctr"/>
            <a:lstStyle/>
            <a:p>
              <a:endParaRPr lang="en-GB"/>
            </a:p>
          </p:txBody>
        </p:sp>
      </p:grpSp>
      <p:grpSp>
        <p:nvGrpSpPr>
          <p:cNvPr id="277" name="Graphic 79">
            <a:extLst>
              <a:ext uri="{FF2B5EF4-FFF2-40B4-BE49-F238E27FC236}">
                <a16:creationId xmlns:a16="http://schemas.microsoft.com/office/drawing/2014/main" id="{AECF4C42-CE28-1F90-6E16-CE52F434A5FC}"/>
              </a:ext>
            </a:extLst>
          </p:cNvPr>
          <p:cNvGrpSpPr/>
          <p:nvPr/>
        </p:nvGrpSpPr>
        <p:grpSpPr>
          <a:xfrm>
            <a:off x="7356356" y="3079750"/>
            <a:ext cx="655274" cy="692528"/>
            <a:chOff x="7356356" y="3079750"/>
            <a:chExt cx="655274" cy="692528"/>
          </a:xfrm>
          <a:solidFill>
            <a:srgbClr val="002733"/>
          </a:solidFill>
        </p:grpSpPr>
        <p:sp>
          <p:nvSpPr>
            <p:cNvPr id="278" name="Freeform 277">
              <a:extLst>
                <a:ext uri="{FF2B5EF4-FFF2-40B4-BE49-F238E27FC236}">
                  <a16:creationId xmlns:a16="http://schemas.microsoft.com/office/drawing/2014/main" id="{201D5F88-C930-CD9E-23D5-962F544FEB96}"/>
                </a:ext>
              </a:extLst>
            </p:cNvPr>
            <p:cNvSpPr/>
            <p:nvPr/>
          </p:nvSpPr>
          <p:spPr>
            <a:xfrm>
              <a:off x="7356356" y="3079750"/>
              <a:ext cx="655274" cy="692528"/>
            </a:xfrm>
            <a:custGeom>
              <a:avLst/>
              <a:gdLst>
                <a:gd name="connsiteX0" fmla="*/ 323852 w 655274"/>
                <a:gd name="connsiteY0" fmla="*/ -1072 h 692528"/>
                <a:gd name="connsiteX1" fmla="*/ 323852 w 655274"/>
                <a:gd name="connsiteY1" fmla="*/ -1072 h 692528"/>
                <a:gd name="connsiteX2" fmla="*/ 579123 w 655274"/>
                <a:gd name="connsiteY2" fmla="*/ 50363 h 692528"/>
                <a:gd name="connsiteX3" fmla="*/ 615952 w 655274"/>
                <a:gd name="connsiteY3" fmla="*/ 70683 h 692528"/>
                <a:gd name="connsiteX4" fmla="*/ 650877 w 655274"/>
                <a:gd name="connsiteY4" fmla="*/ 138628 h 692528"/>
                <a:gd name="connsiteX5" fmla="*/ 648338 w 655274"/>
                <a:gd name="connsiteY5" fmla="*/ 205303 h 692528"/>
                <a:gd name="connsiteX6" fmla="*/ 610238 w 655274"/>
                <a:gd name="connsiteY6" fmla="*/ 357068 h 692528"/>
                <a:gd name="connsiteX7" fmla="*/ 393702 w 655274"/>
                <a:gd name="connsiteY7" fmla="*/ 661868 h 692528"/>
                <a:gd name="connsiteX8" fmla="*/ 356873 w 655274"/>
                <a:gd name="connsiteY8" fmla="*/ 685998 h 692528"/>
                <a:gd name="connsiteX9" fmla="*/ 273688 w 655274"/>
                <a:gd name="connsiteY9" fmla="*/ 675203 h 692528"/>
                <a:gd name="connsiteX10" fmla="*/ 211457 w 655274"/>
                <a:gd name="connsiteY10" fmla="*/ 620593 h 692528"/>
                <a:gd name="connsiteX11" fmla="*/ 17148 w 655274"/>
                <a:gd name="connsiteY11" fmla="*/ 285313 h 692528"/>
                <a:gd name="connsiteX12" fmla="*/ -1902 w 655274"/>
                <a:gd name="connsiteY12" fmla="*/ 178633 h 692528"/>
                <a:gd name="connsiteX13" fmla="*/ 6988 w 655274"/>
                <a:gd name="connsiteY13" fmla="*/ 105608 h 692528"/>
                <a:gd name="connsiteX14" fmla="*/ 53977 w 655274"/>
                <a:gd name="connsiteY14" fmla="*/ 57348 h 692528"/>
                <a:gd name="connsiteX15" fmla="*/ 195582 w 655274"/>
                <a:gd name="connsiteY15" fmla="*/ 10358 h 692528"/>
                <a:gd name="connsiteX16" fmla="*/ 323852 w 655274"/>
                <a:gd name="connsiteY16" fmla="*/ -1072 h 692528"/>
                <a:gd name="connsiteX17" fmla="*/ 608968 w 655274"/>
                <a:gd name="connsiteY17" fmla="*/ 283408 h 692528"/>
                <a:gd name="connsiteX18" fmla="*/ 608968 w 655274"/>
                <a:gd name="connsiteY18" fmla="*/ 283408 h 692528"/>
                <a:gd name="connsiteX19" fmla="*/ 605157 w 655274"/>
                <a:gd name="connsiteY19" fmla="*/ 283408 h 692528"/>
                <a:gd name="connsiteX20" fmla="*/ 532768 w 655274"/>
                <a:gd name="connsiteY20" fmla="*/ 287853 h 692528"/>
                <a:gd name="connsiteX21" fmla="*/ 420373 w 655274"/>
                <a:gd name="connsiteY21" fmla="*/ 303093 h 692528"/>
                <a:gd name="connsiteX22" fmla="*/ 283848 w 655274"/>
                <a:gd name="connsiteY22" fmla="*/ 336113 h 692528"/>
                <a:gd name="connsiteX23" fmla="*/ 178438 w 655274"/>
                <a:gd name="connsiteY23" fmla="*/ 385008 h 692528"/>
                <a:gd name="connsiteX24" fmla="*/ 134623 w 655274"/>
                <a:gd name="connsiteY24" fmla="*/ 425013 h 692528"/>
                <a:gd name="connsiteX25" fmla="*/ 132082 w 655274"/>
                <a:gd name="connsiteY25" fmla="*/ 491053 h 692528"/>
                <a:gd name="connsiteX26" fmla="*/ 213363 w 655274"/>
                <a:gd name="connsiteY26" fmla="*/ 592653 h 692528"/>
                <a:gd name="connsiteX27" fmla="*/ 285752 w 655274"/>
                <a:gd name="connsiteY27" fmla="*/ 656788 h 692528"/>
                <a:gd name="connsiteX28" fmla="*/ 340363 w 655274"/>
                <a:gd name="connsiteY28" fmla="*/ 666313 h 692528"/>
                <a:gd name="connsiteX29" fmla="*/ 373382 w 655274"/>
                <a:gd name="connsiteY29" fmla="*/ 647898 h 692528"/>
                <a:gd name="connsiteX30" fmla="*/ 598173 w 655274"/>
                <a:gd name="connsiteY30" fmla="*/ 318968 h 692528"/>
                <a:gd name="connsiteX31" fmla="*/ 608968 w 655274"/>
                <a:gd name="connsiteY31" fmla="*/ 283408 h 692528"/>
                <a:gd name="connsiteX32" fmla="*/ 615318 w 655274"/>
                <a:gd name="connsiteY32" fmla="*/ 254833 h 692528"/>
                <a:gd name="connsiteX33" fmla="*/ 615318 w 655274"/>
                <a:gd name="connsiteY33" fmla="*/ 254833 h 692528"/>
                <a:gd name="connsiteX34" fmla="*/ 615952 w 655274"/>
                <a:gd name="connsiteY34" fmla="*/ 250388 h 692528"/>
                <a:gd name="connsiteX35" fmla="*/ 625477 w 655274"/>
                <a:gd name="connsiteY35" fmla="*/ 193238 h 692528"/>
                <a:gd name="connsiteX36" fmla="*/ 626113 w 655274"/>
                <a:gd name="connsiteY36" fmla="*/ 139898 h 692528"/>
                <a:gd name="connsiteX37" fmla="*/ 580393 w 655274"/>
                <a:gd name="connsiteY37" fmla="*/ 76398 h 692528"/>
                <a:gd name="connsiteX38" fmla="*/ 358777 w 655274"/>
                <a:gd name="connsiteY38" fmla="*/ 21788 h 692528"/>
                <a:gd name="connsiteX39" fmla="*/ 219713 w 655274"/>
                <a:gd name="connsiteY39" fmla="*/ 28773 h 692528"/>
                <a:gd name="connsiteX40" fmla="*/ 62868 w 655274"/>
                <a:gd name="connsiteY40" fmla="*/ 77033 h 692528"/>
                <a:gd name="connsiteX41" fmla="*/ 20957 w 655274"/>
                <a:gd name="connsiteY41" fmla="*/ 131643 h 692528"/>
                <a:gd name="connsiteX42" fmla="*/ 20323 w 655274"/>
                <a:gd name="connsiteY42" fmla="*/ 189428 h 692528"/>
                <a:gd name="connsiteX43" fmla="*/ 44452 w 655274"/>
                <a:gd name="connsiteY43" fmla="*/ 304998 h 692528"/>
                <a:gd name="connsiteX44" fmla="*/ 49532 w 655274"/>
                <a:gd name="connsiteY44" fmla="*/ 322778 h 692528"/>
                <a:gd name="connsiteX45" fmla="*/ 95252 w 655274"/>
                <a:gd name="connsiteY45" fmla="*/ 296108 h 692528"/>
                <a:gd name="connsiteX46" fmla="*/ 123193 w 655274"/>
                <a:gd name="connsiteY46" fmla="*/ 287218 h 692528"/>
                <a:gd name="connsiteX47" fmla="*/ 281943 w 655274"/>
                <a:gd name="connsiteY47" fmla="*/ 264358 h 692528"/>
                <a:gd name="connsiteX48" fmla="*/ 384813 w 655274"/>
                <a:gd name="connsiteY48" fmla="*/ 258008 h 692528"/>
                <a:gd name="connsiteX49" fmla="*/ 601348 w 655274"/>
                <a:gd name="connsiteY49" fmla="*/ 254198 h 692528"/>
                <a:gd name="connsiteX50" fmla="*/ 615318 w 655274"/>
                <a:gd name="connsiteY50" fmla="*/ 254833 h 692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55274" h="692528">
                  <a:moveTo>
                    <a:pt x="323852" y="-1072"/>
                  </a:moveTo>
                  <a:lnTo>
                    <a:pt x="323852" y="-1072"/>
                  </a:lnTo>
                  <a:cubicBezTo>
                    <a:pt x="412118" y="-1072"/>
                    <a:pt x="497843" y="14168"/>
                    <a:pt x="579123" y="50363"/>
                  </a:cubicBezTo>
                  <a:cubicBezTo>
                    <a:pt x="591823" y="55443"/>
                    <a:pt x="603888" y="61793"/>
                    <a:pt x="615952" y="70683"/>
                  </a:cubicBezTo>
                  <a:cubicBezTo>
                    <a:pt x="636273" y="88463"/>
                    <a:pt x="647068" y="111958"/>
                    <a:pt x="650877" y="138628"/>
                  </a:cubicBezTo>
                  <a:cubicBezTo>
                    <a:pt x="654688" y="160853"/>
                    <a:pt x="651513" y="183078"/>
                    <a:pt x="648338" y="205303"/>
                  </a:cubicBezTo>
                  <a:cubicBezTo>
                    <a:pt x="641352" y="256738"/>
                    <a:pt x="628652" y="307538"/>
                    <a:pt x="610238" y="357068"/>
                  </a:cubicBezTo>
                  <a:cubicBezTo>
                    <a:pt x="563882" y="476448"/>
                    <a:pt x="493398" y="579953"/>
                    <a:pt x="393702" y="661868"/>
                  </a:cubicBezTo>
                  <a:cubicBezTo>
                    <a:pt x="382273" y="671393"/>
                    <a:pt x="371477" y="680283"/>
                    <a:pt x="356873" y="685998"/>
                  </a:cubicBezTo>
                  <a:cubicBezTo>
                    <a:pt x="327663" y="695523"/>
                    <a:pt x="299723" y="692983"/>
                    <a:pt x="273688" y="675203"/>
                  </a:cubicBezTo>
                  <a:cubicBezTo>
                    <a:pt x="251463" y="659328"/>
                    <a:pt x="231143" y="640278"/>
                    <a:pt x="211457" y="620593"/>
                  </a:cubicBezTo>
                  <a:cubicBezTo>
                    <a:pt x="116207" y="527248"/>
                    <a:pt x="51438" y="414853"/>
                    <a:pt x="17148" y="285313"/>
                  </a:cubicBezTo>
                  <a:cubicBezTo>
                    <a:pt x="8257" y="250388"/>
                    <a:pt x="1907" y="214828"/>
                    <a:pt x="-1902" y="178633"/>
                  </a:cubicBezTo>
                  <a:cubicBezTo>
                    <a:pt x="-3807" y="153868"/>
                    <a:pt x="-2537" y="129738"/>
                    <a:pt x="6988" y="105608"/>
                  </a:cubicBezTo>
                  <a:cubicBezTo>
                    <a:pt x="16513" y="84018"/>
                    <a:pt x="33023" y="68143"/>
                    <a:pt x="53977" y="57348"/>
                  </a:cubicBezTo>
                  <a:cubicBezTo>
                    <a:pt x="99698" y="35123"/>
                    <a:pt x="146688" y="19883"/>
                    <a:pt x="195582" y="10358"/>
                  </a:cubicBezTo>
                  <a:cubicBezTo>
                    <a:pt x="238127" y="1468"/>
                    <a:pt x="280673" y="-1072"/>
                    <a:pt x="323852" y="-1072"/>
                  </a:cubicBezTo>
                  <a:close/>
                  <a:moveTo>
                    <a:pt x="608968" y="283408"/>
                  </a:moveTo>
                  <a:lnTo>
                    <a:pt x="608968" y="283408"/>
                  </a:lnTo>
                  <a:cubicBezTo>
                    <a:pt x="607063" y="283408"/>
                    <a:pt x="606427" y="282773"/>
                    <a:pt x="605157" y="283408"/>
                  </a:cubicBezTo>
                  <a:cubicBezTo>
                    <a:pt x="581027" y="284043"/>
                    <a:pt x="556898" y="285313"/>
                    <a:pt x="532768" y="287853"/>
                  </a:cubicBezTo>
                  <a:cubicBezTo>
                    <a:pt x="495302" y="292298"/>
                    <a:pt x="457838" y="296743"/>
                    <a:pt x="420373" y="303093"/>
                  </a:cubicBezTo>
                  <a:cubicBezTo>
                    <a:pt x="374018" y="310078"/>
                    <a:pt x="328298" y="320873"/>
                    <a:pt x="283848" y="336113"/>
                  </a:cubicBezTo>
                  <a:cubicBezTo>
                    <a:pt x="246382" y="348813"/>
                    <a:pt x="211457" y="362783"/>
                    <a:pt x="178438" y="385008"/>
                  </a:cubicBezTo>
                  <a:cubicBezTo>
                    <a:pt x="162563" y="396438"/>
                    <a:pt x="146052" y="409138"/>
                    <a:pt x="134623" y="425013"/>
                  </a:cubicBezTo>
                  <a:cubicBezTo>
                    <a:pt x="117477" y="446603"/>
                    <a:pt x="116843" y="467558"/>
                    <a:pt x="132082" y="491053"/>
                  </a:cubicBezTo>
                  <a:cubicBezTo>
                    <a:pt x="155577" y="527883"/>
                    <a:pt x="182882" y="561538"/>
                    <a:pt x="213363" y="592653"/>
                  </a:cubicBezTo>
                  <a:cubicBezTo>
                    <a:pt x="235588" y="615513"/>
                    <a:pt x="259082" y="638373"/>
                    <a:pt x="285752" y="656788"/>
                  </a:cubicBezTo>
                  <a:cubicBezTo>
                    <a:pt x="301627" y="669488"/>
                    <a:pt x="320677" y="672028"/>
                    <a:pt x="340363" y="666313"/>
                  </a:cubicBezTo>
                  <a:cubicBezTo>
                    <a:pt x="353698" y="663773"/>
                    <a:pt x="363857" y="655518"/>
                    <a:pt x="373382" y="647898"/>
                  </a:cubicBezTo>
                  <a:cubicBezTo>
                    <a:pt x="481332" y="560268"/>
                    <a:pt x="553723" y="449143"/>
                    <a:pt x="598173" y="318968"/>
                  </a:cubicBezTo>
                  <a:cubicBezTo>
                    <a:pt x="601982" y="307538"/>
                    <a:pt x="605793" y="294838"/>
                    <a:pt x="608968" y="283408"/>
                  </a:cubicBezTo>
                  <a:close/>
                  <a:moveTo>
                    <a:pt x="615318" y="254833"/>
                  </a:moveTo>
                  <a:lnTo>
                    <a:pt x="615318" y="254833"/>
                  </a:lnTo>
                  <a:cubicBezTo>
                    <a:pt x="615952" y="252928"/>
                    <a:pt x="615952" y="252293"/>
                    <a:pt x="615952" y="250388"/>
                  </a:cubicBezTo>
                  <a:cubicBezTo>
                    <a:pt x="619763" y="231338"/>
                    <a:pt x="622938" y="212288"/>
                    <a:pt x="625477" y="193238"/>
                  </a:cubicBezTo>
                  <a:cubicBezTo>
                    <a:pt x="628018" y="175458"/>
                    <a:pt x="629923" y="157678"/>
                    <a:pt x="626113" y="139898"/>
                  </a:cubicBezTo>
                  <a:cubicBezTo>
                    <a:pt x="621668" y="110688"/>
                    <a:pt x="607063" y="89733"/>
                    <a:pt x="580393" y="76398"/>
                  </a:cubicBezTo>
                  <a:cubicBezTo>
                    <a:pt x="509907" y="43378"/>
                    <a:pt x="435613" y="25598"/>
                    <a:pt x="358777" y="21788"/>
                  </a:cubicBezTo>
                  <a:cubicBezTo>
                    <a:pt x="312423" y="19248"/>
                    <a:pt x="266068" y="21153"/>
                    <a:pt x="219713" y="28773"/>
                  </a:cubicBezTo>
                  <a:cubicBezTo>
                    <a:pt x="165102" y="37028"/>
                    <a:pt x="112398" y="52903"/>
                    <a:pt x="62868" y="77033"/>
                  </a:cubicBezTo>
                  <a:cubicBezTo>
                    <a:pt x="40643" y="88463"/>
                    <a:pt x="26038" y="106243"/>
                    <a:pt x="20957" y="131643"/>
                  </a:cubicBezTo>
                  <a:cubicBezTo>
                    <a:pt x="16513" y="151328"/>
                    <a:pt x="17148" y="169743"/>
                    <a:pt x="20323" y="189428"/>
                  </a:cubicBezTo>
                  <a:cubicBezTo>
                    <a:pt x="24768" y="228798"/>
                    <a:pt x="33023" y="266898"/>
                    <a:pt x="44452" y="304998"/>
                  </a:cubicBezTo>
                  <a:cubicBezTo>
                    <a:pt x="46357" y="310078"/>
                    <a:pt x="48263" y="316428"/>
                    <a:pt x="49532" y="322778"/>
                  </a:cubicBezTo>
                  <a:cubicBezTo>
                    <a:pt x="62232" y="309443"/>
                    <a:pt x="78107" y="302458"/>
                    <a:pt x="95252" y="296108"/>
                  </a:cubicBezTo>
                  <a:cubicBezTo>
                    <a:pt x="104143" y="292298"/>
                    <a:pt x="113032" y="289758"/>
                    <a:pt x="123193" y="287218"/>
                  </a:cubicBezTo>
                  <a:cubicBezTo>
                    <a:pt x="175263" y="273883"/>
                    <a:pt x="228602" y="267533"/>
                    <a:pt x="281943" y="264358"/>
                  </a:cubicBezTo>
                  <a:cubicBezTo>
                    <a:pt x="316868" y="261818"/>
                    <a:pt x="350523" y="259913"/>
                    <a:pt x="384813" y="258008"/>
                  </a:cubicBezTo>
                  <a:cubicBezTo>
                    <a:pt x="457202" y="255468"/>
                    <a:pt x="529593" y="253563"/>
                    <a:pt x="601348" y="254198"/>
                  </a:cubicBezTo>
                  <a:cubicBezTo>
                    <a:pt x="606427" y="254833"/>
                    <a:pt x="610873" y="254833"/>
                    <a:pt x="615318" y="254833"/>
                  </a:cubicBezTo>
                  <a:close/>
                </a:path>
              </a:pathLst>
            </a:custGeom>
            <a:solidFill>
              <a:srgbClr val="002733"/>
            </a:solidFill>
            <a:ln w="6350" cap="flat">
              <a:noFill/>
              <a:prstDash val="solid"/>
              <a:miter/>
            </a:ln>
          </p:spPr>
          <p:txBody>
            <a:bodyPr rtlCol="0" anchor="ctr"/>
            <a:lstStyle/>
            <a:p>
              <a:endParaRPr lang="en-GB"/>
            </a:p>
          </p:txBody>
        </p:sp>
        <p:sp>
          <p:nvSpPr>
            <p:cNvPr id="279" name="Freeform 278">
              <a:extLst>
                <a:ext uri="{FF2B5EF4-FFF2-40B4-BE49-F238E27FC236}">
                  <a16:creationId xmlns:a16="http://schemas.microsoft.com/office/drawing/2014/main" id="{964B7DAA-E2AF-8CD7-D259-B6FFC689856E}"/>
                </a:ext>
              </a:extLst>
            </p:cNvPr>
            <p:cNvSpPr/>
            <p:nvPr/>
          </p:nvSpPr>
          <p:spPr>
            <a:xfrm>
              <a:off x="7428864" y="3201669"/>
              <a:ext cx="100990" cy="87630"/>
            </a:xfrm>
            <a:custGeom>
              <a:avLst/>
              <a:gdLst>
                <a:gd name="connsiteX0" fmla="*/ -2656 w 100990"/>
                <a:gd name="connsiteY0" fmla="*/ 86558 h 87630"/>
                <a:gd name="connsiteX1" fmla="*/ -2656 w 100990"/>
                <a:gd name="connsiteY1" fmla="*/ 86558 h 87630"/>
                <a:gd name="connsiteX2" fmla="*/ 4330 w 100990"/>
                <a:gd name="connsiteY2" fmla="*/ 50364 h 87630"/>
                <a:gd name="connsiteX3" fmla="*/ 15124 w 100990"/>
                <a:gd name="connsiteY3" fmla="*/ 1468 h 87630"/>
                <a:gd name="connsiteX4" fmla="*/ 18935 w 100990"/>
                <a:gd name="connsiteY4" fmla="*/ -1072 h 87630"/>
                <a:gd name="connsiteX5" fmla="*/ 67194 w 100990"/>
                <a:gd name="connsiteY5" fmla="*/ -436 h 87630"/>
                <a:gd name="connsiteX6" fmla="*/ 75449 w 100990"/>
                <a:gd name="connsiteY6" fmla="*/ 198 h 87630"/>
                <a:gd name="connsiteX7" fmla="*/ 98310 w 100990"/>
                <a:gd name="connsiteY7" fmla="*/ 24964 h 87630"/>
                <a:gd name="connsiteX8" fmla="*/ 58305 w 100990"/>
                <a:gd name="connsiteY8" fmla="*/ 84653 h 87630"/>
                <a:gd name="connsiteX9" fmla="*/ 48144 w 100990"/>
                <a:gd name="connsiteY9" fmla="*/ 86558 h 87630"/>
                <a:gd name="connsiteX10" fmla="*/ -2656 w 100990"/>
                <a:gd name="connsiteY10" fmla="*/ 86558 h 87630"/>
                <a:gd name="connsiteX11" fmla="*/ 46240 w 100990"/>
                <a:gd name="connsiteY11" fmla="*/ 18614 h 87630"/>
                <a:gd name="connsiteX12" fmla="*/ 46240 w 100990"/>
                <a:gd name="connsiteY12" fmla="*/ 18614 h 87630"/>
                <a:gd name="connsiteX13" fmla="*/ 36080 w 100990"/>
                <a:gd name="connsiteY13" fmla="*/ 65603 h 87630"/>
                <a:gd name="connsiteX14" fmla="*/ 55130 w 100990"/>
                <a:gd name="connsiteY14" fmla="*/ 54808 h 87630"/>
                <a:gd name="connsiteX15" fmla="*/ 60844 w 100990"/>
                <a:gd name="connsiteY15" fmla="*/ 32583 h 87630"/>
                <a:gd name="connsiteX16" fmla="*/ 46240 w 100990"/>
                <a:gd name="connsiteY16" fmla="*/ 18614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990" h="87630">
                  <a:moveTo>
                    <a:pt x="-2656" y="86558"/>
                  </a:moveTo>
                  <a:lnTo>
                    <a:pt x="-2656" y="86558"/>
                  </a:lnTo>
                  <a:cubicBezTo>
                    <a:pt x="-115" y="73858"/>
                    <a:pt x="1790" y="62428"/>
                    <a:pt x="4330" y="50364"/>
                  </a:cubicBezTo>
                  <a:cubicBezTo>
                    <a:pt x="8140" y="34489"/>
                    <a:pt x="11315" y="17978"/>
                    <a:pt x="15124" y="1468"/>
                  </a:cubicBezTo>
                  <a:cubicBezTo>
                    <a:pt x="15124" y="-436"/>
                    <a:pt x="15760" y="-1072"/>
                    <a:pt x="18935" y="-1072"/>
                  </a:cubicBezTo>
                  <a:cubicBezTo>
                    <a:pt x="35444" y="-1072"/>
                    <a:pt x="50685" y="-1072"/>
                    <a:pt x="67194" y="-436"/>
                  </a:cubicBezTo>
                  <a:cubicBezTo>
                    <a:pt x="69735" y="-436"/>
                    <a:pt x="72910" y="-436"/>
                    <a:pt x="75449" y="198"/>
                  </a:cubicBezTo>
                  <a:cubicBezTo>
                    <a:pt x="90055" y="4008"/>
                    <a:pt x="97040" y="11628"/>
                    <a:pt x="98310" y="24964"/>
                  </a:cubicBezTo>
                  <a:cubicBezTo>
                    <a:pt x="98944" y="49093"/>
                    <a:pt x="87515" y="76398"/>
                    <a:pt x="58305" y="84653"/>
                  </a:cubicBezTo>
                  <a:cubicBezTo>
                    <a:pt x="54494" y="85289"/>
                    <a:pt x="51319" y="86558"/>
                    <a:pt x="48144" y="86558"/>
                  </a:cubicBezTo>
                  <a:cubicBezTo>
                    <a:pt x="30999" y="86558"/>
                    <a:pt x="14490" y="86558"/>
                    <a:pt x="-2656" y="86558"/>
                  </a:cubicBezTo>
                  <a:close/>
                  <a:moveTo>
                    <a:pt x="46240" y="18614"/>
                  </a:moveTo>
                  <a:lnTo>
                    <a:pt x="46240" y="18614"/>
                  </a:lnTo>
                  <a:cubicBezTo>
                    <a:pt x="43699" y="34489"/>
                    <a:pt x="39890" y="49728"/>
                    <a:pt x="36080" y="65603"/>
                  </a:cubicBezTo>
                  <a:cubicBezTo>
                    <a:pt x="46240" y="66239"/>
                    <a:pt x="52590" y="63698"/>
                    <a:pt x="55130" y="54808"/>
                  </a:cubicBezTo>
                  <a:cubicBezTo>
                    <a:pt x="57669" y="47823"/>
                    <a:pt x="59574" y="39568"/>
                    <a:pt x="60844" y="32583"/>
                  </a:cubicBezTo>
                  <a:cubicBezTo>
                    <a:pt x="62749" y="22423"/>
                    <a:pt x="58305" y="17978"/>
                    <a:pt x="46240" y="18614"/>
                  </a:cubicBezTo>
                  <a:close/>
                </a:path>
              </a:pathLst>
            </a:custGeom>
            <a:solidFill>
              <a:srgbClr val="002733"/>
            </a:solidFill>
            <a:ln w="6350" cap="flat">
              <a:noFill/>
              <a:prstDash val="solid"/>
              <a:miter/>
            </a:ln>
          </p:spPr>
          <p:txBody>
            <a:bodyPr rtlCol="0" anchor="ctr"/>
            <a:lstStyle/>
            <a:p>
              <a:endParaRPr lang="en-GB"/>
            </a:p>
          </p:txBody>
        </p:sp>
        <p:sp>
          <p:nvSpPr>
            <p:cNvPr id="280" name="Freeform 279">
              <a:extLst>
                <a:ext uri="{FF2B5EF4-FFF2-40B4-BE49-F238E27FC236}">
                  <a16:creationId xmlns:a16="http://schemas.microsoft.com/office/drawing/2014/main" id="{098882D1-A5A3-7C3B-4760-7E68A6EE34D8}"/>
                </a:ext>
              </a:extLst>
            </p:cNvPr>
            <p:cNvSpPr/>
            <p:nvPr/>
          </p:nvSpPr>
          <p:spPr>
            <a:xfrm>
              <a:off x="7531821" y="3201034"/>
              <a:ext cx="97067" cy="90523"/>
            </a:xfrm>
            <a:custGeom>
              <a:avLst/>
              <a:gdLst>
                <a:gd name="connsiteX0" fmla="*/ 11862 w 97067"/>
                <a:gd name="connsiteY0" fmla="*/ -1072 h 90523"/>
                <a:gd name="connsiteX1" fmla="*/ 11862 w 97067"/>
                <a:gd name="connsiteY1" fmla="*/ -1072 h 90523"/>
                <a:gd name="connsiteX2" fmla="*/ 46152 w 97067"/>
                <a:gd name="connsiteY2" fmla="*/ -1072 h 90523"/>
                <a:gd name="connsiteX3" fmla="*/ 42342 w 97067"/>
                <a:gd name="connsiteY3" fmla="*/ 14803 h 90523"/>
                <a:gd name="connsiteX4" fmla="*/ 33452 w 97067"/>
                <a:gd name="connsiteY4" fmla="*/ 56078 h 90523"/>
                <a:gd name="connsiteX5" fmla="*/ 37262 w 97067"/>
                <a:gd name="connsiteY5" fmla="*/ 65603 h 90523"/>
                <a:gd name="connsiteX6" fmla="*/ 46787 w 97067"/>
                <a:gd name="connsiteY6" fmla="*/ 59253 h 90523"/>
                <a:gd name="connsiteX7" fmla="*/ 51867 w 97067"/>
                <a:gd name="connsiteY7" fmla="*/ 36393 h 90523"/>
                <a:gd name="connsiteX8" fmla="*/ 58852 w 97067"/>
                <a:gd name="connsiteY8" fmla="*/ 1468 h 90523"/>
                <a:gd name="connsiteX9" fmla="*/ 61392 w 97067"/>
                <a:gd name="connsiteY9" fmla="*/ -1072 h 90523"/>
                <a:gd name="connsiteX10" fmla="*/ 94412 w 97067"/>
                <a:gd name="connsiteY10" fmla="*/ -1072 h 90523"/>
                <a:gd name="connsiteX11" fmla="*/ 89967 w 97067"/>
                <a:gd name="connsiteY11" fmla="*/ 21153 h 90523"/>
                <a:gd name="connsiteX12" fmla="*/ 81712 w 97067"/>
                <a:gd name="connsiteY12" fmla="*/ 56713 h 90523"/>
                <a:gd name="connsiteX13" fmla="*/ 45517 w 97067"/>
                <a:gd name="connsiteY13" fmla="*/ 89098 h 90523"/>
                <a:gd name="connsiteX14" fmla="*/ 15672 w 97067"/>
                <a:gd name="connsiteY14" fmla="*/ 87193 h 90523"/>
                <a:gd name="connsiteX15" fmla="*/ -2108 w 97067"/>
                <a:gd name="connsiteY15" fmla="*/ 59253 h 90523"/>
                <a:gd name="connsiteX16" fmla="*/ 10592 w 97067"/>
                <a:gd name="connsiteY16" fmla="*/ 198 h 90523"/>
                <a:gd name="connsiteX17" fmla="*/ 11862 w 97067"/>
                <a:gd name="connsiteY17" fmla="*/ -1072 h 9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067" h="90523">
                  <a:moveTo>
                    <a:pt x="11862" y="-1072"/>
                  </a:moveTo>
                  <a:lnTo>
                    <a:pt x="11862" y="-1072"/>
                  </a:lnTo>
                  <a:lnTo>
                    <a:pt x="46152" y="-1072"/>
                  </a:lnTo>
                  <a:cubicBezTo>
                    <a:pt x="45517" y="4008"/>
                    <a:pt x="43612" y="9723"/>
                    <a:pt x="42342" y="14803"/>
                  </a:cubicBezTo>
                  <a:cubicBezTo>
                    <a:pt x="39802" y="28138"/>
                    <a:pt x="35992" y="42743"/>
                    <a:pt x="33452" y="56078"/>
                  </a:cubicBezTo>
                  <a:cubicBezTo>
                    <a:pt x="32817" y="61158"/>
                    <a:pt x="33452" y="64968"/>
                    <a:pt x="37262" y="65603"/>
                  </a:cubicBezTo>
                  <a:cubicBezTo>
                    <a:pt x="41072" y="66238"/>
                    <a:pt x="45517" y="63698"/>
                    <a:pt x="46787" y="59253"/>
                  </a:cubicBezTo>
                  <a:cubicBezTo>
                    <a:pt x="48692" y="52268"/>
                    <a:pt x="50597" y="44013"/>
                    <a:pt x="51867" y="36393"/>
                  </a:cubicBezTo>
                  <a:cubicBezTo>
                    <a:pt x="53772" y="24963"/>
                    <a:pt x="56312" y="13533"/>
                    <a:pt x="58852" y="1468"/>
                  </a:cubicBezTo>
                  <a:lnTo>
                    <a:pt x="61392" y="-1072"/>
                  </a:lnTo>
                  <a:cubicBezTo>
                    <a:pt x="72187" y="-1072"/>
                    <a:pt x="82347" y="-1072"/>
                    <a:pt x="94412" y="-1072"/>
                  </a:cubicBezTo>
                  <a:cubicBezTo>
                    <a:pt x="92508" y="5913"/>
                    <a:pt x="90602" y="14168"/>
                    <a:pt x="89967" y="21153"/>
                  </a:cubicBezTo>
                  <a:cubicBezTo>
                    <a:pt x="87427" y="32583"/>
                    <a:pt x="84887" y="45283"/>
                    <a:pt x="81712" y="56713"/>
                  </a:cubicBezTo>
                  <a:cubicBezTo>
                    <a:pt x="77267" y="75128"/>
                    <a:pt x="65837" y="85923"/>
                    <a:pt x="45517" y="89098"/>
                  </a:cubicBezTo>
                  <a:cubicBezTo>
                    <a:pt x="35992" y="89733"/>
                    <a:pt x="25197" y="89733"/>
                    <a:pt x="15672" y="87193"/>
                  </a:cubicBezTo>
                  <a:cubicBezTo>
                    <a:pt x="1702" y="83383"/>
                    <a:pt x="-4648" y="73858"/>
                    <a:pt x="-2108" y="59253"/>
                  </a:cubicBezTo>
                  <a:cubicBezTo>
                    <a:pt x="1702" y="39568"/>
                    <a:pt x="6147" y="19883"/>
                    <a:pt x="10592" y="198"/>
                  </a:cubicBezTo>
                  <a:lnTo>
                    <a:pt x="11862" y="-1072"/>
                  </a:lnTo>
                  <a:close/>
                </a:path>
              </a:pathLst>
            </a:custGeom>
            <a:solidFill>
              <a:srgbClr val="002733"/>
            </a:solidFill>
            <a:ln w="6350" cap="flat">
              <a:noFill/>
              <a:prstDash val="solid"/>
              <a:miter/>
            </a:ln>
          </p:spPr>
          <p:txBody>
            <a:bodyPr rtlCol="0" anchor="ctr"/>
            <a:lstStyle/>
            <a:p>
              <a:endParaRPr lang="en-GB"/>
            </a:p>
          </p:txBody>
        </p:sp>
        <p:sp>
          <p:nvSpPr>
            <p:cNvPr id="281" name="Freeform 280">
              <a:extLst>
                <a:ext uri="{FF2B5EF4-FFF2-40B4-BE49-F238E27FC236}">
                  <a16:creationId xmlns:a16="http://schemas.microsoft.com/office/drawing/2014/main" id="{C5A570F7-17D3-FC30-88A8-6EE129152FAB}"/>
                </a:ext>
              </a:extLst>
            </p:cNvPr>
            <p:cNvSpPr/>
            <p:nvPr/>
          </p:nvSpPr>
          <p:spPr>
            <a:xfrm>
              <a:off x="7707630" y="3201034"/>
              <a:ext cx="101600" cy="90518"/>
            </a:xfrm>
            <a:custGeom>
              <a:avLst/>
              <a:gdLst>
                <a:gd name="connsiteX0" fmla="*/ 98308 w 101600"/>
                <a:gd name="connsiteY0" fmla="*/ 89098 h 90518"/>
                <a:gd name="connsiteX1" fmla="*/ 98308 w 101600"/>
                <a:gd name="connsiteY1" fmla="*/ 89098 h 90518"/>
                <a:gd name="connsiteX2" fmla="*/ 62749 w 101600"/>
                <a:gd name="connsiteY2" fmla="*/ 89098 h 90518"/>
                <a:gd name="connsiteX3" fmla="*/ 62114 w 101600"/>
                <a:gd name="connsiteY3" fmla="*/ 74493 h 90518"/>
                <a:gd name="connsiteX4" fmla="*/ 37983 w 101600"/>
                <a:gd name="connsiteY4" fmla="*/ 74493 h 90518"/>
                <a:gd name="connsiteX5" fmla="*/ 35444 w 101600"/>
                <a:gd name="connsiteY5" fmla="*/ 76398 h 90518"/>
                <a:gd name="connsiteX6" fmla="*/ 35444 w 101600"/>
                <a:gd name="connsiteY6" fmla="*/ 78303 h 90518"/>
                <a:gd name="connsiteX7" fmla="*/ 17664 w 101600"/>
                <a:gd name="connsiteY7" fmla="*/ 89098 h 90518"/>
                <a:gd name="connsiteX8" fmla="*/ -2656 w 101600"/>
                <a:gd name="connsiteY8" fmla="*/ 89098 h 90518"/>
                <a:gd name="connsiteX9" fmla="*/ -2022 w 101600"/>
                <a:gd name="connsiteY9" fmla="*/ 85288 h 90518"/>
                <a:gd name="connsiteX10" fmla="*/ 41794 w 101600"/>
                <a:gd name="connsiteY10" fmla="*/ 1468 h 90518"/>
                <a:gd name="connsiteX11" fmla="*/ 46874 w 101600"/>
                <a:gd name="connsiteY11" fmla="*/ -1072 h 90518"/>
                <a:gd name="connsiteX12" fmla="*/ 85608 w 101600"/>
                <a:gd name="connsiteY12" fmla="*/ -1072 h 90518"/>
                <a:gd name="connsiteX13" fmla="*/ 90053 w 101600"/>
                <a:gd name="connsiteY13" fmla="*/ 1468 h 90518"/>
                <a:gd name="connsiteX14" fmla="*/ 98944 w 101600"/>
                <a:gd name="connsiteY14" fmla="*/ 85923 h 90518"/>
                <a:gd name="connsiteX15" fmla="*/ 98944 w 101600"/>
                <a:gd name="connsiteY15" fmla="*/ 89098 h 90518"/>
                <a:gd name="connsiteX16" fmla="*/ 60844 w 101600"/>
                <a:gd name="connsiteY16" fmla="*/ 52268 h 90518"/>
                <a:gd name="connsiteX17" fmla="*/ 60844 w 101600"/>
                <a:gd name="connsiteY17" fmla="*/ 52268 h 90518"/>
                <a:gd name="connsiteX18" fmla="*/ 60844 w 101600"/>
                <a:gd name="connsiteY18" fmla="*/ 19248 h 90518"/>
                <a:gd name="connsiteX19" fmla="*/ 60208 w 101600"/>
                <a:gd name="connsiteY19" fmla="*/ 19248 h 90518"/>
                <a:gd name="connsiteX20" fmla="*/ 45603 w 101600"/>
                <a:gd name="connsiteY20" fmla="*/ 52268 h 90518"/>
                <a:gd name="connsiteX21" fmla="*/ 60844 w 101600"/>
                <a:gd name="connsiteY21" fmla="*/ 52268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1600" h="90518">
                  <a:moveTo>
                    <a:pt x="98308" y="89098"/>
                  </a:moveTo>
                  <a:lnTo>
                    <a:pt x="98308" y="89098"/>
                  </a:lnTo>
                  <a:lnTo>
                    <a:pt x="62749" y="89098"/>
                  </a:lnTo>
                  <a:cubicBezTo>
                    <a:pt x="62114" y="84653"/>
                    <a:pt x="62114" y="80208"/>
                    <a:pt x="62114" y="74493"/>
                  </a:cubicBezTo>
                  <a:cubicBezTo>
                    <a:pt x="53858" y="74493"/>
                    <a:pt x="46239" y="74493"/>
                    <a:pt x="37983" y="74493"/>
                  </a:cubicBezTo>
                  <a:lnTo>
                    <a:pt x="35444" y="76398"/>
                  </a:lnTo>
                  <a:lnTo>
                    <a:pt x="35444" y="78303"/>
                  </a:lnTo>
                  <a:cubicBezTo>
                    <a:pt x="32903" y="88463"/>
                    <a:pt x="27189" y="90368"/>
                    <a:pt x="17664" y="89098"/>
                  </a:cubicBezTo>
                  <a:cubicBezTo>
                    <a:pt x="11314" y="88463"/>
                    <a:pt x="4328" y="89098"/>
                    <a:pt x="-2656" y="89098"/>
                  </a:cubicBezTo>
                  <a:cubicBezTo>
                    <a:pt x="-2656" y="87193"/>
                    <a:pt x="-2022" y="86558"/>
                    <a:pt x="-2022" y="85288"/>
                  </a:cubicBezTo>
                  <a:cubicBezTo>
                    <a:pt x="13219" y="57348"/>
                    <a:pt x="27824" y="30043"/>
                    <a:pt x="41794" y="1468"/>
                  </a:cubicBezTo>
                  <a:cubicBezTo>
                    <a:pt x="43699" y="-437"/>
                    <a:pt x="44333" y="-1072"/>
                    <a:pt x="46874" y="-1072"/>
                  </a:cubicBezTo>
                  <a:cubicBezTo>
                    <a:pt x="59574" y="-1072"/>
                    <a:pt x="72908" y="-1072"/>
                    <a:pt x="85608" y="-1072"/>
                  </a:cubicBezTo>
                  <a:cubicBezTo>
                    <a:pt x="88149" y="-1072"/>
                    <a:pt x="89419" y="-1072"/>
                    <a:pt x="90053" y="1468"/>
                  </a:cubicBezTo>
                  <a:cubicBezTo>
                    <a:pt x="92594" y="29408"/>
                    <a:pt x="95133" y="57983"/>
                    <a:pt x="98944" y="85923"/>
                  </a:cubicBezTo>
                  <a:lnTo>
                    <a:pt x="98944" y="89098"/>
                  </a:lnTo>
                  <a:close/>
                  <a:moveTo>
                    <a:pt x="60844" y="52268"/>
                  </a:moveTo>
                  <a:lnTo>
                    <a:pt x="60844" y="52268"/>
                  </a:lnTo>
                  <a:lnTo>
                    <a:pt x="60844" y="19248"/>
                  </a:lnTo>
                  <a:lnTo>
                    <a:pt x="60208" y="19248"/>
                  </a:lnTo>
                  <a:cubicBezTo>
                    <a:pt x="55764" y="30043"/>
                    <a:pt x="51319" y="40203"/>
                    <a:pt x="45603" y="52268"/>
                  </a:cubicBezTo>
                  <a:lnTo>
                    <a:pt x="60844" y="52268"/>
                  </a:lnTo>
                  <a:close/>
                </a:path>
              </a:pathLst>
            </a:custGeom>
            <a:solidFill>
              <a:srgbClr val="002733"/>
            </a:solidFill>
            <a:ln w="6350" cap="flat">
              <a:noFill/>
              <a:prstDash val="solid"/>
              <a:miter/>
            </a:ln>
          </p:spPr>
          <p:txBody>
            <a:bodyPr rtlCol="0" anchor="ctr"/>
            <a:lstStyle/>
            <a:p>
              <a:endParaRPr lang="en-GB"/>
            </a:p>
          </p:txBody>
        </p:sp>
        <p:sp>
          <p:nvSpPr>
            <p:cNvPr id="282" name="Freeform 281">
              <a:extLst>
                <a:ext uri="{FF2B5EF4-FFF2-40B4-BE49-F238E27FC236}">
                  <a16:creationId xmlns:a16="http://schemas.microsoft.com/office/drawing/2014/main" id="{1B55B42E-3576-62FE-BA12-700FE78FBBFE}"/>
                </a:ext>
              </a:extLst>
            </p:cNvPr>
            <p:cNvSpPr/>
            <p:nvPr/>
          </p:nvSpPr>
          <p:spPr>
            <a:xfrm>
              <a:off x="7627524" y="3199102"/>
              <a:ext cx="92085" cy="91730"/>
            </a:xfrm>
            <a:custGeom>
              <a:avLst/>
              <a:gdLst>
                <a:gd name="connsiteX0" fmla="*/ 84434 w 92085"/>
                <a:gd name="connsiteY0" fmla="*/ 57376 h 91730"/>
                <a:gd name="connsiteX1" fmla="*/ 84434 w 92085"/>
                <a:gd name="connsiteY1" fmla="*/ 57376 h 91730"/>
                <a:gd name="connsiteX2" fmla="*/ 76181 w 92085"/>
                <a:gd name="connsiteY2" fmla="*/ 73886 h 91730"/>
                <a:gd name="connsiteX3" fmla="*/ 38081 w 92085"/>
                <a:gd name="connsiteY3" fmla="*/ 90395 h 91730"/>
                <a:gd name="connsiteX4" fmla="*/ 20934 w 92085"/>
                <a:gd name="connsiteY4" fmla="*/ 89761 h 91730"/>
                <a:gd name="connsiteX5" fmla="*/ -2560 w 92085"/>
                <a:gd name="connsiteY5" fmla="*/ 62456 h 91730"/>
                <a:gd name="connsiteX6" fmla="*/ 4425 w 92085"/>
                <a:gd name="connsiteY6" fmla="*/ 28166 h 91730"/>
                <a:gd name="connsiteX7" fmla="*/ 57765 w 92085"/>
                <a:gd name="connsiteY7" fmla="*/ -1044 h 91730"/>
                <a:gd name="connsiteX8" fmla="*/ 66656 w 92085"/>
                <a:gd name="connsiteY8" fmla="*/ 861 h 91730"/>
                <a:gd name="connsiteX9" fmla="*/ 88245 w 92085"/>
                <a:gd name="connsiteY9" fmla="*/ 33881 h 91730"/>
                <a:gd name="connsiteX10" fmla="*/ 73006 w 92085"/>
                <a:gd name="connsiteY10" fmla="*/ 33881 h 91730"/>
                <a:gd name="connsiteX11" fmla="*/ 56495 w 92085"/>
                <a:gd name="connsiteY11" fmla="*/ 33881 h 91730"/>
                <a:gd name="connsiteX12" fmla="*/ 56495 w 92085"/>
                <a:gd name="connsiteY12" fmla="*/ 30070 h 91730"/>
                <a:gd name="connsiteX13" fmla="*/ 45700 w 92085"/>
                <a:gd name="connsiteY13" fmla="*/ 23086 h 91730"/>
                <a:gd name="connsiteX14" fmla="*/ 39350 w 92085"/>
                <a:gd name="connsiteY14" fmla="*/ 29436 h 91730"/>
                <a:gd name="connsiteX15" fmla="*/ 33000 w 92085"/>
                <a:gd name="connsiteY15" fmla="*/ 60551 h 91730"/>
                <a:gd name="connsiteX16" fmla="*/ 37445 w 92085"/>
                <a:gd name="connsiteY16" fmla="*/ 69441 h 91730"/>
                <a:gd name="connsiteX17" fmla="*/ 47606 w 92085"/>
                <a:gd name="connsiteY17" fmla="*/ 64995 h 91730"/>
                <a:gd name="connsiteX18" fmla="*/ 47606 w 92085"/>
                <a:gd name="connsiteY18" fmla="*/ 64361 h 91730"/>
                <a:gd name="connsiteX19" fmla="*/ 59034 w 92085"/>
                <a:gd name="connsiteY19" fmla="*/ 57376 h 91730"/>
                <a:gd name="connsiteX20" fmla="*/ 81259 w 92085"/>
                <a:gd name="connsiteY20" fmla="*/ 57376 h 91730"/>
                <a:gd name="connsiteX21" fmla="*/ 84434 w 92085"/>
                <a:gd name="connsiteY21" fmla="*/ 57376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2085" h="91730">
                  <a:moveTo>
                    <a:pt x="84434" y="57376"/>
                  </a:moveTo>
                  <a:lnTo>
                    <a:pt x="84434" y="57376"/>
                  </a:lnTo>
                  <a:cubicBezTo>
                    <a:pt x="82531" y="63726"/>
                    <a:pt x="79990" y="68806"/>
                    <a:pt x="76181" y="73886"/>
                  </a:cubicBezTo>
                  <a:cubicBezTo>
                    <a:pt x="66020" y="85316"/>
                    <a:pt x="52684" y="90395"/>
                    <a:pt x="38081" y="90395"/>
                  </a:cubicBezTo>
                  <a:cubicBezTo>
                    <a:pt x="32365" y="91031"/>
                    <a:pt x="26650" y="90395"/>
                    <a:pt x="20934" y="89761"/>
                  </a:cubicBezTo>
                  <a:cubicBezTo>
                    <a:pt x="6331" y="85951"/>
                    <a:pt x="-1291" y="76426"/>
                    <a:pt x="-2560" y="62456"/>
                  </a:cubicBezTo>
                  <a:cubicBezTo>
                    <a:pt x="-3194" y="49756"/>
                    <a:pt x="-655" y="38326"/>
                    <a:pt x="4425" y="28166"/>
                  </a:cubicBezTo>
                  <a:cubicBezTo>
                    <a:pt x="13315" y="8481"/>
                    <a:pt x="34270" y="-1680"/>
                    <a:pt x="57765" y="-1044"/>
                  </a:cubicBezTo>
                  <a:cubicBezTo>
                    <a:pt x="61575" y="-409"/>
                    <a:pt x="64115" y="-409"/>
                    <a:pt x="66656" y="861"/>
                  </a:cubicBezTo>
                  <a:cubicBezTo>
                    <a:pt x="84434" y="4670"/>
                    <a:pt x="92690" y="16101"/>
                    <a:pt x="88245" y="33881"/>
                  </a:cubicBezTo>
                  <a:lnTo>
                    <a:pt x="73006" y="33881"/>
                  </a:lnTo>
                  <a:lnTo>
                    <a:pt x="56495" y="33881"/>
                  </a:lnTo>
                  <a:lnTo>
                    <a:pt x="56495" y="30070"/>
                  </a:lnTo>
                  <a:cubicBezTo>
                    <a:pt x="56495" y="23086"/>
                    <a:pt x="50781" y="19276"/>
                    <a:pt x="45700" y="23086"/>
                  </a:cubicBezTo>
                  <a:cubicBezTo>
                    <a:pt x="43159" y="24991"/>
                    <a:pt x="39984" y="27531"/>
                    <a:pt x="39350" y="29436"/>
                  </a:cubicBezTo>
                  <a:cubicBezTo>
                    <a:pt x="36809" y="40231"/>
                    <a:pt x="34906" y="50391"/>
                    <a:pt x="33000" y="60551"/>
                  </a:cubicBezTo>
                  <a:cubicBezTo>
                    <a:pt x="32365" y="64361"/>
                    <a:pt x="33000" y="67536"/>
                    <a:pt x="37445" y="69441"/>
                  </a:cubicBezTo>
                  <a:cubicBezTo>
                    <a:pt x="41256" y="70076"/>
                    <a:pt x="44431" y="68806"/>
                    <a:pt x="47606" y="64995"/>
                  </a:cubicBezTo>
                  <a:lnTo>
                    <a:pt x="47606" y="64361"/>
                  </a:lnTo>
                  <a:cubicBezTo>
                    <a:pt x="49509" y="57376"/>
                    <a:pt x="53956" y="57376"/>
                    <a:pt x="59034" y="57376"/>
                  </a:cubicBezTo>
                  <a:cubicBezTo>
                    <a:pt x="67290" y="58011"/>
                    <a:pt x="74275" y="57376"/>
                    <a:pt x="81259" y="57376"/>
                  </a:cubicBezTo>
                  <a:lnTo>
                    <a:pt x="84434" y="57376"/>
                  </a:lnTo>
                  <a:close/>
                </a:path>
              </a:pathLst>
            </a:custGeom>
            <a:solidFill>
              <a:srgbClr val="002733"/>
            </a:solidFill>
            <a:ln w="6350" cap="flat">
              <a:noFill/>
              <a:prstDash val="solid"/>
              <a:miter/>
            </a:ln>
          </p:spPr>
          <p:txBody>
            <a:bodyPr rtlCol="0" anchor="ctr"/>
            <a:lstStyle/>
            <a:p>
              <a:endParaRPr lang="en-GB"/>
            </a:p>
          </p:txBody>
        </p:sp>
        <p:sp>
          <p:nvSpPr>
            <p:cNvPr id="283" name="Freeform 282">
              <a:extLst>
                <a:ext uri="{FF2B5EF4-FFF2-40B4-BE49-F238E27FC236}">
                  <a16:creationId xmlns:a16="http://schemas.microsoft.com/office/drawing/2014/main" id="{8D2ED7E2-FFB0-8FCE-F355-EB1F905095E3}"/>
                </a:ext>
              </a:extLst>
            </p:cNvPr>
            <p:cNvSpPr/>
            <p:nvPr/>
          </p:nvSpPr>
          <p:spPr>
            <a:xfrm>
              <a:off x="7811135" y="3201034"/>
              <a:ext cx="82550" cy="88265"/>
            </a:xfrm>
            <a:custGeom>
              <a:avLst/>
              <a:gdLst>
                <a:gd name="connsiteX0" fmla="*/ 39889 w 82550"/>
                <a:gd name="connsiteY0" fmla="*/ 87193 h 88265"/>
                <a:gd name="connsiteX1" fmla="*/ 39889 w 82550"/>
                <a:gd name="connsiteY1" fmla="*/ 87193 h 88265"/>
                <a:gd name="connsiteX2" fmla="*/ 5598 w 82550"/>
                <a:gd name="connsiteY2" fmla="*/ 87193 h 88265"/>
                <a:gd name="connsiteX3" fmla="*/ 19569 w 82550"/>
                <a:gd name="connsiteY3" fmla="*/ 23058 h 88265"/>
                <a:gd name="connsiteX4" fmla="*/ -2656 w 82550"/>
                <a:gd name="connsiteY4" fmla="*/ 23058 h 88265"/>
                <a:gd name="connsiteX5" fmla="*/ 1789 w 82550"/>
                <a:gd name="connsiteY5" fmla="*/ 833 h 88265"/>
                <a:gd name="connsiteX6" fmla="*/ 6233 w 82550"/>
                <a:gd name="connsiteY6" fmla="*/ -1072 h 88265"/>
                <a:gd name="connsiteX7" fmla="*/ 54494 w 82550"/>
                <a:gd name="connsiteY7" fmla="*/ -1072 h 88265"/>
                <a:gd name="connsiteX8" fmla="*/ 79894 w 82550"/>
                <a:gd name="connsiteY8" fmla="*/ -1072 h 88265"/>
                <a:gd name="connsiteX9" fmla="*/ 75448 w 82550"/>
                <a:gd name="connsiteY9" fmla="*/ 21153 h 88265"/>
                <a:gd name="connsiteX10" fmla="*/ 71639 w 82550"/>
                <a:gd name="connsiteY10" fmla="*/ 21788 h 88265"/>
                <a:gd name="connsiteX11" fmla="*/ 56398 w 82550"/>
                <a:gd name="connsiteY11" fmla="*/ 21788 h 88265"/>
                <a:gd name="connsiteX12" fmla="*/ 51953 w 82550"/>
                <a:gd name="connsiteY12" fmla="*/ 25598 h 88265"/>
                <a:gd name="connsiteX13" fmla="*/ 39889 w 82550"/>
                <a:gd name="connsiteY13" fmla="*/ 83383 h 88265"/>
                <a:gd name="connsiteX14" fmla="*/ 39889 w 82550"/>
                <a:gd name="connsiteY14" fmla="*/ 87193 h 88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550" h="88265">
                  <a:moveTo>
                    <a:pt x="39889" y="87193"/>
                  </a:moveTo>
                  <a:lnTo>
                    <a:pt x="39889" y="87193"/>
                  </a:lnTo>
                  <a:lnTo>
                    <a:pt x="5598" y="87193"/>
                  </a:lnTo>
                  <a:cubicBezTo>
                    <a:pt x="10044" y="65603"/>
                    <a:pt x="14489" y="44648"/>
                    <a:pt x="19569" y="23058"/>
                  </a:cubicBezTo>
                  <a:lnTo>
                    <a:pt x="-2656" y="23058"/>
                  </a:lnTo>
                  <a:cubicBezTo>
                    <a:pt x="-752" y="14803"/>
                    <a:pt x="-117" y="7818"/>
                    <a:pt x="1789" y="833"/>
                  </a:cubicBezTo>
                  <a:cubicBezTo>
                    <a:pt x="2423" y="198"/>
                    <a:pt x="4328" y="-1072"/>
                    <a:pt x="6233" y="-1072"/>
                  </a:cubicBezTo>
                  <a:cubicBezTo>
                    <a:pt x="22108" y="-1072"/>
                    <a:pt x="37983" y="-1072"/>
                    <a:pt x="54494" y="-1072"/>
                  </a:cubicBezTo>
                  <a:lnTo>
                    <a:pt x="79894" y="-1072"/>
                  </a:lnTo>
                  <a:cubicBezTo>
                    <a:pt x="77989" y="7183"/>
                    <a:pt x="76083" y="14168"/>
                    <a:pt x="75448" y="21153"/>
                  </a:cubicBezTo>
                  <a:lnTo>
                    <a:pt x="71639" y="21788"/>
                  </a:lnTo>
                  <a:cubicBezTo>
                    <a:pt x="66558" y="21788"/>
                    <a:pt x="62114" y="22423"/>
                    <a:pt x="56398" y="21788"/>
                  </a:cubicBezTo>
                  <a:cubicBezTo>
                    <a:pt x="53858" y="21788"/>
                    <a:pt x="52589" y="22423"/>
                    <a:pt x="51953" y="25598"/>
                  </a:cubicBezTo>
                  <a:cubicBezTo>
                    <a:pt x="48144" y="45283"/>
                    <a:pt x="44333" y="63698"/>
                    <a:pt x="39889" y="83383"/>
                  </a:cubicBezTo>
                  <a:cubicBezTo>
                    <a:pt x="41158" y="84653"/>
                    <a:pt x="41158" y="85288"/>
                    <a:pt x="39889" y="87193"/>
                  </a:cubicBezTo>
                  <a:close/>
                </a:path>
              </a:pathLst>
            </a:custGeom>
            <a:solidFill>
              <a:srgbClr val="002733"/>
            </a:solidFill>
            <a:ln w="6350" cap="flat">
              <a:noFill/>
              <a:prstDash val="solid"/>
              <a:miter/>
            </a:ln>
          </p:spPr>
          <p:txBody>
            <a:bodyPr rtlCol="0" anchor="ctr"/>
            <a:lstStyle/>
            <a:p>
              <a:endParaRPr lang="en-GB"/>
            </a:p>
          </p:txBody>
        </p:sp>
        <p:sp>
          <p:nvSpPr>
            <p:cNvPr id="284" name="Freeform 283">
              <a:extLst>
                <a:ext uri="{FF2B5EF4-FFF2-40B4-BE49-F238E27FC236}">
                  <a16:creationId xmlns:a16="http://schemas.microsoft.com/office/drawing/2014/main" id="{5F92CD8D-EAC0-BB9E-0053-29B8FBC71145}"/>
                </a:ext>
              </a:extLst>
            </p:cNvPr>
            <p:cNvSpPr/>
            <p:nvPr/>
          </p:nvSpPr>
          <p:spPr>
            <a:xfrm>
              <a:off x="7882889" y="3200400"/>
              <a:ext cx="52705" cy="88900"/>
            </a:xfrm>
            <a:custGeom>
              <a:avLst/>
              <a:gdLst>
                <a:gd name="connsiteX0" fmla="*/ 50049 w 52705"/>
                <a:gd name="connsiteY0" fmla="*/ -437 h 88900"/>
                <a:gd name="connsiteX1" fmla="*/ 50049 w 52705"/>
                <a:gd name="connsiteY1" fmla="*/ -437 h 88900"/>
                <a:gd name="connsiteX2" fmla="*/ 31635 w 52705"/>
                <a:gd name="connsiteY2" fmla="*/ 87828 h 88900"/>
                <a:gd name="connsiteX3" fmla="*/ -2656 w 52705"/>
                <a:gd name="connsiteY3" fmla="*/ 87828 h 88900"/>
                <a:gd name="connsiteX4" fmla="*/ 3694 w 52705"/>
                <a:gd name="connsiteY4" fmla="*/ 55443 h 88900"/>
                <a:gd name="connsiteX5" fmla="*/ 15124 w 52705"/>
                <a:gd name="connsiteY5" fmla="*/ 2738 h 88900"/>
                <a:gd name="connsiteX6" fmla="*/ 17665 w 52705"/>
                <a:gd name="connsiteY6" fmla="*/ -1072 h 88900"/>
                <a:gd name="connsiteX7" fmla="*/ 50049 w 52705"/>
                <a:gd name="connsiteY7" fmla="*/ -437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05" h="88900">
                  <a:moveTo>
                    <a:pt x="50049" y="-437"/>
                  </a:moveTo>
                  <a:lnTo>
                    <a:pt x="50049" y="-437"/>
                  </a:lnTo>
                  <a:cubicBezTo>
                    <a:pt x="43699" y="28773"/>
                    <a:pt x="37985" y="58618"/>
                    <a:pt x="31635" y="87828"/>
                  </a:cubicBezTo>
                  <a:lnTo>
                    <a:pt x="-2656" y="87828"/>
                  </a:lnTo>
                  <a:cubicBezTo>
                    <a:pt x="-751" y="77033"/>
                    <a:pt x="1790" y="66238"/>
                    <a:pt x="3694" y="55443"/>
                  </a:cubicBezTo>
                  <a:cubicBezTo>
                    <a:pt x="6869" y="37663"/>
                    <a:pt x="10680" y="19883"/>
                    <a:pt x="15124" y="2738"/>
                  </a:cubicBezTo>
                  <a:cubicBezTo>
                    <a:pt x="15124" y="833"/>
                    <a:pt x="17030" y="-1072"/>
                    <a:pt x="17665" y="-1072"/>
                  </a:cubicBezTo>
                  <a:cubicBezTo>
                    <a:pt x="28460" y="-437"/>
                    <a:pt x="38619" y="-437"/>
                    <a:pt x="50049" y="-437"/>
                  </a:cubicBezTo>
                  <a:close/>
                </a:path>
              </a:pathLst>
            </a:custGeom>
            <a:solidFill>
              <a:srgbClr val="002733"/>
            </a:solidFill>
            <a:ln w="6350" cap="flat">
              <a:noFill/>
              <a:prstDash val="solid"/>
              <a:miter/>
            </a:ln>
          </p:spPr>
          <p:txBody>
            <a:bodyPr rtlCol="0" anchor="ctr"/>
            <a:lstStyle/>
            <a:p>
              <a:endParaRPr lang="en-GB"/>
            </a:p>
          </p:txBody>
        </p:sp>
      </p:grpSp>
      <p:grpSp>
        <p:nvGrpSpPr>
          <p:cNvPr id="293" name="Graphic 79">
            <a:extLst>
              <a:ext uri="{FF2B5EF4-FFF2-40B4-BE49-F238E27FC236}">
                <a16:creationId xmlns:a16="http://schemas.microsoft.com/office/drawing/2014/main" id="{D42ACD59-321C-2608-687A-7558166A2E73}"/>
              </a:ext>
            </a:extLst>
          </p:cNvPr>
          <p:cNvGrpSpPr/>
          <p:nvPr/>
        </p:nvGrpSpPr>
        <p:grpSpPr>
          <a:xfrm>
            <a:off x="5760719" y="3049904"/>
            <a:ext cx="670560" cy="757554"/>
            <a:chOff x="5760719" y="3049904"/>
            <a:chExt cx="670560" cy="757554"/>
          </a:xfrm>
        </p:grpSpPr>
        <p:sp>
          <p:nvSpPr>
            <p:cNvPr id="294" name="Freeform 293">
              <a:extLst>
                <a:ext uri="{FF2B5EF4-FFF2-40B4-BE49-F238E27FC236}">
                  <a16:creationId xmlns:a16="http://schemas.microsoft.com/office/drawing/2014/main" id="{57674AF8-9BB4-98AE-EF43-58EA8B687E20}"/>
                </a:ext>
              </a:extLst>
            </p:cNvPr>
            <p:cNvSpPr/>
            <p:nvPr/>
          </p:nvSpPr>
          <p:spPr>
            <a:xfrm>
              <a:off x="5760719" y="3049904"/>
              <a:ext cx="670560" cy="757554"/>
            </a:xfrm>
            <a:custGeom>
              <a:avLst/>
              <a:gdLst>
                <a:gd name="connsiteX0" fmla="*/ -434 w 670560"/>
                <a:gd name="connsiteY0" fmla="*/ 108284 h 757554"/>
                <a:gd name="connsiteX1" fmla="*/ 33856 w 670560"/>
                <a:gd name="connsiteY1" fmla="*/ 52404 h 757554"/>
                <a:gd name="connsiteX2" fmla="*/ 334846 w 670560"/>
                <a:gd name="connsiteY2" fmla="*/ -301 h 757554"/>
                <a:gd name="connsiteX3" fmla="*/ 635836 w 670560"/>
                <a:gd name="connsiteY3" fmla="*/ 52404 h 757554"/>
                <a:gd name="connsiteX4" fmla="*/ 670127 w 670560"/>
                <a:gd name="connsiteY4" fmla="*/ 108284 h 757554"/>
                <a:gd name="connsiteX5" fmla="*/ 362786 w 670560"/>
                <a:gd name="connsiteY5" fmla="*/ 745824 h 757554"/>
                <a:gd name="connsiteX6" fmla="*/ 335481 w 670560"/>
                <a:gd name="connsiteY6" fmla="*/ 757254 h 757554"/>
                <a:gd name="connsiteX7" fmla="*/ 308177 w 670560"/>
                <a:gd name="connsiteY7" fmla="*/ 745824 h 757554"/>
                <a:gd name="connsiteX8" fmla="*/ -434 w 670560"/>
                <a:gd name="connsiteY8" fmla="*/ 108284 h 75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0560" h="757554">
                  <a:moveTo>
                    <a:pt x="-434" y="108284"/>
                  </a:moveTo>
                  <a:cubicBezTo>
                    <a:pt x="-434" y="80979"/>
                    <a:pt x="12266" y="61929"/>
                    <a:pt x="33856" y="52404"/>
                  </a:cubicBezTo>
                  <a:cubicBezTo>
                    <a:pt x="134821" y="7954"/>
                    <a:pt x="252296" y="-301"/>
                    <a:pt x="334846" y="-301"/>
                  </a:cubicBezTo>
                  <a:cubicBezTo>
                    <a:pt x="417396" y="-301"/>
                    <a:pt x="534871" y="8589"/>
                    <a:pt x="635836" y="52404"/>
                  </a:cubicBezTo>
                  <a:cubicBezTo>
                    <a:pt x="657427" y="61929"/>
                    <a:pt x="670127" y="80344"/>
                    <a:pt x="670127" y="108284"/>
                  </a:cubicBezTo>
                  <a:cubicBezTo>
                    <a:pt x="670127" y="416894"/>
                    <a:pt x="550746" y="610569"/>
                    <a:pt x="362786" y="745824"/>
                  </a:cubicBezTo>
                  <a:cubicBezTo>
                    <a:pt x="353896" y="752174"/>
                    <a:pt x="344371" y="757254"/>
                    <a:pt x="335481" y="757254"/>
                  </a:cubicBezTo>
                  <a:cubicBezTo>
                    <a:pt x="326591" y="757254"/>
                    <a:pt x="317066" y="752174"/>
                    <a:pt x="308177" y="745824"/>
                  </a:cubicBezTo>
                  <a:cubicBezTo>
                    <a:pt x="118946" y="611204"/>
                    <a:pt x="-434" y="417529"/>
                    <a:pt x="-434" y="108284"/>
                  </a:cubicBezTo>
                  <a:close/>
                </a:path>
              </a:pathLst>
            </a:custGeom>
            <a:solidFill>
              <a:srgbClr val="002733"/>
            </a:solidFill>
            <a:ln w="6350" cap="flat">
              <a:noFill/>
              <a:prstDash val="solid"/>
              <a:miter/>
            </a:ln>
          </p:spPr>
          <p:txBody>
            <a:bodyPr rtlCol="0" anchor="ctr"/>
            <a:lstStyle/>
            <a:p>
              <a:endParaRPr lang="en-GB"/>
            </a:p>
          </p:txBody>
        </p:sp>
        <p:sp>
          <p:nvSpPr>
            <p:cNvPr id="295" name="Freeform 294">
              <a:extLst>
                <a:ext uri="{FF2B5EF4-FFF2-40B4-BE49-F238E27FC236}">
                  <a16:creationId xmlns:a16="http://schemas.microsoft.com/office/drawing/2014/main" id="{9C6EE5B5-2A5B-9143-73ED-3E5B8DD337C5}"/>
                </a:ext>
              </a:extLst>
            </p:cNvPr>
            <p:cNvSpPr/>
            <p:nvPr/>
          </p:nvSpPr>
          <p:spPr>
            <a:xfrm>
              <a:off x="5782944" y="3072765"/>
              <a:ext cx="626110" cy="713104"/>
            </a:xfrm>
            <a:custGeom>
              <a:avLst/>
              <a:gdLst>
                <a:gd name="connsiteX0" fmla="*/ 298016 w 626110"/>
                <a:gd name="connsiteY0" fmla="*/ 705184 h 713104"/>
                <a:gd name="connsiteX1" fmla="*/ -434 w 626110"/>
                <a:gd name="connsiteY1" fmla="*/ 86059 h 713104"/>
                <a:gd name="connsiteX2" fmla="*/ 20521 w 626110"/>
                <a:gd name="connsiteY2" fmla="*/ 50499 h 713104"/>
                <a:gd name="connsiteX3" fmla="*/ 312621 w 626110"/>
                <a:gd name="connsiteY3" fmla="*/ -301 h 713104"/>
                <a:gd name="connsiteX4" fmla="*/ 604721 w 626110"/>
                <a:gd name="connsiteY4" fmla="*/ 50499 h 713104"/>
                <a:gd name="connsiteX5" fmla="*/ 625677 w 626110"/>
                <a:gd name="connsiteY5" fmla="*/ 86059 h 713104"/>
                <a:gd name="connsiteX6" fmla="*/ 327227 w 626110"/>
                <a:gd name="connsiteY6" fmla="*/ 705184 h 713104"/>
                <a:gd name="connsiteX7" fmla="*/ 312621 w 626110"/>
                <a:gd name="connsiteY7" fmla="*/ 712804 h 713104"/>
                <a:gd name="connsiteX8" fmla="*/ 298016 w 626110"/>
                <a:gd name="connsiteY8" fmla="*/ 705184 h 713104"/>
                <a:gd name="connsiteX9" fmla="*/ 298016 w 626110"/>
                <a:gd name="connsiteY9" fmla="*/ 705184 h 713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6110" h="713104">
                  <a:moveTo>
                    <a:pt x="298016" y="705184"/>
                  </a:moveTo>
                  <a:cubicBezTo>
                    <a:pt x="115136" y="574374"/>
                    <a:pt x="-434" y="387684"/>
                    <a:pt x="-434" y="86059"/>
                  </a:cubicBezTo>
                  <a:cubicBezTo>
                    <a:pt x="-434" y="67009"/>
                    <a:pt x="7821" y="56214"/>
                    <a:pt x="20521" y="50499"/>
                  </a:cubicBezTo>
                  <a:cubicBezTo>
                    <a:pt x="117041" y="7954"/>
                    <a:pt x="230706" y="-301"/>
                    <a:pt x="312621" y="-301"/>
                  </a:cubicBezTo>
                  <a:cubicBezTo>
                    <a:pt x="393902" y="-301"/>
                    <a:pt x="507566" y="8589"/>
                    <a:pt x="604721" y="50499"/>
                  </a:cubicBezTo>
                  <a:cubicBezTo>
                    <a:pt x="617421" y="56214"/>
                    <a:pt x="625677" y="66374"/>
                    <a:pt x="625677" y="86059"/>
                  </a:cubicBezTo>
                  <a:cubicBezTo>
                    <a:pt x="625677" y="387684"/>
                    <a:pt x="510106" y="574374"/>
                    <a:pt x="327227" y="705184"/>
                  </a:cubicBezTo>
                  <a:cubicBezTo>
                    <a:pt x="318971" y="711534"/>
                    <a:pt x="313891" y="712804"/>
                    <a:pt x="312621" y="712804"/>
                  </a:cubicBezTo>
                  <a:cubicBezTo>
                    <a:pt x="311352" y="712169"/>
                    <a:pt x="306271" y="710899"/>
                    <a:pt x="298016" y="705184"/>
                  </a:cubicBezTo>
                  <a:lnTo>
                    <a:pt x="298016" y="705184"/>
                  </a:lnTo>
                  <a:close/>
                </a:path>
              </a:pathLst>
            </a:custGeom>
            <a:solidFill>
              <a:srgbClr val="FFFFFF"/>
            </a:solidFill>
            <a:ln w="6350" cap="flat">
              <a:noFill/>
              <a:prstDash val="solid"/>
              <a:miter/>
            </a:ln>
          </p:spPr>
          <p:txBody>
            <a:bodyPr rtlCol="0" anchor="ctr"/>
            <a:lstStyle/>
            <a:p>
              <a:endParaRPr lang="en-GB"/>
            </a:p>
          </p:txBody>
        </p:sp>
        <p:sp>
          <p:nvSpPr>
            <p:cNvPr id="296" name="Freeform 295">
              <a:extLst>
                <a:ext uri="{FF2B5EF4-FFF2-40B4-BE49-F238E27FC236}">
                  <a16:creationId xmlns:a16="http://schemas.microsoft.com/office/drawing/2014/main" id="{17605D7C-0ED6-E82A-40B8-7F41E4BF7B79}"/>
                </a:ext>
              </a:extLst>
            </p:cNvPr>
            <p:cNvSpPr/>
            <p:nvPr/>
          </p:nvSpPr>
          <p:spPr>
            <a:xfrm>
              <a:off x="5929822" y="3197185"/>
              <a:ext cx="368996" cy="425850"/>
            </a:xfrm>
            <a:custGeom>
              <a:avLst/>
              <a:gdLst>
                <a:gd name="connsiteX0" fmla="*/ 130184 w 368996"/>
                <a:gd name="connsiteY0" fmla="*/ 325493 h 425850"/>
                <a:gd name="connsiteX1" fmla="*/ 125738 w 368996"/>
                <a:gd name="connsiteY1" fmla="*/ 324223 h 425850"/>
                <a:gd name="connsiteX2" fmla="*/ 121293 w 368996"/>
                <a:gd name="connsiteY2" fmla="*/ 331208 h 425850"/>
                <a:gd name="connsiteX3" fmla="*/ 118753 w 368996"/>
                <a:gd name="connsiteY3" fmla="*/ 337558 h 425850"/>
                <a:gd name="connsiteX4" fmla="*/ 130184 w 368996"/>
                <a:gd name="connsiteY4" fmla="*/ 325493 h 425850"/>
                <a:gd name="connsiteX5" fmla="*/ 130184 w 368996"/>
                <a:gd name="connsiteY5" fmla="*/ 325493 h 425850"/>
                <a:gd name="connsiteX6" fmla="*/ 58428 w 368996"/>
                <a:gd name="connsiteY6" fmla="*/ 335653 h 425850"/>
                <a:gd name="connsiteX7" fmla="*/ 55888 w 368996"/>
                <a:gd name="connsiteY7" fmla="*/ 330573 h 425850"/>
                <a:gd name="connsiteX8" fmla="*/ 50174 w 368996"/>
                <a:gd name="connsiteY8" fmla="*/ 342003 h 425850"/>
                <a:gd name="connsiteX9" fmla="*/ 46363 w 368996"/>
                <a:gd name="connsiteY9" fmla="*/ 353433 h 425850"/>
                <a:gd name="connsiteX10" fmla="*/ 46999 w 368996"/>
                <a:gd name="connsiteY10" fmla="*/ 353433 h 425850"/>
                <a:gd name="connsiteX11" fmla="*/ 58428 w 368996"/>
                <a:gd name="connsiteY11" fmla="*/ 335653 h 425850"/>
                <a:gd name="connsiteX12" fmla="*/ 58428 w 368996"/>
                <a:gd name="connsiteY12" fmla="*/ 335653 h 425850"/>
                <a:gd name="connsiteX13" fmla="*/ 125738 w 368996"/>
                <a:gd name="connsiteY13" fmla="*/ 169283 h 425850"/>
                <a:gd name="connsiteX14" fmla="*/ 123199 w 368996"/>
                <a:gd name="connsiteY14" fmla="*/ 162933 h 425850"/>
                <a:gd name="connsiteX15" fmla="*/ 119388 w 368996"/>
                <a:gd name="connsiteY15" fmla="*/ 173728 h 425850"/>
                <a:gd name="connsiteX16" fmla="*/ 111768 w 368996"/>
                <a:gd name="connsiteY16" fmla="*/ 188968 h 425850"/>
                <a:gd name="connsiteX17" fmla="*/ 120024 w 368996"/>
                <a:gd name="connsiteY17" fmla="*/ 197858 h 425850"/>
                <a:gd name="connsiteX18" fmla="*/ 143518 w 368996"/>
                <a:gd name="connsiteY18" fmla="*/ 195953 h 425850"/>
                <a:gd name="connsiteX19" fmla="*/ 143518 w 368996"/>
                <a:gd name="connsiteY19" fmla="*/ 194048 h 425850"/>
                <a:gd name="connsiteX20" fmla="*/ 125738 w 368996"/>
                <a:gd name="connsiteY20" fmla="*/ 169283 h 425850"/>
                <a:gd name="connsiteX21" fmla="*/ 125738 w 368996"/>
                <a:gd name="connsiteY21" fmla="*/ 169283 h 425850"/>
                <a:gd name="connsiteX22" fmla="*/ 202574 w 368996"/>
                <a:gd name="connsiteY22" fmla="*/ 141978 h 425850"/>
                <a:gd name="connsiteX23" fmla="*/ 204478 w 368996"/>
                <a:gd name="connsiteY23" fmla="*/ 145153 h 425850"/>
                <a:gd name="connsiteX24" fmla="*/ 217813 w 368996"/>
                <a:gd name="connsiteY24" fmla="*/ 155948 h 425850"/>
                <a:gd name="connsiteX25" fmla="*/ 227974 w 368996"/>
                <a:gd name="connsiteY25" fmla="*/ 154043 h 425850"/>
                <a:gd name="connsiteX26" fmla="*/ 198763 w 368996"/>
                <a:gd name="connsiteY26" fmla="*/ 127373 h 425850"/>
                <a:gd name="connsiteX27" fmla="*/ 191778 w 368996"/>
                <a:gd name="connsiteY27" fmla="*/ 127373 h 425850"/>
                <a:gd name="connsiteX28" fmla="*/ 185428 w 368996"/>
                <a:gd name="connsiteY28" fmla="*/ 140708 h 425850"/>
                <a:gd name="connsiteX29" fmla="*/ 202574 w 368996"/>
                <a:gd name="connsiteY29" fmla="*/ 141978 h 425850"/>
                <a:gd name="connsiteX30" fmla="*/ 202574 w 368996"/>
                <a:gd name="connsiteY30" fmla="*/ 141978 h 425850"/>
                <a:gd name="connsiteX31" fmla="*/ 205113 w 368996"/>
                <a:gd name="connsiteY31" fmla="*/ 88003 h 425850"/>
                <a:gd name="connsiteX32" fmla="*/ 209559 w 368996"/>
                <a:gd name="connsiteY32" fmla="*/ 86733 h 425850"/>
                <a:gd name="connsiteX33" fmla="*/ 201938 w 368996"/>
                <a:gd name="connsiteY33" fmla="*/ 77843 h 425850"/>
                <a:gd name="connsiteX34" fmla="*/ 198128 w 368996"/>
                <a:gd name="connsiteY34" fmla="*/ 79113 h 425850"/>
                <a:gd name="connsiteX35" fmla="*/ 205113 w 368996"/>
                <a:gd name="connsiteY35" fmla="*/ 88003 h 425850"/>
                <a:gd name="connsiteX36" fmla="*/ 196224 w 368996"/>
                <a:gd name="connsiteY36" fmla="*/ 18153 h 425850"/>
                <a:gd name="connsiteX37" fmla="*/ 184159 w 368996"/>
                <a:gd name="connsiteY37" fmla="*/ 13073 h 425850"/>
                <a:gd name="connsiteX38" fmla="*/ 181618 w 368996"/>
                <a:gd name="connsiteY38" fmla="*/ 16883 h 425850"/>
                <a:gd name="connsiteX39" fmla="*/ 196224 w 368996"/>
                <a:gd name="connsiteY39" fmla="*/ 18153 h 425850"/>
                <a:gd name="connsiteX40" fmla="*/ 196224 w 368996"/>
                <a:gd name="connsiteY40" fmla="*/ 18153 h 425850"/>
                <a:gd name="connsiteX41" fmla="*/ 226068 w 368996"/>
                <a:gd name="connsiteY41" fmla="*/ 279138 h 425850"/>
                <a:gd name="connsiteX42" fmla="*/ 222259 w 368996"/>
                <a:gd name="connsiteY42" fmla="*/ 282313 h 425850"/>
                <a:gd name="connsiteX43" fmla="*/ 214638 w 368996"/>
                <a:gd name="connsiteY43" fmla="*/ 277233 h 425850"/>
                <a:gd name="connsiteX44" fmla="*/ 214638 w 368996"/>
                <a:gd name="connsiteY44" fmla="*/ 266438 h 425850"/>
                <a:gd name="connsiteX45" fmla="*/ 215909 w 368996"/>
                <a:gd name="connsiteY45" fmla="*/ 265803 h 425850"/>
                <a:gd name="connsiteX46" fmla="*/ 226068 w 368996"/>
                <a:gd name="connsiteY46" fmla="*/ 279138 h 425850"/>
                <a:gd name="connsiteX47" fmla="*/ 226068 w 368996"/>
                <a:gd name="connsiteY47" fmla="*/ 279138 h 425850"/>
                <a:gd name="connsiteX48" fmla="*/ 294013 w 368996"/>
                <a:gd name="connsiteY48" fmla="*/ 243578 h 425850"/>
                <a:gd name="connsiteX49" fmla="*/ 308618 w 368996"/>
                <a:gd name="connsiteY49" fmla="*/ 253738 h 425850"/>
                <a:gd name="connsiteX50" fmla="*/ 314968 w 368996"/>
                <a:gd name="connsiteY50" fmla="*/ 288663 h 425850"/>
                <a:gd name="connsiteX51" fmla="*/ 310524 w 368996"/>
                <a:gd name="connsiteY51" fmla="*/ 321683 h 425850"/>
                <a:gd name="connsiteX52" fmla="*/ 313063 w 368996"/>
                <a:gd name="connsiteY52" fmla="*/ 345813 h 425850"/>
                <a:gd name="connsiteX53" fmla="*/ 315603 w 368996"/>
                <a:gd name="connsiteY53" fmla="*/ 367403 h 425850"/>
                <a:gd name="connsiteX54" fmla="*/ 307349 w 368996"/>
                <a:gd name="connsiteY54" fmla="*/ 373753 h 425850"/>
                <a:gd name="connsiteX55" fmla="*/ 304174 w 368996"/>
                <a:gd name="connsiteY55" fmla="*/ 366133 h 425850"/>
                <a:gd name="connsiteX56" fmla="*/ 301634 w 368996"/>
                <a:gd name="connsiteY56" fmla="*/ 373753 h 425850"/>
                <a:gd name="connsiteX57" fmla="*/ 288934 w 368996"/>
                <a:gd name="connsiteY57" fmla="*/ 363593 h 425850"/>
                <a:gd name="connsiteX58" fmla="*/ 294013 w 368996"/>
                <a:gd name="connsiteY58" fmla="*/ 342003 h 425850"/>
                <a:gd name="connsiteX59" fmla="*/ 295284 w 368996"/>
                <a:gd name="connsiteY59" fmla="*/ 315333 h 425850"/>
                <a:gd name="connsiteX60" fmla="*/ 277503 w 368996"/>
                <a:gd name="connsiteY60" fmla="*/ 286123 h 425850"/>
                <a:gd name="connsiteX61" fmla="*/ 269249 w 368996"/>
                <a:gd name="connsiteY61" fmla="*/ 291838 h 425850"/>
                <a:gd name="connsiteX62" fmla="*/ 262899 w 368996"/>
                <a:gd name="connsiteY62" fmla="*/ 297553 h 425850"/>
                <a:gd name="connsiteX63" fmla="*/ 254643 w 368996"/>
                <a:gd name="connsiteY63" fmla="*/ 306443 h 425850"/>
                <a:gd name="connsiteX64" fmla="*/ 247024 w 368996"/>
                <a:gd name="connsiteY64" fmla="*/ 325493 h 425850"/>
                <a:gd name="connsiteX65" fmla="*/ 247659 w 368996"/>
                <a:gd name="connsiteY65" fmla="*/ 336288 h 425850"/>
                <a:gd name="connsiteX66" fmla="*/ 245753 w 368996"/>
                <a:gd name="connsiteY66" fmla="*/ 342003 h 425850"/>
                <a:gd name="connsiteX67" fmla="*/ 240038 w 368996"/>
                <a:gd name="connsiteY67" fmla="*/ 347083 h 425850"/>
                <a:gd name="connsiteX68" fmla="*/ 234959 w 368996"/>
                <a:gd name="connsiteY68" fmla="*/ 354068 h 425850"/>
                <a:gd name="connsiteX69" fmla="*/ 204478 w 368996"/>
                <a:gd name="connsiteY69" fmla="*/ 355338 h 425850"/>
                <a:gd name="connsiteX70" fmla="*/ 192413 w 368996"/>
                <a:gd name="connsiteY70" fmla="*/ 352163 h 425850"/>
                <a:gd name="connsiteX71" fmla="*/ 185428 w 368996"/>
                <a:gd name="connsiteY71" fmla="*/ 335653 h 425850"/>
                <a:gd name="connsiteX72" fmla="*/ 182888 w 368996"/>
                <a:gd name="connsiteY72" fmla="*/ 327398 h 425850"/>
                <a:gd name="connsiteX73" fmla="*/ 179713 w 368996"/>
                <a:gd name="connsiteY73" fmla="*/ 322318 h 425850"/>
                <a:gd name="connsiteX74" fmla="*/ 175903 w 368996"/>
                <a:gd name="connsiteY74" fmla="*/ 321048 h 425850"/>
                <a:gd name="connsiteX75" fmla="*/ 172093 w 368996"/>
                <a:gd name="connsiteY75" fmla="*/ 328668 h 425850"/>
                <a:gd name="connsiteX76" fmla="*/ 172093 w 368996"/>
                <a:gd name="connsiteY76" fmla="*/ 334383 h 425850"/>
                <a:gd name="connsiteX77" fmla="*/ 169553 w 368996"/>
                <a:gd name="connsiteY77" fmla="*/ 347718 h 425850"/>
                <a:gd name="connsiteX78" fmla="*/ 165743 w 368996"/>
                <a:gd name="connsiteY78" fmla="*/ 350258 h 425850"/>
                <a:gd name="connsiteX79" fmla="*/ 162568 w 368996"/>
                <a:gd name="connsiteY79" fmla="*/ 366133 h 425850"/>
                <a:gd name="connsiteX80" fmla="*/ 141613 w 368996"/>
                <a:gd name="connsiteY80" fmla="*/ 374388 h 425850"/>
                <a:gd name="connsiteX81" fmla="*/ 137803 w 368996"/>
                <a:gd name="connsiteY81" fmla="*/ 374388 h 425850"/>
                <a:gd name="connsiteX82" fmla="*/ 135899 w 368996"/>
                <a:gd name="connsiteY82" fmla="*/ 366768 h 425850"/>
                <a:gd name="connsiteX83" fmla="*/ 126374 w 368996"/>
                <a:gd name="connsiteY83" fmla="*/ 369308 h 425850"/>
                <a:gd name="connsiteX84" fmla="*/ 128278 w 368996"/>
                <a:gd name="connsiteY84" fmla="*/ 362958 h 425850"/>
                <a:gd name="connsiteX85" fmla="*/ 141613 w 368996"/>
                <a:gd name="connsiteY85" fmla="*/ 345178 h 425850"/>
                <a:gd name="connsiteX86" fmla="*/ 147328 w 368996"/>
                <a:gd name="connsiteY86" fmla="*/ 336288 h 425850"/>
                <a:gd name="connsiteX87" fmla="*/ 152409 w 368996"/>
                <a:gd name="connsiteY87" fmla="*/ 329303 h 425850"/>
                <a:gd name="connsiteX88" fmla="*/ 153678 w 368996"/>
                <a:gd name="connsiteY88" fmla="*/ 319143 h 425850"/>
                <a:gd name="connsiteX89" fmla="*/ 137803 w 368996"/>
                <a:gd name="connsiteY89" fmla="*/ 330573 h 425850"/>
                <a:gd name="connsiteX90" fmla="*/ 125103 w 368996"/>
                <a:gd name="connsiteY90" fmla="*/ 347083 h 425850"/>
                <a:gd name="connsiteX91" fmla="*/ 106053 w 368996"/>
                <a:gd name="connsiteY91" fmla="*/ 379468 h 425850"/>
                <a:gd name="connsiteX92" fmla="*/ 102243 w 368996"/>
                <a:gd name="connsiteY92" fmla="*/ 382008 h 425850"/>
                <a:gd name="connsiteX93" fmla="*/ 99068 w 368996"/>
                <a:gd name="connsiteY93" fmla="*/ 392803 h 425850"/>
                <a:gd name="connsiteX94" fmla="*/ 74303 w 368996"/>
                <a:gd name="connsiteY94" fmla="*/ 399788 h 425850"/>
                <a:gd name="connsiteX95" fmla="*/ 73668 w 368996"/>
                <a:gd name="connsiteY95" fmla="*/ 391533 h 425850"/>
                <a:gd name="connsiteX96" fmla="*/ 66049 w 368996"/>
                <a:gd name="connsiteY96" fmla="*/ 395978 h 425850"/>
                <a:gd name="connsiteX97" fmla="*/ 66049 w 368996"/>
                <a:gd name="connsiteY97" fmla="*/ 371213 h 425850"/>
                <a:gd name="connsiteX98" fmla="*/ 80018 w 368996"/>
                <a:gd name="connsiteY98" fmla="*/ 359783 h 425850"/>
                <a:gd name="connsiteX99" fmla="*/ 100338 w 368996"/>
                <a:gd name="connsiteY99" fmla="*/ 345178 h 425850"/>
                <a:gd name="connsiteX100" fmla="*/ 103513 w 368996"/>
                <a:gd name="connsiteY100" fmla="*/ 332478 h 425850"/>
                <a:gd name="connsiteX101" fmla="*/ 109228 w 368996"/>
                <a:gd name="connsiteY101" fmla="*/ 320413 h 425850"/>
                <a:gd name="connsiteX102" fmla="*/ 103513 w 368996"/>
                <a:gd name="connsiteY102" fmla="*/ 318508 h 425850"/>
                <a:gd name="connsiteX103" fmla="*/ 96528 w 368996"/>
                <a:gd name="connsiteY103" fmla="*/ 284853 h 425850"/>
                <a:gd name="connsiteX104" fmla="*/ 80018 w 368996"/>
                <a:gd name="connsiteY104" fmla="*/ 307078 h 425850"/>
                <a:gd name="connsiteX105" fmla="*/ 67318 w 368996"/>
                <a:gd name="connsiteY105" fmla="*/ 330573 h 425850"/>
                <a:gd name="connsiteX106" fmla="*/ 49538 w 368996"/>
                <a:gd name="connsiteY106" fmla="*/ 366768 h 425850"/>
                <a:gd name="connsiteX107" fmla="*/ 39378 w 368996"/>
                <a:gd name="connsiteY107" fmla="*/ 401693 h 425850"/>
                <a:gd name="connsiteX108" fmla="*/ 34299 w 368996"/>
                <a:gd name="connsiteY108" fmla="*/ 419473 h 425850"/>
                <a:gd name="connsiteX109" fmla="*/ 8263 w 368996"/>
                <a:gd name="connsiteY109" fmla="*/ 424553 h 425850"/>
                <a:gd name="connsiteX110" fmla="*/ 11438 w 368996"/>
                <a:gd name="connsiteY110" fmla="*/ 413123 h 425850"/>
                <a:gd name="connsiteX111" fmla="*/ 643 w 368996"/>
                <a:gd name="connsiteY111" fmla="*/ 421378 h 425850"/>
                <a:gd name="connsiteX112" fmla="*/ 10803 w 368996"/>
                <a:gd name="connsiteY112" fmla="*/ 396613 h 425850"/>
                <a:gd name="connsiteX113" fmla="*/ 12709 w 368996"/>
                <a:gd name="connsiteY113" fmla="*/ 392803 h 425850"/>
                <a:gd name="connsiteX114" fmla="*/ 33028 w 368996"/>
                <a:gd name="connsiteY114" fmla="*/ 361688 h 425850"/>
                <a:gd name="connsiteX115" fmla="*/ 43188 w 368996"/>
                <a:gd name="connsiteY115" fmla="*/ 328033 h 425850"/>
                <a:gd name="connsiteX116" fmla="*/ 45093 w 368996"/>
                <a:gd name="connsiteY116" fmla="*/ 293743 h 425850"/>
                <a:gd name="connsiteX117" fmla="*/ 57793 w 368996"/>
                <a:gd name="connsiteY117" fmla="*/ 241673 h 425850"/>
                <a:gd name="connsiteX118" fmla="*/ 67953 w 368996"/>
                <a:gd name="connsiteY118" fmla="*/ 204208 h 425850"/>
                <a:gd name="connsiteX119" fmla="*/ 91449 w 368996"/>
                <a:gd name="connsiteY119" fmla="*/ 155948 h 425850"/>
                <a:gd name="connsiteX120" fmla="*/ 116849 w 368996"/>
                <a:gd name="connsiteY120" fmla="*/ 109593 h 425850"/>
                <a:gd name="connsiteX121" fmla="*/ 142249 w 368996"/>
                <a:gd name="connsiteY121" fmla="*/ 96258 h 425850"/>
                <a:gd name="connsiteX122" fmla="*/ 176538 w 368996"/>
                <a:gd name="connsiteY122" fmla="*/ 69588 h 425850"/>
                <a:gd name="connsiteX123" fmla="*/ 197493 w 368996"/>
                <a:gd name="connsiteY123" fmla="*/ 65143 h 425850"/>
                <a:gd name="connsiteX124" fmla="*/ 240038 w 368996"/>
                <a:gd name="connsiteY124" fmla="*/ 79748 h 425850"/>
                <a:gd name="connsiteX125" fmla="*/ 260993 w 368996"/>
                <a:gd name="connsiteY125" fmla="*/ 84193 h 425850"/>
                <a:gd name="connsiteX126" fmla="*/ 242578 w 368996"/>
                <a:gd name="connsiteY126" fmla="*/ 46728 h 425850"/>
                <a:gd name="connsiteX127" fmla="*/ 182888 w 368996"/>
                <a:gd name="connsiteY127" fmla="*/ 46093 h 425850"/>
                <a:gd name="connsiteX128" fmla="*/ 130184 w 368996"/>
                <a:gd name="connsiteY128" fmla="*/ 16248 h 425850"/>
                <a:gd name="connsiteX129" fmla="*/ 240038 w 368996"/>
                <a:gd name="connsiteY129" fmla="*/ 14978 h 425850"/>
                <a:gd name="connsiteX130" fmla="*/ 208924 w 368996"/>
                <a:gd name="connsiteY130" fmla="*/ 13708 h 425850"/>
                <a:gd name="connsiteX131" fmla="*/ 197493 w 368996"/>
                <a:gd name="connsiteY131" fmla="*/ 14978 h 425850"/>
                <a:gd name="connsiteX132" fmla="*/ 212099 w 368996"/>
                <a:gd name="connsiteY132" fmla="*/ 19423 h 425850"/>
                <a:gd name="connsiteX133" fmla="*/ 216543 w 368996"/>
                <a:gd name="connsiteY133" fmla="*/ 24503 h 425850"/>
                <a:gd name="connsiteX134" fmla="*/ 152409 w 368996"/>
                <a:gd name="connsiteY134" fmla="*/ 11803 h 425850"/>
                <a:gd name="connsiteX135" fmla="*/ 142884 w 368996"/>
                <a:gd name="connsiteY135" fmla="*/ 32123 h 425850"/>
                <a:gd name="connsiteX136" fmla="*/ 257818 w 368996"/>
                <a:gd name="connsiteY136" fmla="*/ 39108 h 425850"/>
                <a:gd name="connsiteX137" fmla="*/ 289568 w 368996"/>
                <a:gd name="connsiteY137" fmla="*/ 63238 h 425850"/>
                <a:gd name="connsiteX138" fmla="*/ 285124 w 368996"/>
                <a:gd name="connsiteY138" fmla="*/ 91178 h 425850"/>
                <a:gd name="connsiteX139" fmla="*/ 300999 w 368996"/>
                <a:gd name="connsiteY139" fmla="*/ 120388 h 425850"/>
                <a:gd name="connsiteX140" fmla="*/ 318143 w 368996"/>
                <a:gd name="connsiteY140" fmla="*/ 159758 h 425850"/>
                <a:gd name="connsiteX141" fmla="*/ 314968 w 368996"/>
                <a:gd name="connsiteY141" fmla="*/ 189603 h 425850"/>
                <a:gd name="connsiteX142" fmla="*/ 316874 w 368996"/>
                <a:gd name="connsiteY142" fmla="*/ 220718 h 425850"/>
                <a:gd name="connsiteX143" fmla="*/ 307349 w 368996"/>
                <a:gd name="connsiteY143" fmla="*/ 219448 h 425850"/>
                <a:gd name="connsiteX144" fmla="*/ 308618 w 368996"/>
                <a:gd name="connsiteY144" fmla="*/ 206113 h 425850"/>
                <a:gd name="connsiteX145" fmla="*/ 304174 w 368996"/>
                <a:gd name="connsiteY145" fmla="*/ 185793 h 425850"/>
                <a:gd name="connsiteX146" fmla="*/ 309253 w 368996"/>
                <a:gd name="connsiteY146" fmla="*/ 154043 h 425850"/>
                <a:gd name="connsiteX147" fmla="*/ 300999 w 368996"/>
                <a:gd name="connsiteY147" fmla="*/ 133723 h 425850"/>
                <a:gd name="connsiteX148" fmla="*/ 294649 w 368996"/>
                <a:gd name="connsiteY148" fmla="*/ 122293 h 425850"/>
                <a:gd name="connsiteX149" fmla="*/ 284488 w 368996"/>
                <a:gd name="connsiteY149" fmla="*/ 103243 h 425850"/>
                <a:gd name="connsiteX150" fmla="*/ 276234 w 368996"/>
                <a:gd name="connsiteY150" fmla="*/ 96258 h 425850"/>
                <a:gd name="connsiteX151" fmla="*/ 266074 w 368996"/>
                <a:gd name="connsiteY151" fmla="*/ 98163 h 425850"/>
                <a:gd name="connsiteX152" fmla="*/ 255913 w 368996"/>
                <a:gd name="connsiteY152" fmla="*/ 101973 h 425850"/>
                <a:gd name="connsiteX153" fmla="*/ 255913 w 368996"/>
                <a:gd name="connsiteY153" fmla="*/ 108323 h 425850"/>
                <a:gd name="connsiteX154" fmla="*/ 264803 w 368996"/>
                <a:gd name="connsiteY154" fmla="*/ 117213 h 425850"/>
                <a:gd name="connsiteX155" fmla="*/ 262899 w 368996"/>
                <a:gd name="connsiteY155" fmla="*/ 141343 h 425850"/>
                <a:gd name="connsiteX156" fmla="*/ 246388 w 368996"/>
                <a:gd name="connsiteY156" fmla="*/ 132453 h 425850"/>
                <a:gd name="connsiteX157" fmla="*/ 222893 w 368996"/>
                <a:gd name="connsiteY157" fmla="*/ 100068 h 425850"/>
                <a:gd name="connsiteX158" fmla="*/ 210193 w 368996"/>
                <a:gd name="connsiteY158" fmla="*/ 96258 h 425850"/>
                <a:gd name="connsiteX159" fmla="*/ 210193 w 368996"/>
                <a:gd name="connsiteY159" fmla="*/ 98798 h 425850"/>
                <a:gd name="connsiteX160" fmla="*/ 233688 w 368996"/>
                <a:gd name="connsiteY160" fmla="*/ 138803 h 425850"/>
                <a:gd name="connsiteX161" fmla="*/ 251468 w 368996"/>
                <a:gd name="connsiteY161" fmla="*/ 180713 h 425850"/>
                <a:gd name="connsiteX162" fmla="*/ 251468 w 368996"/>
                <a:gd name="connsiteY162" fmla="*/ 188968 h 425850"/>
                <a:gd name="connsiteX163" fmla="*/ 245753 w 368996"/>
                <a:gd name="connsiteY163" fmla="*/ 178808 h 425850"/>
                <a:gd name="connsiteX164" fmla="*/ 242578 w 368996"/>
                <a:gd name="connsiteY164" fmla="*/ 170553 h 425850"/>
                <a:gd name="connsiteX165" fmla="*/ 223528 w 368996"/>
                <a:gd name="connsiteY165" fmla="*/ 172458 h 425850"/>
                <a:gd name="connsiteX166" fmla="*/ 213368 w 368996"/>
                <a:gd name="connsiteY166" fmla="*/ 174998 h 425850"/>
                <a:gd name="connsiteX167" fmla="*/ 216543 w 368996"/>
                <a:gd name="connsiteY167" fmla="*/ 180713 h 425850"/>
                <a:gd name="connsiteX168" fmla="*/ 235593 w 368996"/>
                <a:gd name="connsiteY168" fmla="*/ 188968 h 425850"/>
                <a:gd name="connsiteX169" fmla="*/ 234324 w 368996"/>
                <a:gd name="connsiteY169" fmla="*/ 190873 h 425850"/>
                <a:gd name="connsiteX170" fmla="*/ 227338 w 368996"/>
                <a:gd name="connsiteY170" fmla="*/ 186428 h 425850"/>
                <a:gd name="connsiteX171" fmla="*/ 218449 w 368996"/>
                <a:gd name="connsiteY171" fmla="*/ 190238 h 425850"/>
                <a:gd name="connsiteX172" fmla="*/ 221624 w 368996"/>
                <a:gd name="connsiteY172" fmla="*/ 195318 h 425850"/>
                <a:gd name="connsiteX173" fmla="*/ 245118 w 368996"/>
                <a:gd name="connsiteY173" fmla="*/ 205478 h 425850"/>
                <a:gd name="connsiteX174" fmla="*/ 250199 w 368996"/>
                <a:gd name="connsiteY174" fmla="*/ 210558 h 425850"/>
                <a:gd name="connsiteX175" fmla="*/ 259088 w 368996"/>
                <a:gd name="connsiteY175" fmla="*/ 210558 h 425850"/>
                <a:gd name="connsiteX176" fmla="*/ 304174 w 368996"/>
                <a:gd name="connsiteY176" fmla="*/ 228338 h 425850"/>
                <a:gd name="connsiteX177" fmla="*/ 342274 w 368996"/>
                <a:gd name="connsiteY177" fmla="*/ 251833 h 425850"/>
                <a:gd name="connsiteX178" fmla="*/ 362593 w 368996"/>
                <a:gd name="connsiteY178" fmla="*/ 252468 h 425850"/>
                <a:gd name="connsiteX179" fmla="*/ 363863 w 368996"/>
                <a:gd name="connsiteY179" fmla="*/ 256913 h 425850"/>
                <a:gd name="connsiteX180" fmla="*/ 295284 w 368996"/>
                <a:gd name="connsiteY180" fmla="*/ 241673 h 425850"/>
                <a:gd name="connsiteX181" fmla="*/ 294649 w 368996"/>
                <a:gd name="connsiteY181" fmla="*/ 226433 h 425850"/>
                <a:gd name="connsiteX182" fmla="*/ 285759 w 368996"/>
                <a:gd name="connsiteY182" fmla="*/ 221988 h 425850"/>
                <a:gd name="connsiteX183" fmla="*/ 275599 w 368996"/>
                <a:gd name="connsiteY183" fmla="*/ 221353 h 425850"/>
                <a:gd name="connsiteX184" fmla="*/ 267978 w 368996"/>
                <a:gd name="connsiteY184" fmla="*/ 216908 h 425850"/>
                <a:gd name="connsiteX185" fmla="*/ 263534 w 368996"/>
                <a:gd name="connsiteY185" fmla="*/ 217543 h 425850"/>
                <a:gd name="connsiteX186" fmla="*/ 261628 w 368996"/>
                <a:gd name="connsiteY186" fmla="*/ 221353 h 425850"/>
                <a:gd name="connsiteX187" fmla="*/ 262899 w 368996"/>
                <a:gd name="connsiteY187" fmla="*/ 226433 h 425850"/>
                <a:gd name="connsiteX188" fmla="*/ 271153 w 368996"/>
                <a:gd name="connsiteY188" fmla="*/ 230243 h 425850"/>
                <a:gd name="connsiteX189" fmla="*/ 271788 w 368996"/>
                <a:gd name="connsiteY189" fmla="*/ 232783 h 425850"/>
                <a:gd name="connsiteX190" fmla="*/ 256549 w 368996"/>
                <a:gd name="connsiteY190" fmla="*/ 230878 h 425850"/>
                <a:gd name="connsiteX191" fmla="*/ 256549 w 368996"/>
                <a:gd name="connsiteY191" fmla="*/ 221353 h 425850"/>
                <a:gd name="connsiteX192" fmla="*/ 246388 w 368996"/>
                <a:gd name="connsiteY192" fmla="*/ 214368 h 425850"/>
                <a:gd name="connsiteX193" fmla="*/ 245753 w 368996"/>
                <a:gd name="connsiteY193" fmla="*/ 217543 h 425850"/>
                <a:gd name="connsiteX194" fmla="*/ 243849 w 368996"/>
                <a:gd name="connsiteY194" fmla="*/ 229608 h 425850"/>
                <a:gd name="connsiteX195" fmla="*/ 243213 w 368996"/>
                <a:gd name="connsiteY195" fmla="*/ 245483 h 425850"/>
                <a:gd name="connsiteX196" fmla="*/ 276234 w 368996"/>
                <a:gd name="connsiteY196" fmla="*/ 245483 h 425850"/>
                <a:gd name="connsiteX197" fmla="*/ 275599 w 368996"/>
                <a:gd name="connsiteY197" fmla="*/ 249293 h 425850"/>
                <a:gd name="connsiteX198" fmla="*/ 264168 w 368996"/>
                <a:gd name="connsiteY198" fmla="*/ 255643 h 425850"/>
                <a:gd name="connsiteX199" fmla="*/ 254643 w 368996"/>
                <a:gd name="connsiteY199" fmla="*/ 257548 h 425850"/>
                <a:gd name="connsiteX200" fmla="*/ 210193 w 368996"/>
                <a:gd name="connsiteY200" fmla="*/ 234053 h 425850"/>
                <a:gd name="connsiteX201" fmla="*/ 235593 w 368996"/>
                <a:gd name="connsiteY201" fmla="*/ 211193 h 425850"/>
                <a:gd name="connsiteX202" fmla="*/ 236863 w 368996"/>
                <a:gd name="connsiteY202" fmla="*/ 211193 h 425850"/>
                <a:gd name="connsiteX203" fmla="*/ 235593 w 368996"/>
                <a:gd name="connsiteY203" fmla="*/ 205478 h 425850"/>
                <a:gd name="connsiteX204" fmla="*/ 220988 w 368996"/>
                <a:gd name="connsiteY204" fmla="*/ 202303 h 425850"/>
                <a:gd name="connsiteX205" fmla="*/ 208924 w 368996"/>
                <a:gd name="connsiteY205" fmla="*/ 209288 h 425850"/>
                <a:gd name="connsiteX206" fmla="*/ 204478 w 368996"/>
                <a:gd name="connsiteY206" fmla="*/ 206748 h 425850"/>
                <a:gd name="connsiteX207" fmla="*/ 185428 w 368996"/>
                <a:gd name="connsiteY207" fmla="*/ 204843 h 425850"/>
                <a:gd name="connsiteX208" fmla="*/ 185428 w 368996"/>
                <a:gd name="connsiteY208" fmla="*/ 214368 h 425850"/>
                <a:gd name="connsiteX209" fmla="*/ 195588 w 368996"/>
                <a:gd name="connsiteY209" fmla="*/ 230878 h 425850"/>
                <a:gd name="connsiteX210" fmla="*/ 203209 w 368996"/>
                <a:gd name="connsiteY210" fmla="*/ 236593 h 425850"/>
                <a:gd name="connsiteX211" fmla="*/ 208288 w 368996"/>
                <a:gd name="connsiteY211" fmla="*/ 250563 h 425850"/>
                <a:gd name="connsiteX212" fmla="*/ 201938 w 368996"/>
                <a:gd name="connsiteY212" fmla="*/ 262628 h 425850"/>
                <a:gd name="connsiteX213" fmla="*/ 190509 w 368996"/>
                <a:gd name="connsiteY213" fmla="*/ 284218 h 425850"/>
                <a:gd name="connsiteX214" fmla="*/ 187968 w 368996"/>
                <a:gd name="connsiteY214" fmla="*/ 295013 h 425850"/>
                <a:gd name="connsiteX215" fmla="*/ 189874 w 368996"/>
                <a:gd name="connsiteY215" fmla="*/ 306443 h 425850"/>
                <a:gd name="connsiteX216" fmla="*/ 210193 w 368996"/>
                <a:gd name="connsiteY216" fmla="*/ 289298 h 425850"/>
                <a:gd name="connsiteX217" fmla="*/ 205749 w 368996"/>
                <a:gd name="connsiteY217" fmla="*/ 306443 h 425850"/>
                <a:gd name="connsiteX218" fmla="*/ 202574 w 368996"/>
                <a:gd name="connsiteY218" fmla="*/ 314698 h 425850"/>
                <a:gd name="connsiteX219" fmla="*/ 198763 w 368996"/>
                <a:gd name="connsiteY219" fmla="*/ 326763 h 425850"/>
                <a:gd name="connsiteX220" fmla="*/ 197493 w 368996"/>
                <a:gd name="connsiteY220" fmla="*/ 338193 h 425850"/>
                <a:gd name="connsiteX221" fmla="*/ 199399 w 368996"/>
                <a:gd name="connsiteY221" fmla="*/ 344543 h 425850"/>
                <a:gd name="connsiteX222" fmla="*/ 203843 w 368996"/>
                <a:gd name="connsiteY222" fmla="*/ 343273 h 425850"/>
                <a:gd name="connsiteX223" fmla="*/ 205749 w 368996"/>
                <a:gd name="connsiteY223" fmla="*/ 337558 h 425850"/>
                <a:gd name="connsiteX224" fmla="*/ 212734 w 368996"/>
                <a:gd name="connsiteY224" fmla="*/ 340098 h 425850"/>
                <a:gd name="connsiteX225" fmla="*/ 212099 w 368996"/>
                <a:gd name="connsiteY225" fmla="*/ 344543 h 425850"/>
                <a:gd name="connsiteX226" fmla="*/ 207653 w 368996"/>
                <a:gd name="connsiteY226" fmla="*/ 347718 h 425850"/>
                <a:gd name="connsiteX227" fmla="*/ 213368 w 368996"/>
                <a:gd name="connsiteY227" fmla="*/ 352163 h 425850"/>
                <a:gd name="connsiteX228" fmla="*/ 227338 w 368996"/>
                <a:gd name="connsiteY228" fmla="*/ 351528 h 425850"/>
                <a:gd name="connsiteX229" fmla="*/ 236863 w 368996"/>
                <a:gd name="connsiteY229" fmla="*/ 350258 h 425850"/>
                <a:gd name="connsiteX230" fmla="*/ 240674 w 368996"/>
                <a:gd name="connsiteY230" fmla="*/ 344543 h 425850"/>
                <a:gd name="connsiteX231" fmla="*/ 243849 w 368996"/>
                <a:gd name="connsiteY231" fmla="*/ 341368 h 425850"/>
                <a:gd name="connsiteX232" fmla="*/ 245118 w 368996"/>
                <a:gd name="connsiteY232" fmla="*/ 333113 h 425850"/>
                <a:gd name="connsiteX233" fmla="*/ 245753 w 368996"/>
                <a:gd name="connsiteY233" fmla="*/ 324223 h 425850"/>
                <a:gd name="connsiteX234" fmla="*/ 248293 w 368996"/>
                <a:gd name="connsiteY234" fmla="*/ 315333 h 425850"/>
                <a:gd name="connsiteX235" fmla="*/ 252738 w 368996"/>
                <a:gd name="connsiteY235" fmla="*/ 306443 h 425850"/>
                <a:gd name="connsiteX236" fmla="*/ 258453 w 368996"/>
                <a:gd name="connsiteY236" fmla="*/ 298823 h 425850"/>
                <a:gd name="connsiteX237" fmla="*/ 265438 w 368996"/>
                <a:gd name="connsiteY237" fmla="*/ 291838 h 425850"/>
                <a:gd name="connsiteX238" fmla="*/ 271153 w 368996"/>
                <a:gd name="connsiteY238" fmla="*/ 287393 h 425850"/>
                <a:gd name="connsiteX239" fmla="*/ 278138 w 368996"/>
                <a:gd name="connsiteY239" fmla="*/ 282948 h 425850"/>
                <a:gd name="connsiteX240" fmla="*/ 287028 w 368996"/>
                <a:gd name="connsiteY240" fmla="*/ 277868 h 425850"/>
                <a:gd name="connsiteX241" fmla="*/ 294013 w 368996"/>
                <a:gd name="connsiteY241" fmla="*/ 243578 h 425850"/>
                <a:gd name="connsiteX242" fmla="*/ 294013 w 368996"/>
                <a:gd name="connsiteY242" fmla="*/ 243578 h 425850"/>
                <a:gd name="connsiteX243" fmla="*/ 293378 w 368996"/>
                <a:gd name="connsiteY243" fmla="*/ 269613 h 425850"/>
                <a:gd name="connsiteX244" fmla="*/ 287028 w 368996"/>
                <a:gd name="connsiteY244" fmla="*/ 280408 h 425850"/>
                <a:gd name="connsiteX245" fmla="*/ 297824 w 368996"/>
                <a:gd name="connsiteY245" fmla="*/ 298188 h 425850"/>
                <a:gd name="connsiteX246" fmla="*/ 303538 w 368996"/>
                <a:gd name="connsiteY246" fmla="*/ 296283 h 425850"/>
                <a:gd name="connsiteX247" fmla="*/ 304809 w 368996"/>
                <a:gd name="connsiteY247" fmla="*/ 284853 h 425850"/>
                <a:gd name="connsiteX248" fmla="*/ 303538 w 368996"/>
                <a:gd name="connsiteY248" fmla="*/ 270883 h 425850"/>
                <a:gd name="connsiteX249" fmla="*/ 297824 w 368996"/>
                <a:gd name="connsiteY249" fmla="*/ 261358 h 425850"/>
                <a:gd name="connsiteX250" fmla="*/ 293378 w 368996"/>
                <a:gd name="connsiteY250" fmla="*/ 269613 h 425850"/>
                <a:gd name="connsiteX251" fmla="*/ 180984 w 368996"/>
                <a:gd name="connsiteY251" fmla="*/ 221988 h 425850"/>
                <a:gd name="connsiteX252" fmla="*/ 173363 w 368996"/>
                <a:gd name="connsiteY252" fmla="*/ 203573 h 425850"/>
                <a:gd name="connsiteX253" fmla="*/ 163203 w 368996"/>
                <a:gd name="connsiteY253" fmla="*/ 197223 h 425850"/>
                <a:gd name="connsiteX254" fmla="*/ 153043 w 368996"/>
                <a:gd name="connsiteY254" fmla="*/ 202303 h 425850"/>
                <a:gd name="connsiteX255" fmla="*/ 146059 w 368996"/>
                <a:gd name="connsiteY255" fmla="*/ 211828 h 425850"/>
                <a:gd name="connsiteX256" fmla="*/ 130818 w 368996"/>
                <a:gd name="connsiteY256" fmla="*/ 216908 h 425850"/>
                <a:gd name="connsiteX257" fmla="*/ 112403 w 368996"/>
                <a:gd name="connsiteY257" fmla="*/ 209923 h 425850"/>
                <a:gd name="connsiteX258" fmla="*/ 102878 w 368996"/>
                <a:gd name="connsiteY258" fmla="*/ 220718 h 425850"/>
                <a:gd name="connsiteX259" fmla="*/ 90813 w 368996"/>
                <a:gd name="connsiteY259" fmla="*/ 225798 h 425850"/>
                <a:gd name="connsiteX260" fmla="*/ 80018 w 368996"/>
                <a:gd name="connsiteY260" fmla="*/ 221988 h 425850"/>
                <a:gd name="connsiteX261" fmla="*/ 70493 w 368996"/>
                <a:gd name="connsiteY261" fmla="*/ 249928 h 425850"/>
                <a:gd name="connsiteX262" fmla="*/ 59063 w 368996"/>
                <a:gd name="connsiteY262" fmla="*/ 279138 h 425850"/>
                <a:gd name="connsiteX263" fmla="*/ 57159 w 368996"/>
                <a:gd name="connsiteY263" fmla="*/ 287393 h 425850"/>
                <a:gd name="connsiteX264" fmla="*/ 58428 w 368996"/>
                <a:gd name="connsiteY264" fmla="*/ 307713 h 425850"/>
                <a:gd name="connsiteX265" fmla="*/ 79384 w 368996"/>
                <a:gd name="connsiteY265" fmla="*/ 288663 h 425850"/>
                <a:gd name="connsiteX266" fmla="*/ 90178 w 368996"/>
                <a:gd name="connsiteY266" fmla="*/ 273423 h 425850"/>
                <a:gd name="connsiteX267" fmla="*/ 100974 w 368996"/>
                <a:gd name="connsiteY267" fmla="*/ 269613 h 425850"/>
                <a:gd name="connsiteX268" fmla="*/ 116849 w 368996"/>
                <a:gd name="connsiteY268" fmla="*/ 271518 h 425850"/>
                <a:gd name="connsiteX269" fmla="*/ 130818 w 368996"/>
                <a:gd name="connsiteY269" fmla="*/ 274693 h 425850"/>
                <a:gd name="connsiteX270" fmla="*/ 131453 w 368996"/>
                <a:gd name="connsiteY270" fmla="*/ 277868 h 425850"/>
                <a:gd name="connsiteX271" fmla="*/ 121928 w 368996"/>
                <a:gd name="connsiteY271" fmla="*/ 280408 h 425850"/>
                <a:gd name="connsiteX272" fmla="*/ 116213 w 368996"/>
                <a:gd name="connsiteY272" fmla="*/ 284853 h 425850"/>
                <a:gd name="connsiteX273" fmla="*/ 112403 w 368996"/>
                <a:gd name="connsiteY273" fmla="*/ 296283 h 425850"/>
                <a:gd name="connsiteX274" fmla="*/ 113038 w 368996"/>
                <a:gd name="connsiteY274" fmla="*/ 308983 h 425850"/>
                <a:gd name="connsiteX275" fmla="*/ 125103 w 368996"/>
                <a:gd name="connsiteY275" fmla="*/ 312158 h 425850"/>
                <a:gd name="connsiteX276" fmla="*/ 149868 w 368996"/>
                <a:gd name="connsiteY276" fmla="*/ 310253 h 425850"/>
                <a:gd name="connsiteX277" fmla="*/ 163838 w 368996"/>
                <a:gd name="connsiteY277" fmla="*/ 310253 h 425850"/>
                <a:gd name="connsiteX278" fmla="*/ 176538 w 368996"/>
                <a:gd name="connsiteY278" fmla="*/ 305808 h 425850"/>
                <a:gd name="connsiteX279" fmla="*/ 170188 w 368996"/>
                <a:gd name="connsiteY279" fmla="*/ 291203 h 425850"/>
                <a:gd name="connsiteX280" fmla="*/ 160028 w 368996"/>
                <a:gd name="connsiteY280" fmla="*/ 273423 h 425850"/>
                <a:gd name="connsiteX281" fmla="*/ 160028 w 368996"/>
                <a:gd name="connsiteY281" fmla="*/ 261993 h 425850"/>
                <a:gd name="connsiteX282" fmla="*/ 170188 w 368996"/>
                <a:gd name="connsiteY282" fmla="*/ 248023 h 425850"/>
                <a:gd name="connsiteX283" fmla="*/ 180984 w 368996"/>
                <a:gd name="connsiteY283" fmla="*/ 221988 h 425850"/>
                <a:gd name="connsiteX284" fmla="*/ 180984 w 368996"/>
                <a:gd name="connsiteY284" fmla="*/ 221988 h 42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368996" h="425850">
                  <a:moveTo>
                    <a:pt x="130184" y="325493"/>
                  </a:moveTo>
                  <a:cubicBezTo>
                    <a:pt x="128913" y="323588"/>
                    <a:pt x="128278" y="322953"/>
                    <a:pt x="125738" y="324223"/>
                  </a:cubicBezTo>
                  <a:cubicBezTo>
                    <a:pt x="123834" y="326763"/>
                    <a:pt x="121928" y="328668"/>
                    <a:pt x="121293" y="331208"/>
                  </a:cubicBezTo>
                  <a:cubicBezTo>
                    <a:pt x="120024" y="333748"/>
                    <a:pt x="116849" y="335018"/>
                    <a:pt x="118753" y="337558"/>
                  </a:cubicBezTo>
                  <a:cubicBezTo>
                    <a:pt x="128913" y="338193"/>
                    <a:pt x="127643" y="331843"/>
                    <a:pt x="130184" y="325493"/>
                  </a:cubicBezTo>
                  <a:lnTo>
                    <a:pt x="130184" y="325493"/>
                  </a:lnTo>
                  <a:close/>
                  <a:moveTo>
                    <a:pt x="58428" y="335653"/>
                  </a:moveTo>
                  <a:cubicBezTo>
                    <a:pt x="58428" y="333748"/>
                    <a:pt x="55888" y="330573"/>
                    <a:pt x="55888" y="330573"/>
                  </a:cubicBezTo>
                  <a:cubicBezTo>
                    <a:pt x="52078" y="333113"/>
                    <a:pt x="52078" y="337558"/>
                    <a:pt x="50174" y="342003"/>
                  </a:cubicBezTo>
                  <a:cubicBezTo>
                    <a:pt x="48268" y="345813"/>
                    <a:pt x="45728" y="348988"/>
                    <a:pt x="46363" y="353433"/>
                  </a:cubicBezTo>
                  <a:lnTo>
                    <a:pt x="46999" y="353433"/>
                  </a:lnTo>
                  <a:cubicBezTo>
                    <a:pt x="52078" y="349623"/>
                    <a:pt x="59063" y="345178"/>
                    <a:pt x="58428" y="335653"/>
                  </a:cubicBezTo>
                  <a:lnTo>
                    <a:pt x="58428" y="335653"/>
                  </a:lnTo>
                  <a:close/>
                  <a:moveTo>
                    <a:pt x="125738" y="169283"/>
                  </a:moveTo>
                  <a:cubicBezTo>
                    <a:pt x="124468" y="166743"/>
                    <a:pt x="127009" y="162933"/>
                    <a:pt x="123199" y="162933"/>
                  </a:cubicBezTo>
                  <a:cubicBezTo>
                    <a:pt x="118753" y="164838"/>
                    <a:pt x="120024" y="169918"/>
                    <a:pt x="119388" y="173728"/>
                  </a:cubicBezTo>
                  <a:cubicBezTo>
                    <a:pt x="115578" y="178173"/>
                    <a:pt x="110499" y="182618"/>
                    <a:pt x="111768" y="188968"/>
                  </a:cubicBezTo>
                  <a:cubicBezTo>
                    <a:pt x="112403" y="193413"/>
                    <a:pt x="116213" y="195953"/>
                    <a:pt x="120024" y="197858"/>
                  </a:cubicBezTo>
                  <a:cubicBezTo>
                    <a:pt x="127643" y="199128"/>
                    <a:pt x="135263" y="198493"/>
                    <a:pt x="143518" y="195953"/>
                  </a:cubicBezTo>
                  <a:lnTo>
                    <a:pt x="143518" y="194048"/>
                  </a:lnTo>
                  <a:cubicBezTo>
                    <a:pt x="136534" y="187698"/>
                    <a:pt x="127643" y="180078"/>
                    <a:pt x="125738" y="169283"/>
                  </a:cubicBezTo>
                  <a:lnTo>
                    <a:pt x="125738" y="169283"/>
                  </a:lnTo>
                  <a:close/>
                  <a:moveTo>
                    <a:pt x="202574" y="141978"/>
                  </a:moveTo>
                  <a:cubicBezTo>
                    <a:pt x="203209" y="142613"/>
                    <a:pt x="203843" y="143883"/>
                    <a:pt x="204478" y="145153"/>
                  </a:cubicBezTo>
                  <a:cubicBezTo>
                    <a:pt x="204478" y="152138"/>
                    <a:pt x="213368" y="150233"/>
                    <a:pt x="217813" y="155948"/>
                  </a:cubicBezTo>
                  <a:cubicBezTo>
                    <a:pt x="221624" y="157853"/>
                    <a:pt x="224163" y="154043"/>
                    <a:pt x="227974" y="154043"/>
                  </a:cubicBezTo>
                  <a:cubicBezTo>
                    <a:pt x="231149" y="118483"/>
                    <a:pt x="191143" y="112133"/>
                    <a:pt x="198763" y="127373"/>
                  </a:cubicBezTo>
                  <a:cubicBezTo>
                    <a:pt x="200034" y="131818"/>
                    <a:pt x="194318" y="126738"/>
                    <a:pt x="191778" y="127373"/>
                  </a:cubicBezTo>
                  <a:cubicBezTo>
                    <a:pt x="181618" y="129278"/>
                    <a:pt x="180984" y="137533"/>
                    <a:pt x="185428" y="140708"/>
                  </a:cubicBezTo>
                  <a:cubicBezTo>
                    <a:pt x="194318" y="144518"/>
                    <a:pt x="196859" y="135628"/>
                    <a:pt x="202574" y="141978"/>
                  </a:cubicBezTo>
                  <a:lnTo>
                    <a:pt x="202574" y="141978"/>
                  </a:lnTo>
                  <a:close/>
                  <a:moveTo>
                    <a:pt x="205113" y="88003"/>
                  </a:moveTo>
                  <a:cubicBezTo>
                    <a:pt x="207653" y="88638"/>
                    <a:pt x="207018" y="86098"/>
                    <a:pt x="209559" y="86733"/>
                  </a:cubicBezTo>
                  <a:cubicBezTo>
                    <a:pt x="210193" y="85463"/>
                    <a:pt x="206384" y="79113"/>
                    <a:pt x="201938" y="77843"/>
                  </a:cubicBezTo>
                  <a:cubicBezTo>
                    <a:pt x="200668" y="77843"/>
                    <a:pt x="198763" y="77208"/>
                    <a:pt x="198128" y="79113"/>
                  </a:cubicBezTo>
                  <a:cubicBezTo>
                    <a:pt x="200668" y="81653"/>
                    <a:pt x="203209" y="88638"/>
                    <a:pt x="205113" y="88003"/>
                  </a:cubicBezTo>
                  <a:close/>
                  <a:moveTo>
                    <a:pt x="196224" y="18153"/>
                  </a:moveTo>
                  <a:cubicBezTo>
                    <a:pt x="192413" y="15613"/>
                    <a:pt x="187334" y="13073"/>
                    <a:pt x="184159" y="13073"/>
                  </a:cubicBezTo>
                  <a:cubicBezTo>
                    <a:pt x="182888" y="13708"/>
                    <a:pt x="181618" y="15613"/>
                    <a:pt x="181618" y="16883"/>
                  </a:cubicBezTo>
                  <a:cubicBezTo>
                    <a:pt x="186063" y="20693"/>
                    <a:pt x="193049" y="20058"/>
                    <a:pt x="196224" y="18153"/>
                  </a:cubicBezTo>
                  <a:lnTo>
                    <a:pt x="196224" y="18153"/>
                  </a:lnTo>
                  <a:close/>
                  <a:moveTo>
                    <a:pt x="226068" y="279138"/>
                  </a:moveTo>
                  <a:cubicBezTo>
                    <a:pt x="226068" y="281043"/>
                    <a:pt x="224163" y="282313"/>
                    <a:pt x="222259" y="282313"/>
                  </a:cubicBezTo>
                  <a:cubicBezTo>
                    <a:pt x="219084" y="282948"/>
                    <a:pt x="216543" y="279773"/>
                    <a:pt x="214638" y="277233"/>
                  </a:cubicBezTo>
                  <a:cubicBezTo>
                    <a:pt x="212734" y="274058"/>
                    <a:pt x="213368" y="270248"/>
                    <a:pt x="214638" y="266438"/>
                  </a:cubicBezTo>
                  <a:lnTo>
                    <a:pt x="215909" y="265803"/>
                  </a:lnTo>
                  <a:cubicBezTo>
                    <a:pt x="217813" y="270883"/>
                    <a:pt x="219718" y="277868"/>
                    <a:pt x="226068" y="279138"/>
                  </a:cubicBezTo>
                  <a:lnTo>
                    <a:pt x="226068" y="279138"/>
                  </a:lnTo>
                  <a:close/>
                  <a:moveTo>
                    <a:pt x="294013" y="243578"/>
                  </a:moveTo>
                  <a:cubicBezTo>
                    <a:pt x="296553" y="245483"/>
                    <a:pt x="306713" y="252468"/>
                    <a:pt x="308618" y="253738"/>
                  </a:cubicBezTo>
                  <a:cubicBezTo>
                    <a:pt x="309888" y="263263"/>
                    <a:pt x="315603" y="284853"/>
                    <a:pt x="314968" y="288663"/>
                  </a:cubicBezTo>
                  <a:cubicBezTo>
                    <a:pt x="313063" y="298823"/>
                    <a:pt x="309888" y="310253"/>
                    <a:pt x="310524" y="321683"/>
                  </a:cubicBezTo>
                  <a:cubicBezTo>
                    <a:pt x="313699" y="329303"/>
                    <a:pt x="314968" y="337558"/>
                    <a:pt x="313063" y="345813"/>
                  </a:cubicBezTo>
                  <a:cubicBezTo>
                    <a:pt x="315603" y="352163"/>
                    <a:pt x="321318" y="361053"/>
                    <a:pt x="315603" y="367403"/>
                  </a:cubicBezTo>
                  <a:cubicBezTo>
                    <a:pt x="312428" y="369308"/>
                    <a:pt x="310524" y="373118"/>
                    <a:pt x="307349" y="373753"/>
                  </a:cubicBezTo>
                  <a:cubicBezTo>
                    <a:pt x="306078" y="372483"/>
                    <a:pt x="308618" y="364228"/>
                    <a:pt x="304174" y="366133"/>
                  </a:cubicBezTo>
                  <a:cubicBezTo>
                    <a:pt x="302903" y="368038"/>
                    <a:pt x="303538" y="372483"/>
                    <a:pt x="301634" y="373753"/>
                  </a:cubicBezTo>
                  <a:cubicBezTo>
                    <a:pt x="295918" y="372483"/>
                    <a:pt x="291474" y="368038"/>
                    <a:pt x="288934" y="363593"/>
                  </a:cubicBezTo>
                  <a:cubicBezTo>
                    <a:pt x="287663" y="355338"/>
                    <a:pt x="296553" y="350258"/>
                    <a:pt x="294013" y="342003"/>
                  </a:cubicBezTo>
                  <a:cubicBezTo>
                    <a:pt x="289568" y="332478"/>
                    <a:pt x="300363" y="324858"/>
                    <a:pt x="295284" y="315333"/>
                  </a:cubicBezTo>
                  <a:cubicBezTo>
                    <a:pt x="292109" y="307078"/>
                    <a:pt x="283853" y="293108"/>
                    <a:pt x="277503" y="286123"/>
                  </a:cubicBezTo>
                  <a:cubicBezTo>
                    <a:pt x="275599" y="287393"/>
                    <a:pt x="273059" y="288663"/>
                    <a:pt x="269249" y="291838"/>
                  </a:cubicBezTo>
                  <a:cubicBezTo>
                    <a:pt x="267343" y="293108"/>
                    <a:pt x="264168" y="295648"/>
                    <a:pt x="262899" y="297553"/>
                  </a:cubicBezTo>
                  <a:cubicBezTo>
                    <a:pt x="259724" y="300093"/>
                    <a:pt x="255913" y="304538"/>
                    <a:pt x="254643" y="306443"/>
                  </a:cubicBezTo>
                  <a:cubicBezTo>
                    <a:pt x="250834" y="312158"/>
                    <a:pt x="248293" y="317238"/>
                    <a:pt x="247024" y="325493"/>
                  </a:cubicBezTo>
                  <a:cubicBezTo>
                    <a:pt x="246388" y="329303"/>
                    <a:pt x="247024" y="330573"/>
                    <a:pt x="247659" y="336288"/>
                  </a:cubicBezTo>
                  <a:cubicBezTo>
                    <a:pt x="247659" y="338193"/>
                    <a:pt x="247024" y="340733"/>
                    <a:pt x="245753" y="342003"/>
                  </a:cubicBezTo>
                  <a:cubicBezTo>
                    <a:pt x="243849" y="344543"/>
                    <a:pt x="242578" y="343908"/>
                    <a:pt x="240038" y="347083"/>
                  </a:cubicBezTo>
                  <a:cubicBezTo>
                    <a:pt x="238768" y="348988"/>
                    <a:pt x="236863" y="353433"/>
                    <a:pt x="234959" y="354068"/>
                  </a:cubicBezTo>
                  <a:cubicBezTo>
                    <a:pt x="226703" y="355973"/>
                    <a:pt x="214638" y="352163"/>
                    <a:pt x="204478" y="355338"/>
                  </a:cubicBezTo>
                  <a:cubicBezTo>
                    <a:pt x="200668" y="355973"/>
                    <a:pt x="195588" y="354703"/>
                    <a:pt x="192413" y="352163"/>
                  </a:cubicBezTo>
                  <a:cubicBezTo>
                    <a:pt x="187968" y="348988"/>
                    <a:pt x="186699" y="342003"/>
                    <a:pt x="185428" y="335653"/>
                  </a:cubicBezTo>
                  <a:cubicBezTo>
                    <a:pt x="184793" y="331208"/>
                    <a:pt x="184159" y="329938"/>
                    <a:pt x="182888" y="327398"/>
                  </a:cubicBezTo>
                  <a:cubicBezTo>
                    <a:pt x="182253" y="325493"/>
                    <a:pt x="180984" y="324223"/>
                    <a:pt x="179713" y="322318"/>
                  </a:cubicBezTo>
                  <a:cubicBezTo>
                    <a:pt x="177809" y="321048"/>
                    <a:pt x="175903" y="321048"/>
                    <a:pt x="175903" y="321048"/>
                  </a:cubicBezTo>
                  <a:cubicBezTo>
                    <a:pt x="173999" y="321048"/>
                    <a:pt x="172728" y="327398"/>
                    <a:pt x="172093" y="328668"/>
                  </a:cubicBezTo>
                  <a:cubicBezTo>
                    <a:pt x="172093" y="328668"/>
                    <a:pt x="171459" y="333113"/>
                    <a:pt x="172093" y="334383"/>
                  </a:cubicBezTo>
                  <a:cubicBezTo>
                    <a:pt x="172728" y="337558"/>
                    <a:pt x="173363" y="343908"/>
                    <a:pt x="169553" y="347718"/>
                  </a:cubicBezTo>
                  <a:cubicBezTo>
                    <a:pt x="168284" y="348988"/>
                    <a:pt x="168918" y="348988"/>
                    <a:pt x="165743" y="350258"/>
                  </a:cubicBezTo>
                  <a:cubicBezTo>
                    <a:pt x="165109" y="357243"/>
                    <a:pt x="164474" y="361688"/>
                    <a:pt x="162568" y="366133"/>
                  </a:cubicBezTo>
                  <a:cubicBezTo>
                    <a:pt x="161299" y="368673"/>
                    <a:pt x="148599" y="374388"/>
                    <a:pt x="141613" y="374388"/>
                  </a:cubicBezTo>
                  <a:cubicBezTo>
                    <a:pt x="139709" y="374388"/>
                    <a:pt x="139074" y="374388"/>
                    <a:pt x="137803" y="374388"/>
                  </a:cubicBezTo>
                  <a:cubicBezTo>
                    <a:pt x="134628" y="371848"/>
                    <a:pt x="137168" y="368038"/>
                    <a:pt x="135899" y="366768"/>
                  </a:cubicBezTo>
                  <a:cubicBezTo>
                    <a:pt x="133359" y="368038"/>
                    <a:pt x="129549" y="371848"/>
                    <a:pt x="126374" y="369308"/>
                  </a:cubicBezTo>
                  <a:cubicBezTo>
                    <a:pt x="125103" y="367403"/>
                    <a:pt x="127009" y="365498"/>
                    <a:pt x="128278" y="362958"/>
                  </a:cubicBezTo>
                  <a:cubicBezTo>
                    <a:pt x="132088" y="355338"/>
                    <a:pt x="133359" y="348988"/>
                    <a:pt x="141613" y="345178"/>
                  </a:cubicBezTo>
                  <a:cubicBezTo>
                    <a:pt x="142884" y="343273"/>
                    <a:pt x="145424" y="339463"/>
                    <a:pt x="147328" y="336288"/>
                  </a:cubicBezTo>
                  <a:cubicBezTo>
                    <a:pt x="149234" y="333748"/>
                    <a:pt x="151138" y="331843"/>
                    <a:pt x="152409" y="329303"/>
                  </a:cubicBezTo>
                  <a:cubicBezTo>
                    <a:pt x="154313" y="325493"/>
                    <a:pt x="154949" y="319778"/>
                    <a:pt x="153678" y="319143"/>
                  </a:cubicBezTo>
                  <a:cubicBezTo>
                    <a:pt x="147328" y="315968"/>
                    <a:pt x="140343" y="321048"/>
                    <a:pt x="137803" y="330573"/>
                  </a:cubicBezTo>
                  <a:cubicBezTo>
                    <a:pt x="135263" y="339463"/>
                    <a:pt x="132724" y="342638"/>
                    <a:pt x="125103" y="347083"/>
                  </a:cubicBezTo>
                  <a:cubicBezTo>
                    <a:pt x="114943" y="355973"/>
                    <a:pt x="109228" y="369943"/>
                    <a:pt x="106053" y="379468"/>
                  </a:cubicBezTo>
                  <a:cubicBezTo>
                    <a:pt x="105418" y="380738"/>
                    <a:pt x="102878" y="380738"/>
                    <a:pt x="102243" y="382008"/>
                  </a:cubicBezTo>
                  <a:cubicBezTo>
                    <a:pt x="102243" y="384548"/>
                    <a:pt x="102878" y="389628"/>
                    <a:pt x="99068" y="392803"/>
                  </a:cubicBezTo>
                  <a:cubicBezTo>
                    <a:pt x="93353" y="398518"/>
                    <a:pt x="79384" y="402963"/>
                    <a:pt x="74303" y="399788"/>
                  </a:cubicBezTo>
                  <a:cubicBezTo>
                    <a:pt x="71763" y="398518"/>
                    <a:pt x="79384" y="390898"/>
                    <a:pt x="73668" y="391533"/>
                  </a:cubicBezTo>
                  <a:cubicBezTo>
                    <a:pt x="71128" y="392168"/>
                    <a:pt x="68588" y="397248"/>
                    <a:pt x="66049" y="395978"/>
                  </a:cubicBezTo>
                  <a:cubicBezTo>
                    <a:pt x="61603" y="394708"/>
                    <a:pt x="63509" y="378198"/>
                    <a:pt x="66049" y="371213"/>
                  </a:cubicBezTo>
                  <a:cubicBezTo>
                    <a:pt x="69224" y="367403"/>
                    <a:pt x="78749" y="368038"/>
                    <a:pt x="80018" y="359783"/>
                  </a:cubicBezTo>
                  <a:cubicBezTo>
                    <a:pt x="90178" y="356608"/>
                    <a:pt x="95893" y="352798"/>
                    <a:pt x="100338" y="345178"/>
                  </a:cubicBezTo>
                  <a:cubicBezTo>
                    <a:pt x="102878" y="341368"/>
                    <a:pt x="102243" y="336923"/>
                    <a:pt x="103513" y="332478"/>
                  </a:cubicBezTo>
                  <a:cubicBezTo>
                    <a:pt x="104784" y="327398"/>
                    <a:pt x="107324" y="323588"/>
                    <a:pt x="109228" y="320413"/>
                  </a:cubicBezTo>
                  <a:cubicBezTo>
                    <a:pt x="107324" y="320413"/>
                    <a:pt x="104149" y="319778"/>
                    <a:pt x="103513" y="318508"/>
                  </a:cubicBezTo>
                  <a:cubicBezTo>
                    <a:pt x="98434" y="310253"/>
                    <a:pt x="111134" y="291838"/>
                    <a:pt x="96528" y="284853"/>
                  </a:cubicBezTo>
                  <a:cubicBezTo>
                    <a:pt x="90813" y="289298"/>
                    <a:pt x="83828" y="301363"/>
                    <a:pt x="80018" y="307078"/>
                  </a:cubicBezTo>
                  <a:cubicBezTo>
                    <a:pt x="76843" y="315333"/>
                    <a:pt x="70493" y="322318"/>
                    <a:pt x="67318" y="330573"/>
                  </a:cubicBezTo>
                  <a:cubicBezTo>
                    <a:pt x="65413" y="345178"/>
                    <a:pt x="59699" y="356608"/>
                    <a:pt x="49538" y="366768"/>
                  </a:cubicBezTo>
                  <a:cubicBezTo>
                    <a:pt x="41284" y="377563"/>
                    <a:pt x="51443" y="393438"/>
                    <a:pt x="39378" y="401693"/>
                  </a:cubicBezTo>
                  <a:cubicBezTo>
                    <a:pt x="38743" y="408043"/>
                    <a:pt x="36838" y="413758"/>
                    <a:pt x="34299" y="419473"/>
                  </a:cubicBezTo>
                  <a:cubicBezTo>
                    <a:pt x="26678" y="424553"/>
                    <a:pt x="16518" y="427093"/>
                    <a:pt x="8263" y="424553"/>
                  </a:cubicBezTo>
                  <a:lnTo>
                    <a:pt x="11438" y="413123"/>
                  </a:lnTo>
                  <a:cubicBezTo>
                    <a:pt x="3818" y="412488"/>
                    <a:pt x="7628" y="423283"/>
                    <a:pt x="643" y="421378"/>
                  </a:cubicBezTo>
                  <a:cubicBezTo>
                    <a:pt x="-3166" y="411218"/>
                    <a:pt x="3818" y="402328"/>
                    <a:pt x="10803" y="396613"/>
                  </a:cubicBezTo>
                  <a:cubicBezTo>
                    <a:pt x="12709" y="395978"/>
                    <a:pt x="12709" y="394073"/>
                    <a:pt x="12709" y="392803"/>
                  </a:cubicBezTo>
                  <a:cubicBezTo>
                    <a:pt x="15884" y="379468"/>
                    <a:pt x="30488" y="375023"/>
                    <a:pt x="33028" y="361688"/>
                  </a:cubicBezTo>
                  <a:cubicBezTo>
                    <a:pt x="33663" y="349623"/>
                    <a:pt x="34934" y="337558"/>
                    <a:pt x="43188" y="328033"/>
                  </a:cubicBezTo>
                  <a:cubicBezTo>
                    <a:pt x="47634" y="317873"/>
                    <a:pt x="43824" y="305173"/>
                    <a:pt x="45093" y="293743"/>
                  </a:cubicBezTo>
                  <a:cubicBezTo>
                    <a:pt x="45093" y="275963"/>
                    <a:pt x="60334" y="260723"/>
                    <a:pt x="57793" y="241673"/>
                  </a:cubicBezTo>
                  <a:cubicBezTo>
                    <a:pt x="56524" y="228338"/>
                    <a:pt x="61603" y="214368"/>
                    <a:pt x="67953" y="204208"/>
                  </a:cubicBezTo>
                  <a:cubicBezTo>
                    <a:pt x="75574" y="187698"/>
                    <a:pt x="92718" y="175633"/>
                    <a:pt x="91449" y="155948"/>
                  </a:cubicBezTo>
                  <a:cubicBezTo>
                    <a:pt x="93353" y="138168"/>
                    <a:pt x="99068" y="118483"/>
                    <a:pt x="116849" y="109593"/>
                  </a:cubicBezTo>
                  <a:cubicBezTo>
                    <a:pt x="125103" y="104513"/>
                    <a:pt x="133993" y="100703"/>
                    <a:pt x="142249" y="96258"/>
                  </a:cubicBezTo>
                  <a:cubicBezTo>
                    <a:pt x="153678" y="88638"/>
                    <a:pt x="166378" y="79113"/>
                    <a:pt x="176538" y="69588"/>
                  </a:cubicBezTo>
                  <a:cubicBezTo>
                    <a:pt x="181618" y="65143"/>
                    <a:pt x="191143" y="63873"/>
                    <a:pt x="197493" y="65143"/>
                  </a:cubicBezTo>
                  <a:cubicBezTo>
                    <a:pt x="211463" y="70223"/>
                    <a:pt x="224799" y="76573"/>
                    <a:pt x="240038" y="79748"/>
                  </a:cubicBezTo>
                  <a:cubicBezTo>
                    <a:pt x="248928" y="80383"/>
                    <a:pt x="254009" y="81653"/>
                    <a:pt x="260993" y="84193"/>
                  </a:cubicBezTo>
                  <a:cubicBezTo>
                    <a:pt x="276868" y="89908"/>
                    <a:pt x="291474" y="49268"/>
                    <a:pt x="242578" y="46728"/>
                  </a:cubicBezTo>
                  <a:lnTo>
                    <a:pt x="182888" y="46093"/>
                  </a:lnTo>
                  <a:cubicBezTo>
                    <a:pt x="132088" y="43553"/>
                    <a:pt x="116849" y="34028"/>
                    <a:pt x="130184" y="16248"/>
                  </a:cubicBezTo>
                  <a:cubicBezTo>
                    <a:pt x="165109" y="-15502"/>
                    <a:pt x="230513" y="6723"/>
                    <a:pt x="240038" y="14978"/>
                  </a:cubicBezTo>
                  <a:cubicBezTo>
                    <a:pt x="241309" y="16248"/>
                    <a:pt x="235593" y="21963"/>
                    <a:pt x="208924" y="13708"/>
                  </a:cubicBezTo>
                  <a:cubicBezTo>
                    <a:pt x="204478" y="13073"/>
                    <a:pt x="201303" y="13073"/>
                    <a:pt x="197493" y="14978"/>
                  </a:cubicBezTo>
                  <a:cubicBezTo>
                    <a:pt x="197493" y="14978"/>
                    <a:pt x="203843" y="20693"/>
                    <a:pt x="212099" y="19423"/>
                  </a:cubicBezTo>
                  <a:cubicBezTo>
                    <a:pt x="214003" y="19423"/>
                    <a:pt x="224799" y="21328"/>
                    <a:pt x="216543" y="24503"/>
                  </a:cubicBezTo>
                  <a:cubicBezTo>
                    <a:pt x="184793" y="35298"/>
                    <a:pt x="166378" y="13073"/>
                    <a:pt x="152409" y="11803"/>
                  </a:cubicBezTo>
                  <a:cubicBezTo>
                    <a:pt x="145424" y="10533"/>
                    <a:pt x="127009" y="27678"/>
                    <a:pt x="142884" y="32123"/>
                  </a:cubicBezTo>
                  <a:cubicBezTo>
                    <a:pt x="184159" y="42918"/>
                    <a:pt x="222259" y="34028"/>
                    <a:pt x="257818" y="39108"/>
                  </a:cubicBezTo>
                  <a:cubicBezTo>
                    <a:pt x="271153" y="41013"/>
                    <a:pt x="284488" y="49903"/>
                    <a:pt x="289568" y="63238"/>
                  </a:cubicBezTo>
                  <a:cubicBezTo>
                    <a:pt x="293378" y="76573"/>
                    <a:pt x="290203" y="81018"/>
                    <a:pt x="285124" y="91178"/>
                  </a:cubicBezTo>
                  <a:cubicBezTo>
                    <a:pt x="292743" y="101973"/>
                    <a:pt x="297188" y="108323"/>
                    <a:pt x="300999" y="120388"/>
                  </a:cubicBezTo>
                  <a:cubicBezTo>
                    <a:pt x="311793" y="131818"/>
                    <a:pt x="317509" y="145788"/>
                    <a:pt x="318143" y="159758"/>
                  </a:cubicBezTo>
                  <a:cubicBezTo>
                    <a:pt x="318143" y="175633"/>
                    <a:pt x="313063" y="181348"/>
                    <a:pt x="314968" y="189603"/>
                  </a:cubicBezTo>
                  <a:cubicBezTo>
                    <a:pt x="318778" y="205478"/>
                    <a:pt x="321318" y="203573"/>
                    <a:pt x="316874" y="220718"/>
                  </a:cubicBezTo>
                  <a:cubicBezTo>
                    <a:pt x="311159" y="219448"/>
                    <a:pt x="307349" y="219448"/>
                    <a:pt x="307349" y="219448"/>
                  </a:cubicBezTo>
                  <a:cubicBezTo>
                    <a:pt x="307984" y="215003"/>
                    <a:pt x="309253" y="208018"/>
                    <a:pt x="308618" y="206113"/>
                  </a:cubicBezTo>
                  <a:cubicBezTo>
                    <a:pt x="307984" y="202938"/>
                    <a:pt x="302903" y="192778"/>
                    <a:pt x="304174" y="185793"/>
                  </a:cubicBezTo>
                  <a:cubicBezTo>
                    <a:pt x="305443" y="176268"/>
                    <a:pt x="311159" y="164203"/>
                    <a:pt x="309253" y="154043"/>
                  </a:cubicBezTo>
                  <a:cubicBezTo>
                    <a:pt x="307349" y="145153"/>
                    <a:pt x="305443" y="138168"/>
                    <a:pt x="300999" y="133723"/>
                  </a:cubicBezTo>
                  <a:cubicBezTo>
                    <a:pt x="298459" y="129913"/>
                    <a:pt x="295284" y="126103"/>
                    <a:pt x="294649" y="122293"/>
                  </a:cubicBezTo>
                  <a:cubicBezTo>
                    <a:pt x="292109" y="112768"/>
                    <a:pt x="286393" y="106418"/>
                    <a:pt x="284488" y="103243"/>
                  </a:cubicBezTo>
                  <a:cubicBezTo>
                    <a:pt x="280678" y="96258"/>
                    <a:pt x="280678" y="95623"/>
                    <a:pt x="276234" y="96258"/>
                  </a:cubicBezTo>
                  <a:cubicBezTo>
                    <a:pt x="273059" y="96893"/>
                    <a:pt x="266074" y="98163"/>
                    <a:pt x="266074" y="98163"/>
                  </a:cubicBezTo>
                  <a:cubicBezTo>
                    <a:pt x="261628" y="99433"/>
                    <a:pt x="259088" y="99433"/>
                    <a:pt x="255913" y="101973"/>
                  </a:cubicBezTo>
                  <a:cubicBezTo>
                    <a:pt x="254009" y="103878"/>
                    <a:pt x="254009" y="106418"/>
                    <a:pt x="255913" y="108323"/>
                  </a:cubicBezTo>
                  <a:cubicBezTo>
                    <a:pt x="259088" y="111498"/>
                    <a:pt x="264803" y="111498"/>
                    <a:pt x="264803" y="117213"/>
                  </a:cubicBezTo>
                  <a:cubicBezTo>
                    <a:pt x="261628" y="128643"/>
                    <a:pt x="277503" y="137533"/>
                    <a:pt x="262899" y="141343"/>
                  </a:cubicBezTo>
                  <a:cubicBezTo>
                    <a:pt x="255913" y="141978"/>
                    <a:pt x="252103" y="138168"/>
                    <a:pt x="246388" y="132453"/>
                  </a:cubicBezTo>
                  <a:cubicBezTo>
                    <a:pt x="238768" y="117213"/>
                    <a:pt x="233053" y="110863"/>
                    <a:pt x="222893" y="100068"/>
                  </a:cubicBezTo>
                  <a:cubicBezTo>
                    <a:pt x="219718" y="98798"/>
                    <a:pt x="213368" y="94353"/>
                    <a:pt x="210193" y="96258"/>
                  </a:cubicBezTo>
                  <a:lnTo>
                    <a:pt x="210193" y="98798"/>
                  </a:lnTo>
                  <a:cubicBezTo>
                    <a:pt x="219718" y="115943"/>
                    <a:pt x="225434" y="122293"/>
                    <a:pt x="233688" y="138803"/>
                  </a:cubicBezTo>
                  <a:cubicBezTo>
                    <a:pt x="242578" y="157218"/>
                    <a:pt x="245118" y="163568"/>
                    <a:pt x="251468" y="180713"/>
                  </a:cubicBezTo>
                  <a:cubicBezTo>
                    <a:pt x="252738" y="184523"/>
                    <a:pt x="252738" y="187698"/>
                    <a:pt x="251468" y="188968"/>
                  </a:cubicBezTo>
                  <a:cubicBezTo>
                    <a:pt x="249563" y="188968"/>
                    <a:pt x="247659" y="181983"/>
                    <a:pt x="245753" y="178808"/>
                  </a:cubicBezTo>
                  <a:cubicBezTo>
                    <a:pt x="243849" y="174998"/>
                    <a:pt x="243849" y="173093"/>
                    <a:pt x="242578" y="170553"/>
                  </a:cubicBezTo>
                  <a:cubicBezTo>
                    <a:pt x="234324" y="155948"/>
                    <a:pt x="231784" y="171188"/>
                    <a:pt x="223528" y="172458"/>
                  </a:cubicBezTo>
                  <a:cubicBezTo>
                    <a:pt x="219718" y="173728"/>
                    <a:pt x="214003" y="168013"/>
                    <a:pt x="213368" y="174998"/>
                  </a:cubicBezTo>
                  <a:cubicBezTo>
                    <a:pt x="212099" y="177538"/>
                    <a:pt x="214003" y="180713"/>
                    <a:pt x="216543" y="180713"/>
                  </a:cubicBezTo>
                  <a:cubicBezTo>
                    <a:pt x="223528" y="180713"/>
                    <a:pt x="231149" y="183253"/>
                    <a:pt x="235593" y="188968"/>
                  </a:cubicBezTo>
                  <a:cubicBezTo>
                    <a:pt x="235593" y="189603"/>
                    <a:pt x="235593" y="190873"/>
                    <a:pt x="234324" y="190873"/>
                  </a:cubicBezTo>
                  <a:cubicBezTo>
                    <a:pt x="231149" y="189603"/>
                    <a:pt x="231149" y="186428"/>
                    <a:pt x="227338" y="186428"/>
                  </a:cubicBezTo>
                  <a:cubicBezTo>
                    <a:pt x="224799" y="187063"/>
                    <a:pt x="217813" y="186428"/>
                    <a:pt x="218449" y="190238"/>
                  </a:cubicBezTo>
                  <a:cubicBezTo>
                    <a:pt x="219718" y="193413"/>
                    <a:pt x="218449" y="194048"/>
                    <a:pt x="221624" y="195318"/>
                  </a:cubicBezTo>
                  <a:cubicBezTo>
                    <a:pt x="230513" y="195318"/>
                    <a:pt x="239403" y="197223"/>
                    <a:pt x="245118" y="205478"/>
                  </a:cubicBezTo>
                  <a:cubicBezTo>
                    <a:pt x="246388" y="208018"/>
                    <a:pt x="247024" y="210558"/>
                    <a:pt x="250199" y="210558"/>
                  </a:cubicBezTo>
                  <a:lnTo>
                    <a:pt x="259088" y="210558"/>
                  </a:lnTo>
                  <a:cubicBezTo>
                    <a:pt x="283853" y="209288"/>
                    <a:pt x="303538" y="223893"/>
                    <a:pt x="304174" y="228338"/>
                  </a:cubicBezTo>
                  <a:cubicBezTo>
                    <a:pt x="322588" y="224528"/>
                    <a:pt x="328303" y="246118"/>
                    <a:pt x="342274" y="251833"/>
                  </a:cubicBezTo>
                  <a:cubicBezTo>
                    <a:pt x="348624" y="254373"/>
                    <a:pt x="355609" y="255643"/>
                    <a:pt x="362593" y="252468"/>
                  </a:cubicBezTo>
                  <a:cubicBezTo>
                    <a:pt x="368943" y="249928"/>
                    <a:pt x="371484" y="251198"/>
                    <a:pt x="363863" y="256913"/>
                  </a:cubicBezTo>
                  <a:cubicBezTo>
                    <a:pt x="329574" y="280408"/>
                    <a:pt x="307984" y="242943"/>
                    <a:pt x="295284" y="241673"/>
                  </a:cubicBezTo>
                  <a:cubicBezTo>
                    <a:pt x="295918" y="237863"/>
                    <a:pt x="300363" y="230243"/>
                    <a:pt x="294649" y="226433"/>
                  </a:cubicBezTo>
                  <a:cubicBezTo>
                    <a:pt x="292743" y="225163"/>
                    <a:pt x="290203" y="229608"/>
                    <a:pt x="285759" y="221988"/>
                  </a:cubicBezTo>
                  <a:cubicBezTo>
                    <a:pt x="283218" y="217543"/>
                    <a:pt x="279409" y="224528"/>
                    <a:pt x="275599" y="221353"/>
                  </a:cubicBezTo>
                  <a:cubicBezTo>
                    <a:pt x="273059" y="219448"/>
                    <a:pt x="271153" y="216273"/>
                    <a:pt x="267978" y="216908"/>
                  </a:cubicBezTo>
                  <a:cubicBezTo>
                    <a:pt x="265438" y="216908"/>
                    <a:pt x="264803" y="216273"/>
                    <a:pt x="263534" y="217543"/>
                  </a:cubicBezTo>
                  <a:cubicBezTo>
                    <a:pt x="262263" y="218178"/>
                    <a:pt x="262263" y="218813"/>
                    <a:pt x="261628" y="221353"/>
                  </a:cubicBezTo>
                  <a:cubicBezTo>
                    <a:pt x="260993" y="222623"/>
                    <a:pt x="260993" y="225798"/>
                    <a:pt x="262899" y="226433"/>
                  </a:cubicBezTo>
                  <a:cubicBezTo>
                    <a:pt x="264168" y="227068"/>
                    <a:pt x="266074" y="228973"/>
                    <a:pt x="271153" y="230243"/>
                  </a:cubicBezTo>
                  <a:cubicBezTo>
                    <a:pt x="272424" y="230243"/>
                    <a:pt x="271788" y="231513"/>
                    <a:pt x="271788" y="232783"/>
                  </a:cubicBezTo>
                  <a:cubicBezTo>
                    <a:pt x="266709" y="235958"/>
                    <a:pt x="260993" y="233418"/>
                    <a:pt x="256549" y="230878"/>
                  </a:cubicBezTo>
                  <a:cubicBezTo>
                    <a:pt x="257818" y="227068"/>
                    <a:pt x="257818" y="225163"/>
                    <a:pt x="256549" y="221353"/>
                  </a:cubicBezTo>
                  <a:cubicBezTo>
                    <a:pt x="255278" y="216908"/>
                    <a:pt x="250199" y="215003"/>
                    <a:pt x="246388" y="214368"/>
                  </a:cubicBezTo>
                  <a:cubicBezTo>
                    <a:pt x="245118" y="215638"/>
                    <a:pt x="245753" y="216273"/>
                    <a:pt x="245753" y="217543"/>
                  </a:cubicBezTo>
                  <a:cubicBezTo>
                    <a:pt x="249563" y="222623"/>
                    <a:pt x="247024" y="230243"/>
                    <a:pt x="243849" y="229608"/>
                  </a:cubicBezTo>
                  <a:cubicBezTo>
                    <a:pt x="227338" y="226433"/>
                    <a:pt x="231149" y="241673"/>
                    <a:pt x="243213" y="245483"/>
                  </a:cubicBezTo>
                  <a:cubicBezTo>
                    <a:pt x="255913" y="249928"/>
                    <a:pt x="264803" y="250563"/>
                    <a:pt x="276234" y="245483"/>
                  </a:cubicBezTo>
                  <a:cubicBezTo>
                    <a:pt x="278138" y="244213"/>
                    <a:pt x="278774" y="245483"/>
                    <a:pt x="275599" y="249293"/>
                  </a:cubicBezTo>
                  <a:cubicBezTo>
                    <a:pt x="272424" y="251833"/>
                    <a:pt x="267978" y="254373"/>
                    <a:pt x="264168" y="255643"/>
                  </a:cubicBezTo>
                  <a:cubicBezTo>
                    <a:pt x="260993" y="256913"/>
                    <a:pt x="257818" y="256913"/>
                    <a:pt x="254643" y="257548"/>
                  </a:cubicBezTo>
                  <a:cubicBezTo>
                    <a:pt x="254643" y="257548"/>
                    <a:pt x="222893" y="260723"/>
                    <a:pt x="210193" y="234053"/>
                  </a:cubicBezTo>
                  <a:cubicBezTo>
                    <a:pt x="202574" y="211828"/>
                    <a:pt x="231149" y="211193"/>
                    <a:pt x="235593" y="211193"/>
                  </a:cubicBezTo>
                  <a:cubicBezTo>
                    <a:pt x="236228" y="211193"/>
                    <a:pt x="236863" y="211193"/>
                    <a:pt x="236863" y="211193"/>
                  </a:cubicBezTo>
                  <a:cubicBezTo>
                    <a:pt x="239403" y="209288"/>
                    <a:pt x="237499" y="206748"/>
                    <a:pt x="235593" y="205478"/>
                  </a:cubicBezTo>
                  <a:cubicBezTo>
                    <a:pt x="231784" y="201033"/>
                    <a:pt x="226068" y="202938"/>
                    <a:pt x="220988" y="202303"/>
                  </a:cubicBezTo>
                  <a:cubicBezTo>
                    <a:pt x="215909" y="203573"/>
                    <a:pt x="212734" y="207383"/>
                    <a:pt x="208924" y="209288"/>
                  </a:cubicBezTo>
                  <a:cubicBezTo>
                    <a:pt x="207018" y="209288"/>
                    <a:pt x="206384" y="208018"/>
                    <a:pt x="204478" y="206748"/>
                  </a:cubicBezTo>
                  <a:cubicBezTo>
                    <a:pt x="198763" y="204208"/>
                    <a:pt x="191143" y="203573"/>
                    <a:pt x="185428" y="204843"/>
                  </a:cubicBezTo>
                  <a:cubicBezTo>
                    <a:pt x="182253" y="207383"/>
                    <a:pt x="185428" y="211193"/>
                    <a:pt x="185428" y="214368"/>
                  </a:cubicBezTo>
                  <a:cubicBezTo>
                    <a:pt x="187968" y="220083"/>
                    <a:pt x="189874" y="227068"/>
                    <a:pt x="195588" y="230878"/>
                  </a:cubicBezTo>
                  <a:cubicBezTo>
                    <a:pt x="197493" y="232783"/>
                    <a:pt x="200668" y="234688"/>
                    <a:pt x="203209" y="236593"/>
                  </a:cubicBezTo>
                  <a:cubicBezTo>
                    <a:pt x="207653" y="240403"/>
                    <a:pt x="208288" y="248658"/>
                    <a:pt x="208288" y="250563"/>
                  </a:cubicBezTo>
                  <a:cubicBezTo>
                    <a:pt x="207018" y="253103"/>
                    <a:pt x="202574" y="261358"/>
                    <a:pt x="201938" y="262628"/>
                  </a:cubicBezTo>
                  <a:cubicBezTo>
                    <a:pt x="197493" y="269613"/>
                    <a:pt x="193684" y="274693"/>
                    <a:pt x="190509" y="284218"/>
                  </a:cubicBezTo>
                  <a:cubicBezTo>
                    <a:pt x="188603" y="289933"/>
                    <a:pt x="187968" y="292473"/>
                    <a:pt x="187968" y="295013"/>
                  </a:cubicBezTo>
                  <a:cubicBezTo>
                    <a:pt x="187334" y="297553"/>
                    <a:pt x="185428" y="302633"/>
                    <a:pt x="189874" y="306443"/>
                  </a:cubicBezTo>
                  <a:cubicBezTo>
                    <a:pt x="194318" y="310253"/>
                    <a:pt x="197493" y="289933"/>
                    <a:pt x="210193" y="289298"/>
                  </a:cubicBezTo>
                  <a:cubicBezTo>
                    <a:pt x="211463" y="288028"/>
                    <a:pt x="210193" y="294378"/>
                    <a:pt x="205749" y="306443"/>
                  </a:cubicBezTo>
                  <a:cubicBezTo>
                    <a:pt x="203843" y="310888"/>
                    <a:pt x="203843" y="312158"/>
                    <a:pt x="202574" y="314698"/>
                  </a:cubicBezTo>
                  <a:cubicBezTo>
                    <a:pt x="201303" y="317873"/>
                    <a:pt x="200034" y="320413"/>
                    <a:pt x="198763" y="326763"/>
                  </a:cubicBezTo>
                  <a:cubicBezTo>
                    <a:pt x="197493" y="331843"/>
                    <a:pt x="197493" y="338193"/>
                    <a:pt x="197493" y="338193"/>
                  </a:cubicBezTo>
                  <a:cubicBezTo>
                    <a:pt x="196859" y="342003"/>
                    <a:pt x="198763" y="343908"/>
                    <a:pt x="199399" y="344543"/>
                  </a:cubicBezTo>
                  <a:cubicBezTo>
                    <a:pt x="201303" y="345813"/>
                    <a:pt x="203209" y="345178"/>
                    <a:pt x="203843" y="343273"/>
                  </a:cubicBezTo>
                  <a:cubicBezTo>
                    <a:pt x="204478" y="342003"/>
                    <a:pt x="203843" y="338828"/>
                    <a:pt x="205749" y="337558"/>
                  </a:cubicBezTo>
                  <a:cubicBezTo>
                    <a:pt x="207653" y="336288"/>
                    <a:pt x="212099" y="337558"/>
                    <a:pt x="212734" y="340098"/>
                  </a:cubicBezTo>
                  <a:cubicBezTo>
                    <a:pt x="213368" y="341368"/>
                    <a:pt x="212734" y="343273"/>
                    <a:pt x="212099" y="344543"/>
                  </a:cubicBezTo>
                  <a:cubicBezTo>
                    <a:pt x="212099" y="345178"/>
                    <a:pt x="210193" y="347083"/>
                    <a:pt x="207653" y="347718"/>
                  </a:cubicBezTo>
                  <a:cubicBezTo>
                    <a:pt x="203209" y="349623"/>
                    <a:pt x="207018" y="354703"/>
                    <a:pt x="213368" y="352163"/>
                  </a:cubicBezTo>
                  <a:cubicBezTo>
                    <a:pt x="219718" y="349623"/>
                    <a:pt x="223528" y="350893"/>
                    <a:pt x="227338" y="351528"/>
                  </a:cubicBezTo>
                  <a:cubicBezTo>
                    <a:pt x="230513" y="352163"/>
                    <a:pt x="233688" y="352163"/>
                    <a:pt x="236863" y="350258"/>
                  </a:cubicBezTo>
                  <a:cubicBezTo>
                    <a:pt x="237499" y="349623"/>
                    <a:pt x="238768" y="347083"/>
                    <a:pt x="240674" y="344543"/>
                  </a:cubicBezTo>
                  <a:cubicBezTo>
                    <a:pt x="242578" y="342638"/>
                    <a:pt x="241943" y="343273"/>
                    <a:pt x="243849" y="341368"/>
                  </a:cubicBezTo>
                  <a:cubicBezTo>
                    <a:pt x="247024" y="338193"/>
                    <a:pt x="245118" y="335018"/>
                    <a:pt x="245118" y="333113"/>
                  </a:cubicBezTo>
                  <a:cubicBezTo>
                    <a:pt x="244484" y="328668"/>
                    <a:pt x="245118" y="326763"/>
                    <a:pt x="245753" y="324223"/>
                  </a:cubicBezTo>
                  <a:cubicBezTo>
                    <a:pt x="245753" y="321048"/>
                    <a:pt x="247659" y="318508"/>
                    <a:pt x="248293" y="315333"/>
                  </a:cubicBezTo>
                  <a:cubicBezTo>
                    <a:pt x="248928" y="312158"/>
                    <a:pt x="251468" y="308348"/>
                    <a:pt x="252738" y="306443"/>
                  </a:cubicBezTo>
                  <a:cubicBezTo>
                    <a:pt x="253374" y="305173"/>
                    <a:pt x="257184" y="300728"/>
                    <a:pt x="258453" y="298823"/>
                  </a:cubicBezTo>
                  <a:cubicBezTo>
                    <a:pt x="259724" y="296918"/>
                    <a:pt x="262263" y="295013"/>
                    <a:pt x="265438" y="291838"/>
                  </a:cubicBezTo>
                  <a:cubicBezTo>
                    <a:pt x="267343" y="289933"/>
                    <a:pt x="268613" y="288663"/>
                    <a:pt x="271153" y="287393"/>
                  </a:cubicBezTo>
                  <a:cubicBezTo>
                    <a:pt x="274328" y="285488"/>
                    <a:pt x="276868" y="283583"/>
                    <a:pt x="278138" y="282948"/>
                  </a:cubicBezTo>
                  <a:cubicBezTo>
                    <a:pt x="279409" y="282313"/>
                    <a:pt x="285124" y="279773"/>
                    <a:pt x="287028" y="277868"/>
                  </a:cubicBezTo>
                  <a:cubicBezTo>
                    <a:pt x="287028" y="270248"/>
                    <a:pt x="293378" y="253738"/>
                    <a:pt x="294013" y="243578"/>
                  </a:cubicBezTo>
                  <a:lnTo>
                    <a:pt x="294013" y="243578"/>
                  </a:lnTo>
                  <a:close/>
                  <a:moveTo>
                    <a:pt x="293378" y="269613"/>
                  </a:moveTo>
                  <a:cubicBezTo>
                    <a:pt x="290203" y="275963"/>
                    <a:pt x="286393" y="277868"/>
                    <a:pt x="287028" y="280408"/>
                  </a:cubicBezTo>
                  <a:cubicBezTo>
                    <a:pt x="287663" y="282948"/>
                    <a:pt x="297188" y="298188"/>
                    <a:pt x="297824" y="298188"/>
                  </a:cubicBezTo>
                  <a:cubicBezTo>
                    <a:pt x="298459" y="298823"/>
                    <a:pt x="302268" y="299458"/>
                    <a:pt x="303538" y="296283"/>
                  </a:cubicBezTo>
                  <a:cubicBezTo>
                    <a:pt x="304809" y="293108"/>
                    <a:pt x="304809" y="288028"/>
                    <a:pt x="304809" y="284853"/>
                  </a:cubicBezTo>
                  <a:cubicBezTo>
                    <a:pt x="304809" y="281678"/>
                    <a:pt x="304174" y="275963"/>
                    <a:pt x="303538" y="270883"/>
                  </a:cubicBezTo>
                  <a:cubicBezTo>
                    <a:pt x="302903" y="267073"/>
                    <a:pt x="300363" y="261358"/>
                    <a:pt x="297824" y="261358"/>
                  </a:cubicBezTo>
                  <a:cubicBezTo>
                    <a:pt x="297188" y="261358"/>
                    <a:pt x="295918" y="265168"/>
                    <a:pt x="293378" y="269613"/>
                  </a:cubicBezTo>
                  <a:close/>
                  <a:moveTo>
                    <a:pt x="180984" y="221988"/>
                  </a:moveTo>
                  <a:cubicBezTo>
                    <a:pt x="173999" y="209923"/>
                    <a:pt x="175903" y="208653"/>
                    <a:pt x="173363" y="203573"/>
                  </a:cubicBezTo>
                  <a:cubicBezTo>
                    <a:pt x="171459" y="198493"/>
                    <a:pt x="168284" y="197223"/>
                    <a:pt x="163203" y="197223"/>
                  </a:cubicBezTo>
                  <a:cubicBezTo>
                    <a:pt x="156853" y="197223"/>
                    <a:pt x="154313" y="201668"/>
                    <a:pt x="153043" y="202303"/>
                  </a:cubicBezTo>
                  <a:cubicBezTo>
                    <a:pt x="150503" y="204843"/>
                    <a:pt x="150503" y="208653"/>
                    <a:pt x="146059" y="211828"/>
                  </a:cubicBezTo>
                  <a:cubicBezTo>
                    <a:pt x="141613" y="215003"/>
                    <a:pt x="135899" y="218178"/>
                    <a:pt x="130818" y="216908"/>
                  </a:cubicBezTo>
                  <a:cubicBezTo>
                    <a:pt x="122563" y="215003"/>
                    <a:pt x="121928" y="205478"/>
                    <a:pt x="112403" y="209923"/>
                  </a:cubicBezTo>
                  <a:cubicBezTo>
                    <a:pt x="106053" y="213098"/>
                    <a:pt x="104149" y="218178"/>
                    <a:pt x="102878" y="220718"/>
                  </a:cubicBezTo>
                  <a:cubicBezTo>
                    <a:pt x="100974" y="223893"/>
                    <a:pt x="97799" y="230878"/>
                    <a:pt x="90813" y="225798"/>
                  </a:cubicBezTo>
                  <a:cubicBezTo>
                    <a:pt x="87003" y="223258"/>
                    <a:pt x="85734" y="218178"/>
                    <a:pt x="80018" y="221988"/>
                  </a:cubicBezTo>
                  <a:cubicBezTo>
                    <a:pt x="74938" y="227068"/>
                    <a:pt x="73668" y="245483"/>
                    <a:pt x="70493" y="249928"/>
                  </a:cubicBezTo>
                  <a:cubicBezTo>
                    <a:pt x="63509" y="261358"/>
                    <a:pt x="59699" y="276598"/>
                    <a:pt x="59063" y="279138"/>
                  </a:cubicBezTo>
                  <a:cubicBezTo>
                    <a:pt x="59063" y="279138"/>
                    <a:pt x="57793" y="284853"/>
                    <a:pt x="57159" y="287393"/>
                  </a:cubicBezTo>
                  <a:cubicBezTo>
                    <a:pt x="56524" y="289933"/>
                    <a:pt x="53984" y="306443"/>
                    <a:pt x="58428" y="307713"/>
                  </a:cubicBezTo>
                  <a:cubicBezTo>
                    <a:pt x="66049" y="309618"/>
                    <a:pt x="77478" y="291203"/>
                    <a:pt x="79384" y="288663"/>
                  </a:cubicBezTo>
                  <a:cubicBezTo>
                    <a:pt x="87003" y="281043"/>
                    <a:pt x="88274" y="276598"/>
                    <a:pt x="90178" y="273423"/>
                  </a:cubicBezTo>
                  <a:cubicBezTo>
                    <a:pt x="92718" y="270248"/>
                    <a:pt x="97163" y="268978"/>
                    <a:pt x="100974" y="269613"/>
                  </a:cubicBezTo>
                  <a:cubicBezTo>
                    <a:pt x="102243" y="269613"/>
                    <a:pt x="111768" y="270248"/>
                    <a:pt x="116849" y="271518"/>
                  </a:cubicBezTo>
                  <a:cubicBezTo>
                    <a:pt x="121928" y="272153"/>
                    <a:pt x="123834" y="272788"/>
                    <a:pt x="130818" y="274693"/>
                  </a:cubicBezTo>
                  <a:cubicBezTo>
                    <a:pt x="132724" y="275328"/>
                    <a:pt x="132724" y="277233"/>
                    <a:pt x="131453" y="277868"/>
                  </a:cubicBezTo>
                  <a:cubicBezTo>
                    <a:pt x="127009" y="279773"/>
                    <a:pt x="124468" y="279773"/>
                    <a:pt x="121928" y="280408"/>
                  </a:cubicBezTo>
                  <a:cubicBezTo>
                    <a:pt x="118753" y="281043"/>
                    <a:pt x="116849" y="283583"/>
                    <a:pt x="116213" y="284853"/>
                  </a:cubicBezTo>
                  <a:cubicBezTo>
                    <a:pt x="114943" y="288028"/>
                    <a:pt x="113038" y="293743"/>
                    <a:pt x="112403" y="296283"/>
                  </a:cubicBezTo>
                  <a:cubicBezTo>
                    <a:pt x="111768" y="298823"/>
                    <a:pt x="109863" y="305808"/>
                    <a:pt x="113038" y="308983"/>
                  </a:cubicBezTo>
                  <a:cubicBezTo>
                    <a:pt x="114943" y="310888"/>
                    <a:pt x="120659" y="311523"/>
                    <a:pt x="125103" y="312158"/>
                  </a:cubicBezTo>
                  <a:cubicBezTo>
                    <a:pt x="130184" y="312158"/>
                    <a:pt x="148599" y="310253"/>
                    <a:pt x="149868" y="310253"/>
                  </a:cubicBezTo>
                  <a:cubicBezTo>
                    <a:pt x="154313" y="310253"/>
                    <a:pt x="159393" y="310253"/>
                    <a:pt x="163838" y="310253"/>
                  </a:cubicBezTo>
                  <a:cubicBezTo>
                    <a:pt x="165743" y="310253"/>
                    <a:pt x="177174" y="310253"/>
                    <a:pt x="176538" y="305808"/>
                  </a:cubicBezTo>
                  <a:cubicBezTo>
                    <a:pt x="175903" y="303268"/>
                    <a:pt x="171459" y="293108"/>
                    <a:pt x="170188" y="291203"/>
                  </a:cubicBezTo>
                  <a:cubicBezTo>
                    <a:pt x="165743" y="282948"/>
                    <a:pt x="163203" y="281678"/>
                    <a:pt x="160028" y="273423"/>
                  </a:cubicBezTo>
                  <a:cubicBezTo>
                    <a:pt x="158124" y="267708"/>
                    <a:pt x="159393" y="265168"/>
                    <a:pt x="160028" y="261993"/>
                  </a:cubicBezTo>
                  <a:cubicBezTo>
                    <a:pt x="161299" y="258818"/>
                    <a:pt x="163838" y="253738"/>
                    <a:pt x="170188" y="248023"/>
                  </a:cubicBezTo>
                  <a:cubicBezTo>
                    <a:pt x="184793" y="235958"/>
                    <a:pt x="186063" y="234053"/>
                    <a:pt x="180984" y="221988"/>
                  </a:cubicBezTo>
                  <a:lnTo>
                    <a:pt x="180984" y="221988"/>
                  </a:lnTo>
                  <a:close/>
                </a:path>
              </a:pathLst>
            </a:custGeom>
            <a:solidFill>
              <a:srgbClr val="002733"/>
            </a:solidFill>
            <a:ln w="6350" cap="flat">
              <a:noFill/>
              <a:prstDash val="solid"/>
              <a:miter/>
            </a:ln>
          </p:spPr>
          <p:txBody>
            <a:bodyPr rtlCol="0" anchor="ctr"/>
            <a:lstStyle/>
            <a:p>
              <a:endParaRPr lang="en-GB"/>
            </a:p>
          </p:txBody>
        </p:sp>
        <p:sp>
          <p:nvSpPr>
            <p:cNvPr id="297" name="Freeform 296">
              <a:extLst>
                <a:ext uri="{FF2B5EF4-FFF2-40B4-BE49-F238E27FC236}">
                  <a16:creationId xmlns:a16="http://schemas.microsoft.com/office/drawing/2014/main" id="{DCC23E2D-B543-7686-93E0-A1647F48B32C}"/>
                </a:ext>
              </a:extLst>
            </p:cNvPr>
            <p:cNvSpPr/>
            <p:nvPr/>
          </p:nvSpPr>
          <p:spPr>
            <a:xfrm>
              <a:off x="5816600" y="3094990"/>
              <a:ext cx="558165" cy="124459"/>
            </a:xfrm>
            <a:custGeom>
              <a:avLst/>
              <a:gdLst>
                <a:gd name="connsiteX0" fmla="*/ 546936 w 558165"/>
                <a:gd name="connsiteY0" fmla="*/ 119714 h 124459"/>
                <a:gd name="connsiteX1" fmla="*/ 546936 w 558165"/>
                <a:gd name="connsiteY1" fmla="*/ 40974 h 124459"/>
                <a:gd name="connsiteX2" fmla="*/ 557731 w 558165"/>
                <a:gd name="connsiteY2" fmla="*/ 44784 h 124459"/>
                <a:gd name="connsiteX3" fmla="*/ 557731 w 558165"/>
                <a:gd name="connsiteY3" fmla="*/ 124159 h 124459"/>
                <a:gd name="connsiteX4" fmla="*/ 546936 w 558165"/>
                <a:gd name="connsiteY4" fmla="*/ 119714 h 124459"/>
                <a:gd name="connsiteX5" fmla="*/ 521536 w 558165"/>
                <a:gd name="connsiteY5" fmla="*/ 110824 h 124459"/>
                <a:gd name="connsiteX6" fmla="*/ 512011 w 558165"/>
                <a:gd name="connsiteY6" fmla="*/ 86694 h 124459"/>
                <a:gd name="connsiteX7" fmla="*/ 502486 w 558165"/>
                <a:gd name="connsiteY7" fmla="*/ 63199 h 124459"/>
                <a:gd name="connsiteX8" fmla="*/ 496771 w 558165"/>
                <a:gd name="connsiteY8" fmla="*/ 49229 h 124459"/>
                <a:gd name="connsiteX9" fmla="*/ 496771 w 558165"/>
                <a:gd name="connsiteY9" fmla="*/ 64469 h 124459"/>
                <a:gd name="connsiteX10" fmla="*/ 496771 w 558165"/>
                <a:gd name="connsiteY10" fmla="*/ 103839 h 124459"/>
                <a:gd name="connsiteX11" fmla="*/ 485976 w 558165"/>
                <a:gd name="connsiteY11" fmla="*/ 101299 h 124459"/>
                <a:gd name="connsiteX12" fmla="*/ 485976 w 558165"/>
                <a:gd name="connsiteY12" fmla="*/ 23194 h 124459"/>
                <a:gd name="connsiteX13" fmla="*/ 496771 w 558165"/>
                <a:gd name="connsiteY13" fmla="*/ 25734 h 124459"/>
                <a:gd name="connsiteX14" fmla="*/ 505026 w 558165"/>
                <a:gd name="connsiteY14" fmla="*/ 46689 h 124459"/>
                <a:gd name="connsiteX15" fmla="*/ 513281 w 558165"/>
                <a:gd name="connsiteY15" fmla="*/ 67644 h 124459"/>
                <a:gd name="connsiteX16" fmla="*/ 518996 w 558165"/>
                <a:gd name="connsiteY16" fmla="*/ 82249 h 124459"/>
                <a:gd name="connsiteX17" fmla="*/ 518996 w 558165"/>
                <a:gd name="connsiteY17" fmla="*/ 66374 h 124459"/>
                <a:gd name="connsiteX18" fmla="*/ 518996 w 558165"/>
                <a:gd name="connsiteY18" fmla="*/ 32084 h 124459"/>
                <a:gd name="connsiteX19" fmla="*/ 529791 w 558165"/>
                <a:gd name="connsiteY19" fmla="*/ 35259 h 124459"/>
                <a:gd name="connsiteX20" fmla="*/ 529791 w 558165"/>
                <a:gd name="connsiteY20" fmla="*/ 113364 h 124459"/>
                <a:gd name="connsiteX21" fmla="*/ 521536 w 558165"/>
                <a:gd name="connsiteY21" fmla="*/ 110824 h 124459"/>
                <a:gd name="connsiteX22" fmla="*/ 521536 w 558165"/>
                <a:gd name="connsiteY22" fmla="*/ 110824 h 124459"/>
                <a:gd name="connsiteX23" fmla="*/ 459306 w 558165"/>
                <a:gd name="connsiteY23" fmla="*/ 94949 h 124459"/>
                <a:gd name="connsiteX24" fmla="*/ 459306 w 558165"/>
                <a:gd name="connsiteY24" fmla="*/ 16844 h 124459"/>
                <a:gd name="connsiteX25" fmla="*/ 470736 w 558165"/>
                <a:gd name="connsiteY25" fmla="*/ 19384 h 124459"/>
                <a:gd name="connsiteX26" fmla="*/ 470736 w 558165"/>
                <a:gd name="connsiteY26" fmla="*/ 97489 h 124459"/>
                <a:gd name="connsiteX27" fmla="*/ 459306 w 558165"/>
                <a:gd name="connsiteY27" fmla="*/ 94949 h 124459"/>
                <a:gd name="connsiteX28" fmla="*/ 432001 w 558165"/>
                <a:gd name="connsiteY28" fmla="*/ 89869 h 124459"/>
                <a:gd name="connsiteX29" fmla="*/ 432001 w 558165"/>
                <a:gd name="connsiteY29" fmla="*/ 54309 h 124459"/>
                <a:gd name="connsiteX30" fmla="*/ 409776 w 558165"/>
                <a:gd name="connsiteY30" fmla="*/ 51134 h 124459"/>
                <a:gd name="connsiteX31" fmla="*/ 409776 w 558165"/>
                <a:gd name="connsiteY31" fmla="*/ 87329 h 124459"/>
                <a:gd name="connsiteX32" fmla="*/ 398981 w 558165"/>
                <a:gd name="connsiteY32" fmla="*/ 86059 h 124459"/>
                <a:gd name="connsiteX33" fmla="*/ 398981 w 558165"/>
                <a:gd name="connsiteY33" fmla="*/ 7954 h 124459"/>
                <a:gd name="connsiteX34" fmla="*/ 409776 w 558165"/>
                <a:gd name="connsiteY34" fmla="*/ 9224 h 124459"/>
                <a:gd name="connsiteX35" fmla="*/ 409776 w 558165"/>
                <a:gd name="connsiteY35" fmla="*/ 40339 h 124459"/>
                <a:gd name="connsiteX36" fmla="*/ 432001 w 558165"/>
                <a:gd name="connsiteY36" fmla="*/ 43514 h 124459"/>
                <a:gd name="connsiteX37" fmla="*/ 432001 w 558165"/>
                <a:gd name="connsiteY37" fmla="*/ 12399 h 124459"/>
                <a:gd name="connsiteX38" fmla="*/ 442796 w 558165"/>
                <a:gd name="connsiteY38" fmla="*/ 14304 h 124459"/>
                <a:gd name="connsiteX39" fmla="*/ 442796 w 558165"/>
                <a:gd name="connsiteY39" fmla="*/ 92409 h 124459"/>
                <a:gd name="connsiteX40" fmla="*/ 432001 w 558165"/>
                <a:gd name="connsiteY40" fmla="*/ 89869 h 124459"/>
                <a:gd name="connsiteX41" fmla="*/ 432001 w 558165"/>
                <a:gd name="connsiteY41" fmla="*/ 89869 h 124459"/>
                <a:gd name="connsiteX42" fmla="*/ 362151 w 558165"/>
                <a:gd name="connsiteY42" fmla="*/ 83519 h 124459"/>
                <a:gd name="connsiteX43" fmla="*/ 343736 w 558165"/>
                <a:gd name="connsiteY43" fmla="*/ 70819 h 124459"/>
                <a:gd name="connsiteX44" fmla="*/ 338021 w 558165"/>
                <a:gd name="connsiteY44" fmla="*/ 42244 h 124459"/>
                <a:gd name="connsiteX45" fmla="*/ 343736 w 558165"/>
                <a:gd name="connsiteY45" fmla="*/ 13034 h 124459"/>
                <a:gd name="connsiteX46" fmla="*/ 362151 w 558165"/>
                <a:gd name="connsiteY46" fmla="*/ 2874 h 124459"/>
                <a:gd name="connsiteX47" fmla="*/ 383741 w 558165"/>
                <a:gd name="connsiteY47" fmla="*/ 23829 h 124459"/>
                <a:gd name="connsiteX48" fmla="*/ 372311 w 558165"/>
                <a:gd name="connsiteY48" fmla="*/ 25734 h 124459"/>
                <a:gd name="connsiteX49" fmla="*/ 362151 w 558165"/>
                <a:gd name="connsiteY49" fmla="*/ 13669 h 124459"/>
                <a:gd name="connsiteX50" fmla="*/ 352626 w 558165"/>
                <a:gd name="connsiteY50" fmla="*/ 21289 h 124459"/>
                <a:gd name="connsiteX51" fmla="*/ 349451 w 558165"/>
                <a:gd name="connsiteY51" fmla="*/ 42244 h 124459"/>
                <a:gd name="connsiteX52" fmla="*/ 351991 w 558165"/>
                <a:gd name="connsiteY52" fmla="*/ 61929 h 124459"/>
                <a:gd name="connsiteX53" fmla="*/ 362786 w 558165"/>
                <a:gd name="connsiteY53" fmla="*/ 72089 h 124459"/>
                <a:gd name="connsiteX54" fmla="*/ 372946 w 558165"/>
                <a:gd name="connsiteY54" fmla="*/ 58754 h 124459"/>
                <a:gd name="connsiteX55" fmla="*/ 372946 w 558165"/>
                <a:gd name="connsiteY55" fmla="*/ 53039 h 124459"/>
                <a:gd name="connsiteX56" fmla="*/ 364056 w 558165"/>
                <a:gd name="connsiteY56" fmla="*/ 52404 h 124459"/>
                <a:gd name="connsiteX57" fmla="*/ 364056 w 558165"/>
                <a:gd name="connsiteY57" fmla="*/ 41609 h 124459"/>
                <a:gd name="connsiteX58" fmla="*/ 384376 w 558165"/>
                <a:gd name="connsiteY58" fmla="*/ 43514 h 124459"/>
                <a:gd name="connsiteX59" fmla="*/ 384376 w 558165"/>
                <a:gd name="connsiteY59" fmla="*/ 60659 h 124459"/>
                <a:gd name="connsiteX60" fmla="*/ 379296 w 558165"/>
                <a:gd name="connsiteY60" fmla="*/ 77169 h 124459"/>
                <a:gd name="connsiteX61" fmla="*/ 362151 w 558165"/>
                <a:gd name="connsiteY61" fmla="*/ 83519 h 124459"/>
                <a:gd name="connsiteX62" fmla="*/ 362151 w 558165"/>
                <a:gd name="connsiteY62" fmla="*/ 83519 h 124459"/>
                <a:gd name="connsiteX63" fmla="*/ 329131 w 558165"/>
                <a:gd name="connsiteY63" fmla="*/ 80344 h 124459"/>
                <a:gd name="connsiteX64" fmla="*/ 317066 w 558165"/>
                <a:gd name="connsiteY64" fmla="*/ 79709 h 124459"/>
                <a:gd name="connsiteX65" fmla="*/ 310716 w 558165"/>
                <a:gd name="connsiteY65" fmla="*/ 62564 h 124459"/>
                <a:gd name="connsiteX66" fmla="*/ 305001 w 558165"/>
                <a:gd name="connsiteY66" fmla="*/ 45419 h 124459"/>
                <a:gd name="connsiteX67" fmla="*/ 295476 w 558165"/>
                <a:gd name="connsiteY67" fmla="*/ 45419 h 124459"/>
                <a:gd name="connsiteX68" fmla="*/ 295476 w 558165"/>
                <a:gd name="connsiteY68" fmla="*/ 79709 h 124459"/>
                <a:gd name="connsiteX69" fmla="*/ 284681 w 558165"/>
                <a:gd name="connsiteY69" fmla="*/ 79709 h 124459"/>
                <a:gd name="connsiteX70" fmla="*/ 284681 w 558165"/>
                <a:gd name="connsiteY70" fmla="*/ 969 h 124459"/>
                <a:gd name="connsiteX71" fmla="*/ 306906 w 558165"/>
                <a:gd name="connsiteY71" fmla="*/ 1604 h 124459"/>
                <a:gd name="connsiteX72" fmla="*/ 322146 w 558165"/>
                <a:gd name="connsiteY72" fmla="*/ 7319 h 124459"/>
                <a:gd name="connsiteX73" fmla="*/ 328496 w 558165"/>
                <a:gd name="connsiteY73" fmla="*/ 24464 h 124459"/>
                <a:gd name="connsiteX74" fmla="*/ 325321 w 558165"/>
                <a:gd name="connsiteY74" fmla="*/ 37799 h 124459"/>
                <a:gd name="connsiteX75" fmla="*/ 316431 w 558165"/>
                <a:gd name="connsiteY75" fmla="*/ 44784 h 124459"/>
                <a:gd name="connsiteX76" fmla="*/ 322781 w 558165"/>
                <a:gd name="connsiteY76" fmla="*/ 63199 h 124459"/>
                <a:gd name="connsiteX77" fmla="*/ 329131 w 558165"/>
                <a:gd name="connsiteY77" fmla="*/ 80344 h 124459"/>
                <a:gd name="connsiteX78" fmla="*/ 329131 w 558165"/>
                <a:gd name="connsiteY78" fmla="*/ 80344 h 124459"/>
                <a:gd name="connsiteX79" fmla="*/ 271981 w 558165"/>
                <a:gd name="connsiteY79" fmla="*/ 39704 h 124459"/>
                <a:gd name="connsiteX80" fmla="*/ 266266 w 558165"/>
                <a:gd name="connsiteY80" fmla="*/ 68914 h 124459"/>
                <a:gd name="connsiteX81" fmla="*/ 247851 w 558165"/>
                <a:gd name="connsiteY81" fmla="*/ 80979 h 124459"/>
                <a:gd name="connsiteX82" fmla="*/ 230071 w 558165"/>
                <a:gd name="connsiteY82" fmla="*/ 70184 h 124459"/>
                <a:gd name="connsiteX83" fmla="*/ 224356 w 558165"/>
                <a:gd name="connsiteY83" fmla="*/ 41609 h 124459"/>
                <a:gd name="connsiteX84" fmla="*/ 230071 w 558165"/>
                <a:gd name="connsiteY84" fmla="*/ 12399 h 124459"/>
                <a:gd name="connsiteX85" fmla="*/ 248486 w 558165"/>
                <a:gd name="connsiteY85" fmla="*/ -301 h 124459"/>
                <a:gd name="connsiteX86" fmla="*/ 266266 w 558165"/>
                <a:gd name="connsiteY86" fmla="*/ 11129 h 124459"/>
                <a:gd name="connsiteX87" fmla="*/ 271981 w 558165"/>
                <a:gd name="connsiteY87" fmla="*/ 39704 h 124459"/>
                <a:gd name="connsiteX88" fmla="*/ 203401 w 558165"/>
                <a:gd name="connsiteY88" fmla="*/ 58119 h 124459"/>
                <a:gd name="connsiteX89" fmla="*/ 191336 w 558165"/>
                <a:gd name="connsiteY89" fmla="*/ 46689 h 124459"/>
                <a:gd name="connsiteX90" fmla="*/ 182446 w 558165"/>
                <a:gd name="connsiteY90" fmla="*/ 47959 h 124459"/>
                <a:gd name="connsiteX91" fmla="*/ 182446 w 558165"/>
                <a:gd name="connsiteY91" fmla="*/ 73359 h 124459"/>
                <a:gd name="connsiteX92" fmla="*/ 192606 w 558165"/>
                <a:gd name="connsiteY92" fmla="*/ 72724 h 124459"/>
                <a:gd name="connsiteX93" fmla="*/ 203401 w 558165"/>
                <a:gd name="connsiteY93" fmla="*/ 58119 h 124459"/>
                <a:gd name="connsiteX94" fmla="*/ 203401 w 558165"/>
                <a:gd name="connsiteY94" fmla="*/ 58119 h 124459"/>
                <a:gd name="connsiteX95" fmla="*/ 214196 w 558165"/>
                <a:gd name="connsiteY95" fmla="*/ 57484 h 124459"/>
                <a:gd name="connsiteX96" fmla="*/ 207846 w 558165"/>
                <a:gd name="connsiteY96" fmla="*/ 75264 h 124459"/>
                <a:gd name="connsiteX97" fmla="*/ 191971 w 558165"/>
                <a:gd name="connsiteY97" fmla="*/ 82249 h 124459"/>
                <a:gd name="connsiteX98" fmla="*/ 171016 w 558165"/>
                <a:gd name="connsiteY98" fmla="*/ 84154 h 124459"/>
                <a:gd name="connsiteX99" fmla="*/ 171016 w 558165"/>
                <a:gd name="connsiteY99" fmla="*/ 6049 h 124459"/>
                <a:gd name="connsiteX100" fmla="*/ 190701 w 558165"/>
                <a:gd name="connsiteY100" fmla="*/ 4144 h 124459"/>
                <a:gd name="connsiteX101" fmla="*/ 206576 w 558165"/>
                <a:gd name="connsiteY101" fmla="*/ 7954 h 124459"/>
                <a:gd name="connsiteX102" fmla="*/ 212926 w 558165"/>
                <a:gd name="connsiteY102" fmla="*/ 23194 h 124459"/>
                <a:gd name="connsiteX103" fmla="*/ 204036 w 558165"/>
                <a:gd name="connsiteY103" fmla="*/ 40339 h 124459"/>
                <a:gd name="connsiteX104" fmla="*/ 214196 w 558165"/>
                <a:gd name="connsiteY104" fmla="*/ 57484 h 124459"/>
                <a:gd name="connsiteX105" fmla="*/ 214196 w 558165"/>
                <a:gd name="connsiteY105" fmla="*/ 57484 h 124459"/>
                <a:gd name="connsiteX106" fmla="*/ 317701 w 558165"/>
                <a:gd name="connsiteY106" fmla="*/ 23194 h 124459"/>
                <a:gd name="connsiteX107" fmla="*/ 306271 w 558165"/>
                <a:gd name="connsiteY107" fmla="*/ 11129 h 124459"/>
                <a:gd name="connsiteX108" fmla="*/ 296111 w 558165"/>
                <a:gd name="connsiteY108" fmla="*/ 10494 h 124459"/>
                <a:gd name="connsiteX109" fmla="*/ 296111 w 558165"/>
                <a:gd name="connsiteY109" fmla="*/ 33989 h 124459"/>
                <a:gd name="connsiteX110" fmla="*/ 306271 w 558165"/>
                <a:gd name="connsiteY110" fmla="*/ 33989 h 124459"/>
                <a:gd name="connsiteX111" fmla="*/ 317701 w 558165"/>
                <a:gd name="connsiteY111" fmla="*/ 23194 h 124459"/>
                <a:gd name="connsiteX112" fmla="*/ 260551 w 558165"/>
                <a:gd name="connsiteY112" fmla="*/ 40339 h 124459"/>
                <a:gd name="connsiteX113" fmla="*/ 258011 w 558165"/>
                <a:gd name="connsiteY113" fmla="*/ 20019 h 124459"/>
                <a:gd name="connsiteX114" fmla="*/ 247851 w 558165"/>
                <a:gd name="connsiteY114" fmla="*/ 11129 h 124459"/>
                <a:gd name="connsiteX115" fmla="*/ 237691 w 558165"/>
                <a:gd name="connsiteY115" fmla="*/ 20654 h 124459"/>
                <a:gd name="connsiteX116" fmla="*/ 235151 w 558165"/>
                <a:gd name="connsiteY116" fmla="*/ 40974 h 124459"/>
                <a:gd name="connsiteX117" fmla="*/ 237691 w 558165"/>
                <a:gd name="connsiteY117" fmla="*/ 61294 h 124459"/>
                <a:gd name="connsiteX118" fmla="*/ 247851 w 558165"/>
                <a:gd name="connsiteY118" fmla="*/ 70184 h 124459"/>
                <a:gd name="connsiteX119" fmla="*/ 257376 w 558165"/>
                <a:gd name="connsiteY119" fmla="*/ 60659 h 124459"/>
                <a:gd name="connsiteX120" fmla="*/ 260551 w 558165"/>
                <a:gd name="connsiteY120" fmla="*/ 40339 h 124459"/>
                <a:gd name="connsiteX121" fmla="*/ 202131 w 558165"/>
                <a:gd name="connsiteY121" fmla="*/ 24464 h 124459"/>
                <a:gd name="connsiteX122" fmla="*/ 191971 w 558165"/>
                <a:gd name="connsiteY122" fmla="*/ 14939 h 124459"/>
                <a:gd name="connsiteX123" fmla="*/ 183081 w 558165"/>
                <a:gd name="connsiteY123" fmla="*/ 15574 h 124459"/>
                <a:gd name="connsiteX124" fmla="*/ 183081 w 558165"/>
                <a:gd name="connsiteY124" fmla="*/ 37164 h 124459"/>
                <a:gd name="connsiteX125" fmla="*/ 191971 w 558165"/>
                <a:gd name="connsiteY125" fmla="*/ 35894 h 124459"/>
                <a:gd name="connsiteX126" fmla="*/ 202131 w 558165"/>
                <a:gd name="connsiteY126" fmla="*/ 24464 h 124459"/>
                <a:gd name="connsiteX127" fmla="*/ 144981 w 558165"/>
                <a:gd name="connsiteY127" fmla="*/ 87329 h 124459"/>
                <a:gd name="connsiteX128" fmla="*/ 144981 w 558165"/>
                <a:gd name="connsiteY128" fmla="*/ 56214 h 124459"/>
                <a:gd name="connsiteX129" fmla="*/ 144981 w 558165"/>
                <a:gd name="connsiteY129" fmla="*/ 36529 h 124459"/>
                <a:gd name="connsiteX130" fmla="*/ 138631 w 558165"/>
                <a:gd name="connsiteY130" fmla="*/ 57484 h 124459"/>
                <a:gd name="connsiteX131" fmla="*/ 133551 w 558165"/>
                <a:gd name="connsiteY131" fmla="*/ 73994 h 124459"/>
                <a:gd name="connsiteX132" fmla="*/ 128471 w 558165"/>
                <a:gd name="connsiteY132" fmla="*/ 91139 h 124459"/>
                <a:gd name="connsiteX133" fmla="*/ 123391 w 558165"/>
                <a:gd name="connsiteY133" fmla="*/ 75899 h 124459"/>
                <a:gd name="connsiteX134" fmla="*/ 118311 w 558165"/>
                <a:gd name="connsiteY134" fmla="*/ 60659 h 124459"/>
                <a:gd name="connsiteX135" fmla="*/ 111961 w 558165"/>
                <a:gd name="connsiteY135" fmla="*/ 41609 h 124459"/>
                <a:gd name="connsiteX136" fmla="*/ 111961 w 558165"/>
                <a:gd name="connsiteY136" fmla="*/ 60659 h 124459"/>
                <a:gd name="connsiteX137" fmla="*/ 111961 w 558165"/>
                <a:gd name="connsiteY137" fmla="*/ 91774 h 124459"/>
                <a:gd name="connsiteX138" fmla="*/ 101801 w 558165"/>
                <a:gd name="connsiteY138" fmla="*/ 93679 h 124459"/>
                <a:gd name="connsiteX139" fmla="*/ 101801 w 558165"/>
                <a:gd name="connsiteY139" fmla="*/ 16209 h 124459"/>
                <a:gd name="connsiteX140" fmla="*/ 113231 w 558165"/>
                <a:gd name="connsiteY140" fmla="*/ 13669 h 124459"/>
                <a:gd name="connsiteX141" fmla="*/ 118311 w 558165"/>
                <a:gd name="connsiteY141" fmla="*/ 28909 h 124459"/>
                <a:gd name="connsiteX142" fmla="*/ 123391 w 558165"/>
                <a:gd name="connsiteY142" fmla="*/ 44149 h 124459"/>
                <a:gd name="connsiteX143" fmla="*/ 127836 w 558165"/>
                <a:gd name="connsiteY143" fmla="*/ 60659 h 124459"/>
                <a:gd name="connsiteX144" fmla="*/ 132916 w 558165"/>
                <a:gd name="connsiteY144" fmla="*/ 42244 h 124459"/>
                <a:gd name="connsiteX145" fmla="*/ 137996 w 558165"/>
                <a:gd name="connsiteY145" fmla="*/ 25099 h 124459"/>
                <a:gd name="connsiteX146" fmla="*/ 143076 w 558165"/>
                <a:gd name="connsiteY146" fmla="*/ 8589 h 124459"/>
                <a:gd name="connsiteX147" fmla="*/ 154506 w 558165"/>
                <a:gd name="connsiteY147" fmla="*/ 7319 h 124459"/>
                <a:gd name="connsiteX148" fmla="*/ 154506 w 558165"/>
                <a:gd name="connsiteY148" fmla="*/ 86059 h 124459"/>
                <a:gd name="connsiteX149" fmla="*/ 144981 w 558165"/>
                <a:gd name="connsiteY149" fmla="*/ 87329 h 124459"/>
                <a:gd name="connsiteX150" fmla="*/ 73226 w 558165"/>
                <a:gd name="connsiteY150" fmla="*/ 69549 h 124459"/>
                <a:gd name="connsiteX151" fmla="*/ 70051 w 558165"/>
                <a:gd name="connsiteY151" fmla="*/ 57484 h 124459"/>
                <a:gd name="connsiteX152" fmla="*/ 66876 w 558165"/>
                <a:gd name="connsiteY152" fmla="*/ 40974 h 124459"/>
                <a:gd name="connsiteX153" fmla="*/ 63701 w 558165"/>
                <a:gd name="connsiteY153" fmla="*/ 58754 h 124459"/>
                <a:gd name="connsiteX154" fmla="*/ 61161 w 558165"/>
                <a:gd name="connsiteY154" fmla="*/ 72724 h 124459"/>
                <a:gd name="connsiteX155" fmla="*/ 73226 w 558165"/>
                <a:gd name="connsiteY155" fmla="*/ 69549 h 124459"/>
                <a:gd name="connsiteX156" fmla="*/ 73226 w 558165"/>
                <a:gd name="connsiteY156" fmla="*/ 69549 h 124459"/>
                <a:gd name="connsiteX157" fmla="*/ 92276 w 558165"/>
                <a:gd name="connsiteY157" fmla="*/ 96854 h 124459"/>
                <a:gd name="connsiteX158" fmla="*/ 80211 w 558165"/>
                <a:gd name="connsiteY158" fmla="*/ 99394 h 124459"/>
                <a:gd name="connsiteX159" fmla="*/ 77671 w 558165"/>
                <a:gd name="connsiteY159" fmla="*/ 89234 h 124459"/>
                <a:gd name="connsiteX160" fmla="*/ 75131 w 558165"/>
                <a:gd name="connsiteY160" fmla="*/ 79709 h 124459"/>
                <a:gd name="connsiteX161" fmla="*/ 57986 w 558165"/>
                <a:gd name="connsiteY161" fmla="*/ 84154 h 124459"/>
                <a:gd name="connsiteX162" fmla="*/ 55446 w 558165"/>
                <a:gd name="connsiteY162" fmla="*/ 94949 h 124459"/>
                <a:gd name="connsiteX163" fmla="*/ 53541 w 558165"/>
                <a:gd name="connsiteY163" fmla="*/ 105744 h 124459"/>
                <a:gd name="connsiteX164" fmla="*/ 41476 w 558165"/>
                <a:gd name="connsiteY164" fmla="*/ 108919 h 124459"/>
                <a:gd name="connsiteX165" fmla="*/ 51001 w 558165"/>
                <a:gd name="connsiteY165" fmla="*/ 67009 h 124459"/>
                <a:gd name="connsiteX166" fmla="*/ 60526 w 558165"/>
                <a:gd name="connsiteY166" fmla="*/ 25734 h 124459"/>
                <a:gd name="connsiteX167" fmla="*/ 71956 w 558165"/>
                <a:gd name="connsiteY167" fmla="*/ 23194 h 124459"/>
                <a:gd name="connsiteX168" fmla="*/ 81481 w 558165"/>
                <a:gd name="connsiteY168" fmla="*/ 60024 h 124459"/>
                <a:gd name="connsiteX169" fmla="*/ 92276 w 558165"/>
                <a:gd name="connsiteY169" fmla="*/ 96854 h 124459"/>
                <a:gd name="connsiteX170" fmla="*/ 92276 w 558165"/>
                <a:gd name="connsiteY170" fmla="*/ 96854 h 124459"/>
                <a:gd name="connsiteX171" fmla="*/ -434 w 558165"/>
                <a:gd name="connsiteY171" fmla="*/ 124159 h 124459"/>
                <a:gd name="connsiteX172" fmla="*/ -434 w 558165"/>
                <a:gd name="connsiteY172" fmla="*/ 45419 h 124459"/>
                <a:gd name="connsiteX173" fmla="*/ 10361 w 558165"/>
                <a:gd name="connsiteY173" fmla="*/ 41609 h 124459"/>
                <a:gd name="connsiteX174" fmla="*/ 10361 w 558165"/>
                <a:gd name="connsiteY174" fmla="*/ 109554 h 124459"/>
                <a:gd name="connsiteX175" fmla="*/ 35761 w 558165"/>
                <a:gd name="connsiteY175" fmla="*/ 100664 h 124459"/>
                <a:gd name="connsiteX176" fmla="*/ 35761 w 558165"/>
                <a:gd name="connsiteY176" fmla="*/ 111459 h 124459"/>
                <a:gd name="connsiteX177" fmla="*/ -434 w 558165"/>
                <a:gd name="connsiteY177" fmla="*/ 124159 h 124459"/>
                <a:gd name="connsiteX178" fmla="*/ -434 w 558165"/>
                <a:gd name="connsiteY178" fmla="*/ 124159 h 12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558165" h="124459">
                  <a:moveTo>
                    <a:pt x="546936" y="119714"/>
                  </a:moveTo>
                  <a:lnTo>
                    <a:pt x="546936" y="40974"/>
                  </a:lnTo>
                  <a:cubicBezTo>
                    <a:pt x="550746" y="42244"/>
                    <a:pt x="554556" y="43514"/>
                    <a:pt x="557731" y="44784"/>
                  </a:cubicBezTo>
                  <a:lnTo>
                    <a:pt x="557731" y="124159"/>
                  </a:lnTo>
                  <a:cubicBezTo>
                    <a:pt x="554556" y="122889"/>
                    <a:pt x="550746" y="121619"/>
                    <a:pt x="546936" y="119714"/>
                  </a:cubicBezTo>
                  <a:close/>
                  <a:moveTo>
                    <a:pt x="521536" y="110824"/>
                  </a:moveTo>
                  <a:cubicBezTo>
                    <a:pt x="518361" y="102569"/>
                    <a:pt x="515186" y="94949"/>
                    <a:pt x="512011" y="86694"/>
                  </a:cubicBezTo>
                  <a:cubicBezTo>
                    <a:pt x="508836" y="78439"/>
                    <a:pt x="505661" y="70819"/>
                    <a:pt x="502486" y="63199"/>
                  </a:cubicBezTo>
                  <a:cubicBezTo>
                    <a:pt x="501216" y="59389"/>
                    <a:pt x="498041" y="51769"/>
                    <a:pt x="496771" y="49229"/>
                  </a:cubicBezTo>
                  <a:cubicBezTo>
                    <a:pt x="496771" y="51769"/>
                    <a:pt x="496771" y="61294"/>
                    <a:pt x="496771" y="64469"/>
                  </a:cubicBezTo>
                  <a:lnTo>
                    <a:pt x="496771" y="103839"/>
                  </a:lnTo>
                  <a:lnTo>
                    <a:pt x="485976" y="101299"/>
                  </a:lnTo>
                  <a:lnTo>
                    <a:pt x="485976" y="23194"/>
                  </a:lnTo>
                  <a:cubicBezTo>
                    <a:pt x="489786" y="23829"/>
                    <a:pt x="493596" y="25099"/>
                    <a:pt x="496771" y="25734"/>
                  </a:cubicBezTo>
                  <a:cubicBezTo>
                    <a:pt x="499946" y="32719"/>
                    <a:pt x="502486" y="39704"/>
                    <a:pt x="505026" y="46689"/>
                  </a:cubicBezTo>
                  <a:cubicBezTo>
                    <a:pt x="507566" y="53674"/>
                    <a:pt x="510741" y="60659"/>
                    <a:pt x="513281" y="67644"/>
                  </a:cubicBezTo>
                  <a:cubicBezTo>
                    <a:pt x="514551" y="71454"/>
                    <a:pt x="517726" y="79709"/>
                    <a:pt x="518996" y="82249"/>
                  </a:cubicBezTo>
                  <a:cubicBezTo>
                    <a:pt x="518996" y="79074"/>
                    <a:pt x="518996" y="70184"/>
                    <a:pt x="518996" y="66374"/>
                  </a:cubicBezTo>
                  <a:lnTo>
                    <a:pt x="518996" y="32084"/>
                  </a:lnTo>
                  <a:cubicBezTo>
                    <a:pt x="522806" y="33354"/>
                    <a:pt x="525981" y="33989"/>
                    <a:pt x="529791" y="35259"/>
                  </a:cubicBezTo>
                  <a:lnTo>
                    <a:pt x="529791" y="113364"/>
                  </a:lnTo>
                  <a:cubicBezTo>
                    <a:pt x="527886" y="112729"/>
                    <a:pt x="524711" y="112094"/>
                    <a:pt x="521536" y="110824"/>
                  </a:cubicBezTo>
                  <a:lnTo>
                    <a:pt x="521536" y="110824"/>
                  </a:lnTo>
                  <a:close/>
                  <a:moveTo>
                    <a:pt x="459306" y="94949"/>
                  </a:moveTo>
                  <a:lnTo>
                    <a:pt x="459306" y="16844"/>
                  </a:lnTo>
                  <a:lnTo>
                    <a:pt x="470736" y="19384"/>
                  </a:lnTo>
                  <a:lnTo>
                    <a:pt x="470736" y="97489"/>
                  </a:lnTo>
                  <a:lnTo>
                    <a:pt x="459306" y="94949"/>
                  </a:lnTo>
                  <a:close/>
                  <a:moveTo>
                    <a:pt x="432001" y="89869"/>
                  </a:moveTo>
                  <a:lnTo>
                    <a:pt x="432001" y="54309"/>
                  </a:lnTo>
                  <a:cubicBezTo>
                    <a:pt x="424381" y="53039"/>
                    <a:pt x="417396" y="51769"/>
                    <a:pt x="409776" y="51134"/>
                  </a:cubicBezTo>
                  <a:lnTo>
                    <a:pt x="409776" y="87329"/>
                  </a:lnTo>
                  <a:cubicBezTo>
                    <a:pt x="405966" y="86694"/>
                    <a:pt x="402156" y="86059"/>
                    <a:pt x="398981" y="86059"/>
                  </a:cubicBezTo>
                  <a:lnTo>
                    <a:pt x="398981" y="7954"/>
                  </a:lnTo>
                  <a:cubicBezTo>
                    <a:pt x="402791" y="8589"/>
                    <a:pt x="406601" y="9224"/>
                    <a:pt x="409776" y="9224"/>
                  </a:cubicBezTo>
                  <a:lnTo>
                    <a:pt x="409776" y="40339"/>
                  </a:lnTo>
                  <a:cubicBezTo>
                    <a:pt x="417396" y="41609"/>
                    <a:pt x="424381" y="42244"/>
                    <a:pt x="432001" y="43514"/>
                  </a:cubicBezTo>
                  <a:lnTo>
                    <a:pt x="432001" y="12399"/>
                  </a:lnTo>
                  <a:cubicBezTo>
                    <a:pt x="435811" y="13034"/>
                    <a:pt x="438986" y="13669"/>
                    <a:pt x="442796" y="14304"/>
                  </a:cubicBezTo>
                  <a:lnTo>
                    <a:pt x="442796" y="92409"/>
                  </a:lnTo>
                  <a:cubicBezTo>
                    <a:pt x="438986" y="91139"/>
                    <a:pt x="435176" y="90504"/>
                    <a:pt x="432001" y="89869"/>
                  </a:cubicBezTo>
                  <a:lnTo>
                    <a:pt x="432001" y="89869"/>
                  </a:lnTo>
                  <a:close/>
                  <a:moveTo>
                    <a:pt x="362151" y="83519"/>
                  </a:moveTo>
                  <a:cubicBezTo>
                    <a:pt x="353896" y="82884"/>
                    <a:pt x="347546" y="77804"/>
                    <a:pt x="343736" y="70819"/>
                  </a:cubicBezTo>
                  <a:cubicBezTo>
                    <a:pt x="339926" y="63199"/>
                    <a:pt x="338021" y="53039"/>
                    <a:pt x="338021" y="42244"/>
                  </a:cubicBezTo>
                  <a:cubicBezTo>
                    <a:pt x="338021" y="30179"/>
                    <a:pt x="339926" y="20019"/>
                    <a:pt x="343736" y="13034"/>
                  </a:cubicBezTo>
                  <a:cubicBezTo>
                    <a:pt x="347546" y="6049"/>
                    <a:pt x="353896" y="2239"/>
                    <a:pt x="362151" y="2874"/>
                  </a:cubicBezTo>
                  <a:cubicBezTo>
                    <a:pt x="374851" y="4144"/>
                    <a:pt x="381201" y="11764"/>
                    <a:pt x="383741" y="23829"/>
                  </a:cubicBezTo>
                  <a:cubicBezTo>
                    <a:pt x="379931" y="24464"/>
                    <a:pt x="376121" y="25099"/>
                    <a:pt x="372311" y="25734"/>
                  </a:cubicBezTo>
                  <a:cubicBezTo>
                    <a:pt x="370406" y="17479"/>
                    <a:pt x="367866" y="14304"/>
                    <a:pt x="362151" y="13669"/>
                  </a:cubicBezTo>
                  <a:cubicBezTo>
                    <a:pt x="357706" y="13669"/>
                    <a:pt x="354531" y="16209"/>
                    <a:pt x="352626" y="21289"/>
                  </a:cubicBezTo>
                  <a:cubicBezTo>
                    <a:pt x="350721" y="26369"/>
                    <a:pt x="349451" y="33989"/>
                    <a:pt x="349451" y="42244"/>
                  </a:cubicBezTo>
                  <a:cubicBezTo>
                    <a:pt x="349451" y="49229"/>
                    <a:pt x="350086" y="56214"/>
                    <a:pt x="351991" y="61929"/>
                  </a:cubicBezTo>
                  <a:cubicBezTo>
                    <a:pt x="353896" y="67644"/>
                    <a:pt x="357706" y="72089"/>
                    <a:pt x="362786" y="72089"/>
                  </a:cubicBezTo>
                  <a:cubicBezTo>
                    <a:pt x="370406" y="72724"/>
                    <a:pt x="372946" y="68279"/>
                    <a:pt x="372946" y="58754"/>
                  </a:cubicBezTo>
                  <a:lnTo>
                    <a:pt x="372946" y="53039"/>
                  </a:lnTo>
                  <a:cubicBezTo>
                    <a:pt x="370406" y="52404"/>
                    <a:pt x="367231" y="52404"/>
                    <a:pt x="364056" y="52404"/>
                  </a:cubicBezTo>
                  <a:lnTo>
                    <a:pt x="364056" y="41609"/>
                  </a:lnTo>
                  <a:lnTo>
                    <a:pt x="384376" y="43514"/>
                  </a:lnTo>
                  <a:lnTo>
                    <a:pt x="384376" y="60659"/>
                  </a:lnTo>
                  <a:cubicBezTo>
                    <a:pt x="384376" y="67009"/>
                    <a:pt x="382471" y="72724"/>
                    <a:pt x="379296" y="77169"/>
                  </a:cubicBezTo>
                  <a:cubicBezTo>
                    <a:pt x="375486" y="81614"/>
                    <a:pt x="369771" y="84154"/>
                    <a:pt x="362151" y="83519"/>
                  </a:cubicBezTo>
                  <a:lnTo>
                    <a:pt x="362151" y="83519"/>
                  </a:lnTo>
                  <a:close/>
                  <a:moveTo>
                    <a:pt x="329131" y="80344"/>
                  </a:moveTo>
                  <a:cubicBezTo>
                    <a:pt x="325321" y="80344"/>
                    <a:pt x="320876" y="79709"/>
                    <a:pt x="317066" y="79709"/>
                  </a:cubicBezTo>
                  <a:cubicBezTo>
                    <a:pt x="315161" y="73994"/>
                    <a:pt x="312621" y="68279"/>
                    <a:pt x="310716" y="62564"/>
                  </a:cubicBezTo>
                  <a:cubicBezTo>
                    <a:pt x="308811" y="56849"/>
                    <a:pt x="306906" y="51134"/>
                    <a:pt x="305001" y="45419"/>
                  </a:cubicBezTo>
                  <a:cubicBezTo>
                    <a:pt x="301826" y="45419"/>
                    <a:pt x="298651" y="45419"/>
                    <a:pt x="295476" y="45419"/>
                  </a:cubicBezTo>
                  <a:lnTo>
                    <a:pt x="295476" y="79709"/>
                  </a:lnTo>
                  <a:lnTo>
                    <a:pt x="284681" y="79709"/>
                  </a:lnTo>
                  <a:lnTo>
                    <a:pt x="284681" y="969"/>
                  </a:lnTo>
                  <a:cubicBezTo>
                    <a:pt x="292301" y="969"/>
                    <a:pt x="299286" y="969"/>
                    <a:pt x="306906" y="1604"/>
                  </a:cubicBezTo>
                  <a:cubicBezTo>
                    <a:pt x="312621" y="1604"/>
                    <a:pt x="318336" y="3509"/>
                    <a:pt x="322146" y="7319"/>
                  </a:cubicBezTo>
                  <a:cubicBezTo>
                    <a:pt x="325956" y="11129"/>
                    <a:pt x="328496" y="16844"/>
                    <a:pt x="328496" y="24464"/>
                  </a:cubicBezTo>
                  <a:cubicBezTo>
                    <a:pt x="328496" y="30179"/>
                    <a:pt x="327226" y="34624"/>
                    <a:pt x="325321" y="37799"/>
                  </a:cubicBezTo>
                  <a:cubicBezTo>
                    <a:pt x="323416" y="40974"/>
                    <a:pt x="320241" y="43514"/>
                    <a:pt x="316431" y="44784"/>
                  </a:cubicBezTo>
                  <a:cubicBezTo>
                    <a:pt x="318336" y="51134"/>
                    <a:pt x="320876" y="56849"/>
                    <a:pt x="322781" y="63199"/>
                  </a:cubicBezTo>
                  <a:cubicBezTo>
                    <a:pt x="324686" y="68279"/>
                    <a:pt x="327226" y="74629"/>
                    <a:pt x="329131" y="80344"/>
                  </a:cubicBezTo>
                  <a:lnTo>
                    <a:pt x="329131" y="80344"/>
                  </a:lnTo>
                  <a:close/>
                  <a:moveTo>
                    <a:pt x="271981" y="39704"/>
                  </a:moveTo>
                  <a:cubicBezTo>
                    <a:pt x="271981" y="51134"/>
                    <a:pt x="270076" y="61294"/>
                    <a:pt x="266266" y="68914"/>
                  </a:cubicBezTo>
                  <a:cubicBezTo>
                    <a:pt x="262456" y="75899"/>
                    <a:pt x="256106" y="80979"/>
                    <a:pt x="247851" y="80979"/>
                  </a:cubicBezTo>
                  <a:cubicBezTo>
                    <a:pt x="239596" y="80979"/>
                    <a:pt x="233881" y="77169"/>
                    <a:pt x="230071" y="70184"/>
                  </a:cubicBezTo>
                  <a:cubicBezTo>
                    <a:pt x="226261" y="63199"/>
                    <a:pt x="224356" y="53039"/>
                    <a:pt x="224356" y="41609"/>
                  </a:cubicBezTo>
                  <a:cubicBezTo>
                    <a:pt x="224356" y="30179"/>
                    <a:pt x="226261" y="20019"/>
                    <a:pt x="230071" y="12399"/>
                  </a:cubicBezTo>
                  <a:cubicBezTo>
                    <a:pt x="233881" y="4779"/>
                    <a:pt x="240231" y="334"/>
                    <a:pt x="248486" y="-301"/>
                  </a:cubicBezTo>
                  <a:cubicBezTo>
                    <a:pt x="256741" y="-301"/>
                    <a:pt x="262456" y="4144"/>
                    <a:pt x="266266" y="11129"/>
                  </a:cubicBezTo>
                  <a:cubicBezTo>
                    <a:pt x="270076" y="18114"/>
                    <a:pt x="271981" y="28274"/>
                    <a:pt x="271981" y="39704"/>
                  </a:cubicBezTo>
                  <a:close/>
                  <a:moveTo>
                    <a:pt x="203401" y="58119"/>
                  </a:moveTo>
                  <a:cubicBezTo>
                    <a:pt x="203401" y="49229"/>
                    <a:pt x="198321" y="46054"/>
                    <a:pt x="191336" y="46689"/>
                  </a:cubicBezTo>
                  <a:cubicBezTo>
                    <a:pt x="188161" y="47324"/>
                    <a:pt x="185621" y="47324"/>
                    <a:pt x="182446" y="47959"/>
                  </a:cubicBezTo>
                  <a:lnTo>
                    <a:pt x="182446" y="73359"/>
                  </a:lnTo>
                  <a:cubicBezTo>
                    <a:pt x="185621" y="73359"/>
                    <a:pt x="188796" y="72724"/>
                    <a:pt x="192606" y="72724"/>
                  </a:cubicBezTo>
                  <a:cubicBezTo>
                    <a:pt x="198956" y="71454"/>
                    <a:pt x="203401" y="67644"/>
                    <a:pt x="203401" y="58119"/>
                  </a:cubicBezTo>
                  <a:lnTo>
                    <a:pt x="203401" y="58119"/>
                  </a:lnTo>
                  <a:close/>
                  <a:moveTo>
                    <a:pt x="214196" y="57484"/>
                  </a:moveTo>
                  <a:cubicBezTo>
                    <a:pt x="214196" y="65104"/>
                    <a:pt x="211656" y="71454"/>
                    <a:pt x="207846" y="75264"/>
                  </a:cubicBezTo>
                  <a:cubicBezTo>
                    <a:pt x="204036" y="79709"/>
                    <a:pt x="198321" y="82249"/>
                    <a:pt x="191971" y="82249"/>
                  </a:cubicBezTo>
                  <a:cubicBezTo>
                    <a:pt x="184986" y="82884"/>
                    <a:pt x="178001" y="83519"/>
                    <a:pt x="171016" y="84154"/>
                  </a:cubicBezTo>
                  <a:lnTo>
                    <a:pt x="171016" y="6049"/>
                  </a:lnTo>
                  <a:cubicBezTo>
                    <a:pt x="177366" y="5414"/>
                    <a:pt x="184351" y="4779"/>
                    <a:pt x="190701" y="4144"/>
                  </a:cubicBezTo>
                  <a:cubicBezTo>
                    <a:pt x="197051" y="3509"/>
                    <a:pt x="202766" y="4779"/>
                    <a:pt x="206576" y="7954"/>
                  </a:cubicBezTo>
                  <a:cubicBezTo>
                    <a:pt x="210386" y="11129"/>
                    <a:pt x="212926" y="16209"/>
                    <a:pt x="212926" y="23194"/>
                  </a:cubicBezTo>
                  <a:cubicBezTo>
                    <a:pt x="212926" y="29544"/>
                    <a:pt x="210386" y="36529"/>
                    <a:pt x="204036" y="40339"/>
                  </a:cubicBezTo>
                  <a:cubicBezTo>
                    <a:pt x="210386" y="42244"/>
                    <a:pt x="214196" y="49229"/>
                    <a:pt x="214196" y="57484"/>
                  </a:cubicBezTo>
                  <a:lnTo>
                    <a:pt x="214196" y="57484"/>
                  </a:lnTo>
                  <a:close/>
                  <a:moveTo>
                    <a:pt x="317701" y="23194"/>
                  </a:moveTo>
                  <a:cubicBezTo>
                    <a:pt x="317701" y="14939"/>
                    <a:pt x="313256" y="11764"/>
                    <a:pt x="306271" y="11129"/>
                  </a:cubicBezTo>
                  <a:cubicBezTo>
                    <a:pt x="303096" y="11129"/>
                    <a:pt x="299286" y="11129"/>
                    <a:pt x="296111" y="10494"/>
                  </a:cubicBezTo>
                  <a:lnTo>
                    <a:pt x="296111" y="33989"/>
                  </a:lnTo>
                  <a:cubicBezTo>
                    <a:pt x="299286" y="33989"/>
                    <a:pt x="303096" y="33989"/>
                    <a:pt x="306271" y="33989"/>
                  </a:cubicBezTo>
                  <a:cubicBezTo>
                    <a:pt x="313256" y="35259"/>
                    <a:pt x="317701" y="31449"/>
                    <a:pt x="317701" y="23194"/>
                  </a:cubicBezTo>
                  <a:close/>
                  <a:moveTo>
                    <a:pt x="260551" y="40339"/>
                  </a:moveTo>
                  <a:cubicBezTo>
                    <a:pt x="260551" y="32719"/>
                    <a:pt x="259916" y="25734"/>
                    <a:pt x="258011" y="20019"/>
                  </a:cubicBezTo>
                  <a:cubicBezTo>
                    <a:pt x="256106" y="14304"/>
                    <a:pt x="252931" y="10494"/>
                    <a:pt x="247851" y="11129"/>
                  </a:cubicBezTo>
                  <a:cubicBezTo>
                    <a:pt x="242771" y="11129"/>
                    <a:pt x="239596" y="14939"/>
                    <a:pt x="237691" y="20654"/>
                  </a:cubicBezTo>
                  <a:cubicBezTo>
                    <a:pt x="235786" y="26369"/>
                    <a:pt x="235151" y="33989"/>
                    <a:pt x="235151" y="40974"/>
                  </a:cubicBezTo>
                  <a:cubicBezTo>
                    <a:pt x="235151" y="47959"/>
                    <a:pt x="235786" y="55579"/>
                    <a:pt x="237691" y="61294"/>
                  </a:cubicBezTo>
                  <a:cubicBezTo>
                    <a:pt x="239596" y="66374"/>
                    <a:pt x="242771" y="70184"/>
                    <a:pt x="247851" y="70184"/>
                  </a:cubicBezTo>
                  <a:cubicBezTo>
                    <a:pt x="252296" y="70184"/>
                    <a:pt x="255471" y="66374"/>
                    <a:pt x="257376" y="60659"/>
                  </a:cubicBezTo>
                  <a:cubicBezTo>
                    <a:pt x="259916" y="54944"/>
                    <a:pt x="260551" y="47324"/>
                    <a:pt x="260551" y="40339"/>
                  </a:cubicBezTo>
                  <a:close/>
                  <a:moveTo>
                    <a:pt x="202131" y="24464"/>
                  </a:moveTo>
                  <a:cubicBezTo>
                    <a:pt x="202131" y="16844"/>
                    <a:pt x="197686" y="14304"/>
                    <a:pt x="191971" y="14939"/>
                  </a:cubicBezTo>
                  <a:cubicBezTo>
                    <a:pt x="188796" y="14939"/>
                    <a:pt x="185621" y="15574"/>
                    <a:pt x="183081" y="15574"/>
                  </a:cubicBezTo>
                  <a:lnTo>
                    <a:pt x="183081" y="37164"/>
                  </a:lnTo>
                  <a:cubicBezTo>
                    <a:pt x="185621" y="36529"/>
                    <a:pt x="188796" y="36529"/>
                    <a:pt x="191971" y="35894"/>
                  </a:cubicBezTo>
                  <a:cubicBezTo>
                    <a:pt x="197686" y="35894"/>
                    <a:pt x="202131" y="32084"/>
                    <a:pt x="202131" y="24464"/>
                  </a:cubicBezTo>
                  <a:close/>
                  <a:moveTo>
                    <a:pt x="144981" y="87329"/>
                  </a:moveTo>
                  <a:lnTo>
                    <a:pt x="144981" y="56214"/>
                  </a:lnTo>
                  <a:cubicBezTo>
                    <a:pt x="144981" y="51134"/>
                    <a:pt x="144981" y="39704"/>
                    <a:pt x="144981" y="36529"/>
                  </a:cubicBezTo>
                  <a:cubicBezTo>
                    <a:pt x="143711" y="39704"/>
                    <a:pt x="140536" y="51769"/>
                    <a:pt x="138631" y="57484"/>
                  </a:cubicBezTo>
                  <a:cubicBezTo>
                    <a:pt x="136726" y="63199"/>
                    <a:pt x="134821" y="68279"/>
                    <a:pt x="133551" y="73994"/>
                  </a:cubicBezTo>
                  <a:lnTo>
                    <a:pt x="128471" y="91139"/>
                  </a:lnTo>
                  <a:lnTo>
                    <a:pt x="123391" y="75899"/>
                  </a:lnTo>
                  <a:cubicBezTo>
                    <a:pt x="121486" y="70819"/>
                    <a:pt x="120216" y="65104"/>
                    <a:pt x="118311" y="60659"/>
                  </a:cubicBezTo>
                  <a:cubicBezTo>
                    <a:pt x="116406" y="55579"/>
                    <a:pt x="113231" y="44784"/>
                    <a:pt x="111961" y="41609"/>
                  </a:cubicBezTo>
                  <a:cubicBezTo>
                    <a:pt x="111961" y="44784"/>
                    <a:pt x="111961" y="56214"/>
                    <a:pt x="111961" y="60659"/>
                  </a:cubicBezTo>
                  <a:lnTo>
                    <a:pt x="111961" y="91774"/>
                  </a:lnTo>
                  <a:cubicBezTo>
                    <a:pt x="108786" y="92409"/>
                    <a:pt x="104976" y="93044"/>
                    <a:pt x="101801" y="93679"/>
                  </a:cubicBezTo>
                  <a:lnTo>
                    <a:pt x="101801" y="16209"/>
                  </a:lnTo>
                  <a:cubicBezTo>
                    <a:pt x="105611" y="15574"/>
                    <a:pt x="109421" y="14939"/>
                    <a:pt x="113231" y="13669"/>
                  </a:cubicBezTo>
                  <a:lnTo>
                    <a:pt x="118311" y="28909"/>
                  </a:lnTo>
                  <a:cubicBezTo>
                    <a:pt x="120216" y="33989"/>
                    <a:pt x="121486" y="39069"/>
                    <a:pt x="123391" y="44149"/>
                  </a:cubicBezTo>
                  <a:cubicBezTo>
                    <a:pt x="124661" y="48594"/>
                    <a:pt x="127836" y="58119"/>
                    <a:pt x="127836" y="60659"/>
                  </a:cubicBezTo>
                  <a:cubicBezTo>
                    <a:pt x="129106" y="57484"/>
                    <a:pt x="131646" y="47324"/>
                    <a:pt x="132916" y="42244"/>
                  </a:cubicBezTo>
                  <a:cubicBezTo>
                    <a:pt x="134186" y="36529"/>
                    <a:pt x="136091" y="30814"/>
                    <a:pt x="137996" y="25099"/>
                  </a:cubicBezTo>
                  <a:cubicBezTo>
                    <a:pt x="139901" y="19384"/>
                    <a:pt x="141171" y="14304"/>
                    <a:pt x="143076" y="8589"/>
                  </a:cubicBezTo>
                  <a:cubicBezTo>
                    <a:pt x="146886" y="7954"/>
                    <a:pt x="150696" y="7319"/>
                    <a:pt x="154506" y="7319"/>
                  </a:cubicBezTo>
                  <a:lnTo>
                    <a:pt x="154506" y="86059"/>
                  </a:lnTo>
                  <a:cubicBezTo>
                    <a:pt x="151966" y="86694"/>
                    <a:pt x="148791" y="87329"/>
                    <a:pt x="144981" y="87329"/>
                  </a:cubicBezTo>
                  <a:close/>
                  <a:moveTo>
                    <a:pt x="73226" y="69549"/>
                  </a:moveTo>
                  <a:cubicBezTo>
                    <a:pt x="71956" y="65739"/>
                    <a:pt x="71321" y="61294"/>
                    <a:pt x="70051" y="57484"/>
                  </a:cubicBezTo>
                  <a:cubicBezTo>
                    <a:pt x="68781" y="52404"/>
                    <a:pt x="67511" y="44149"/>
                    <a:pt x="66876" y="40974"/>
                  </a:cubicBezTo>
                  <a:cubicBezTo>
                    <a:pt x="66241" y="44149"/>
                    <a:pt x="64336" y="53674"/>
                    <a:pt x="63701" y="58754"/>
                  </a:cubicBezTo>
                  <a:cubicBezTo>
                    <a:pt x="62431" y="63199"/>
                    <a:pt x="61796" y="67644"/>
                    <a:pt x="61161" y="72724"/>
                  </a:cubicBezTo>
                  <a:cubicBezTo>
                    <a:pt x="64971" y="71454"/>
                    <a:pt x="68781" y="70819"/>
                    <a:pt x="73226" y="69549"/>
                  </a:cubicBezTo>
                  <a:lnTo>
                    <a:pt x="73226" y="69549"/>
                  </a:lnTo>
                  <a:close/>
                  <a:moveTo>
                    <a:pt x="92276" y="96854"/>
                  </a:moveTo>
                  <a:cubicBezTo>
                    <a:pt x="87831" y="97489"/>
                    <a:pt x="84021" y="98759"/>
                    <a:pt x="80211" y="99394"/>
                  </a:cubicBezTo>
                  <a:cubicBezTo>
                    <a:pt x="79576" y="96219"/>
                    <a:pt x="78941" y="92409"/>
                    <a:pt x="77671" y="89234"/>
                  </a:cubicBezTo>
                  <a:lnTo>
                    <a:pt x="75131" y="79709"/>
                  </a:lnTo>
                  <a:cubicBezTo>
                    <a:pt x="69416" y="80979"/>
                    <a:pt x="63701" y="82249"/>
                    <a:pt x="57986" y="84154"/>
                  </a:cubicBezTo>
                  <a:cubicBezTo>
                    <a:pt x="56716" y="87964"/>
                    <a:pt x="56081" y="91774"/>
                    <a:pt x="55446" y="94949"/>
                  </a:cubicBezTo>
                  <a:cubicBezTo>
                    <a:pt x="54811" y="98759"/>
                    <a:pt x="54176" y="102569"/>
                    <a:pt x="53541" y="105744"/>
                  </a:cubicBezTo>
                  <a:cubicBezTo>
                    <a:pt x="49731" y="107014"/>
                    <a:pt x="45921" y="108284"/>
                    <a:pt x="41476" y="108919"/>
                  </a:cubicBezTo>
                  <a:cubicBezTo>
                    <a:pt x="44651" y="94949"/>
                    <a:pt x="47826" y="80979"/>
                    <a:pt x="51001" y="67009"/>
                  </a:cubicBezTo>
                  <a:cubicBezTo>
                    <a:pt x="54176" y="53039"/>
                    <a:pt x="57351" y="39069"/>
                    <a:pt x="60526" y="25734"/>
                  </a:cubicBezTo>
                  <a:cubicBezTo>
                    <a:pt x="64336" y="24464"/>
                    <a:pt x="68146" y="23829"/>
                    <a:pt x="71956" y="23194"/>
                  </a:cubicBezTo>
                  <a:cubicBezTo>
                    <a:pt x="75131" y="35259"/>
                    <a:pt x="78306" y="47324"/>
                    <a:pt x="81481" y="60024"/>
                  </a:cubicBezTo>
                  <a:cubicBezTo>
                    <a:pt x="85291" y="72089"/>
                    <a:pt x="88466" y="84154"/>
                    <a:pt x="92276" y="96854"/>
                  </a:cubicBezTo>
                  <a:lnTo>
                    <a:pt x="92276" y="96854"/>
                  </a:lnTo>
                  <a:close/>
                  <a:moveTo>
                    <a:pt x="-434" y="124159"/>
                  </a:moveTo>
                  <a:lnTo>
                    <a:pt x="-434" y="45419"/>
                  </a:lnTo>
                  <a:cubicBezTo>
                    <a:pt x="3376" y="44149"/>
                    <a:pt x="6551" y="42879"/>
                    <a:pt x="10361" y="41609"/>
                  </a:cubicBezTo>
                  <a:lnTo>
                    <a:pt x="10361" y="109554"/>
                  </a:lnTo>
                  <a:cubicBezTo>
                    <a:pt x="18616" y="106379"/>
                    <a:pt x="26871" y="103204"/>
                    <a:pt x="35761" y="100664"/>
                  </a:cubicBezTo>
                  <a:lnTo>
                    <a:pt x="35761" y="111459"/>
                  </a:lnTo>
                  <a:cubicBezTo>
                    <a:pt x="23696" y="115269"/>
                    <a:pt x="11631" y="119714"/>
                    <a:pt x="-434" y="124159"/>
                  </a:cubicBezTo>
                  <a:lnTo>
                    <a:pt x="-434" y="124159"/>
                  </a:lnTo>
                  <a:close/>
                </a:path>
              </a:pathLst>
            </a:custGeom>
            <a:solidFill>
              <a:srgbClr val="002733"/>
            </a:solidFill>
            <a:ln w="6350" cap="flat">
              <a:noFill/>
              <a:prstDash val="solid"/>
              <a:miter/>
            </a:ln>
          </p:spPr>
          <p:txBody>
            <a:bodyPr rtlCol="0" anchor="ctr"/>
            <a:lstStyle/>
            <a:p>
              <a:endParaRPr lang="en-GB"/>
            </a:p>
          </p:txBody>
        </p:sp>
      </p:grpSp>
      <p:grpSp>
        <p:nvGrpSpPr>
          <p:cNvPr id="312" name="Graphic 79">
            <a:extLst>
              <a:ext uri="{FF2B5EF4-FFF2-40B4-BE49-F238E27FC236}">
                <a16:creationId xmlns:a16="http://schemas.microsoft.com/office/drawing/2014/main" id="{DFA3E237-7BF4-3656-633D-2DE38FC126D5}"/>
              </a:ext>
            </a:extLst>
          </p:cNvPr>
          <p:cNvGrpSpPr/>
          <p:nvPr/>
        </p:nvGrpSpPr>
        <p:grpSpPr>
          <a:xfrm>
            <a:off x="8789035" y="4514214"/>
            <a:ext cx="964564" cy="204471"/>
            <a:chOff x="8789035" y="4514214"/>
            <a:chExt cx="964564" cy="204471"/>
          </a:xfrm>
          <a:solidFill>
            <a:srgbClr val="002733"/>
          </a:solidFill>
        </p:grpSpPr>
        <p:sp>
          <p:nvSpPr>
            <p:cNvPr id="313" name="Freeform 312">
              <a:extLst>
                <a:ext uri="{FF2B5EF4-FFF2-40B4-BE49-F238E27FC236}">
                  <a16:creationId xmlns:a16="http://schemas.microsoft.com/office/drawing/2014/main" id="{5B080F4C-D7B4-8A45-B12E-09738D450016}"/>
                </a:ext>
              </a:extLst>
            </p:cNvPr>
            <p:cNvSpPr/>
            <p:nvPr/>
          </p:nvSpPr>
          <p:spPr>
            <a:xfrm>
              <a:off x="9436100" y="4516755"/>
              <a:ext cx="33021" cy="199389"/>
            </a:xfrm>
            <a:custGeom>
              <a:avLst/>
              <a:gdLst>
                <a:gd name="connsiteX0" fmla="*/ 29951 w 33021"/>
                <a:gd name="connsiteY0" fmla="*/ -1566 h 199389"/>
                <a:gd name="connsiteX1" fmla="*/ 29951 w 33021"/>
                <a:gd name="connsiteY1" fmla="*/ -1566 h 199389"/>
                <a:gd name="connsiteX2" fmla="*/ -3070 w 33021"/>
                <a:gd name="connsiteY2" fmla="*/ -1566 h 199389"/>
                <a:gd name="connsiteX3" fmla="*/ -3070 w 33021"/>
                <a:gd name="connsiteY3" fmla="*/ 197823 h 199389"/>
                <a:gd name="connsiteX4" fmla="*/ 29951 w 33021"/>
                <a:gd name="connsiteY4" fmla="*/ 197823 h 199389"/>
                <a:gd name="connsiteX5" fmla="*/ 29951 w 33021"/>
                <a:gd name="connsiteY5" fmla="*/ -1566 h 19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21" h="199389">
                  <a:moveTo>
                    <a:pt x="29951" y="-1566"/>
                  </a:moveTo>
                  <a:lnTo>
                    <a:pt x="29951" y="-1566"/>
                  </a:lnTo>
                  <a:lnTo>
                    <a:pt x="-3070" y="-1566"/>
                  </a:lnTo>
                  <a:lnTo>
                    <a:pt x="-3070" y="197823"/>
                  </a:lnTo>
                  <a:lnTo>
                    <a:pt x="29951" y="197823"/>
                  </a:lnTo>
                  <a:lnTo>
                    <a:pt x="29951" y="-1566"/>
                  </a:lnTo>
                  <a:close/>
                </a:path>
              </a:pathLst>
            </a:custGeom>
            <a:solidFill>
              <a:srgbClr val="002733"/>
            </a:solidFill>
            <a:ln w="6350" cap="flat">
              <a:noFill/>
              <a:prstDash val="solid"/>
              <a:miter/>
            </a:ln>
          </p:spPr>
          <p:txBody>
            <a:bodyPr rtlCol="0" anchor="ctr"/>
            <a:lstStyle/>
            <a:p>
              <a:endParaRPr lang="en-GB"/>
            </a:p>
          </p:txBody>
        </p:sp>
        <p:sp>
          <p:nvSpPr>
            <p:cNvPr id="314" name="Freeform 313">
              <a:extLst>
                <a:ext uri="{FF2B5EF4-FFF2-40B4-BE49-F238E27FC236}">
                  <a16:creationId xmlns:a16="http://schemas.microsoft.com/office/drawing/2014/main" id="{20B952E4-6587-7A99-0315-2461D387B501}"/>
                </a:ext>
              </a:extLst>
            </p:cNvPr>
            <p:cNvSpPr/>
            <p:nvPr/>
          </p:nvSpPr>
          <p:spPr>
            <a:xfrm>
              <a:off x="9123046" y="4514214"/>
              <a:ext cx="204468" cy="204471"/>
            </a:xfrm>
            <a:custGeom>
              <a:avLst/>
              <a:gdLst>
                <a:gd name="connsiteX0" fmla="*/ 99163 w 204468"/>
                <a:gd name="connsiteY0" fmla="*/ 202905 h 204471"/>
                <a:gd name="connsiteX1" fmla="*/ 99163 w 204468"/>
                <a:gd name="connsiteY1" fmla="*/ 202905 h 204471"/>
                <a:gd name="connsiteX2" fmla="*/ 201398 w 204468"/>
                <a:gd name="connsiteY2" fmla="*/ 100670 h 204471"/>
                <a:gd name="connsiteX3" fmla="*/ 99163 w 204468"/>
                <a:gd name="connsiteY3" fmla="*/ -1566 h 204471"/>
                <a:gd name="connsiteX4" fmla="*/ -3070 w 204468"/>
                <a:gd name="connsiteY4" fmla="*/ 100670 h 204471"/>
                <a:gd name="connsiteX5" fmla="*/ 99163 w 204468"/>
                <a:gd name="connsiteY5" fmla="*/ 202905 h 204471"/>
                <a:gd name="connsiteX6" fmla="*/ 99163 w 204468"/>
                <a:gd name="connsiteY6" fmla="*/ 28280 h 204471"/>
                <a:gd name="connsiteX7" fmla="*/ 99163 w 204468"/>
                <a:gd name="connsiteY7" fmla="*/ 28280 h 204471"/>
                <a:gd name="connsiteX8" fmla="*/ 169648 w 204468"/>
                <a:gd name="connsiteY8" fmla="*/ 100670 h 204471"/>
                <a:gd name="connsiteX9" fmla="*/ 99163 w 204468"/>
                <a:gd name="connsiteY9" fmla="*/ 173059 h 204471"/>
                <a:gd name="connsiteX10" fmla="*/ 28680 w 204468"/>
                <a:gd name="connsiteY10" fmla="*/ 100670 h 204471"/>
                <a:gd name="connsiteX11" fmla="*/ 99163 w 204468"/>
                <a:gd name="connsiteY11" fmla="*/ 28280 h 204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68" h="204471">
                  <a:moveTo>
                    <a:pt x="99163" y="202905"/>
                  </a:moveTo>
                  <a:lnTo>
                    <a:pt x="99163" y="202905"/>
                  </a:lnTo>
                  <a:cubicBezTo>
                    <a:pt x="155680" y="202905"/>
                    <a:pt x="201398" y="157184"/>
                    <a:pt x="201398" y="100670"/>
                  </a:cubicBezTo>
                  <a:cubicBezTo>
                    <a:pt x="201398" y="44155"/>
                    <a:pt x="155680" y="-1566"/>
                    <a:pt x="99163" y="-1566"/>
                  </a:cubicBezTo>
                  <a:cubicBezTo>
                    <a:pt x="42648" y="-1566"/>
                    <a:pt x="-3070" y="44155"/>
                    <a:pt x="-3070" y="100670"/>
                  </a:cubicBezTo>
                  <a:cubicBezTo>
                    <a:pt x="-2437" y="157184"/>
                    <a:pt x="43284" y="202905"/>
                    <a:pt x="99163" y="202905"/>
                  </a:cubicBezTo>
                  <a:close/>
                  <a:moveTo>
                    <a:pt x="99163" y="28280"/>
                  </a:moveTo>
                  <a:lnTo>
                    <a:pt x="99163" y="28280"/>
                  </a:lnTo>
                  <a:cubicBezTo>
                    <a:pt x="138534" y="28280"/>
                    <a:pt x="169648" y="60030"/>
                    <a:pt x="169648" y="100670"/>
                  </a:cubicBezTo>
                  <a:cubicBezTo>
                    <a:pt x="169648" y="141309"/>
                    <a:pt x="138534" y="173059"/>
                    <a:pt x="99163" y="173059"/>
                  </a:cubicBezTo>
                  <a:cubicBezTo>
                    <a:pt x="59794" y="173059"/>
                    <a:pt x="28680" y="141309"/>
                    <a:pt x="28680" y="100670"/>
                  </a:cubicBezTo>
                  <a:cubicBezTo>
                    <a:pt x="29313" y="60030"/>
                    <a:pt x="59794" y="28280"/>
                    <a:pt x="99163" y="28280"/>
                  </a:cubicBezTo>
                  <a:close/>
                </a:path>
              </a:pathLst>
            </a:custGeom>
            <a:solidFill>
              <a:srgbClr val="002733"/>
            </a:solidFill>
            <a:ln w="6350" cap="flat">
              <a:noFill/>
              <a:prstDash val="solid"/>
              <a:miter/>
            </a:ln>
          </p:spPr>
          <p:txBody>
            <a:bodyPr rtlCol="0" anchor="ctr"/>
            <a:lstStyle/>
            <a:p>
              <a:endParaRPr lang="en-GB"/>
            </a:p>
          </p:txBody>
        </p:sp>
        <p:sp>
          <p:nvSpPr>
            <p:cNvPr id="315" name="Freeform 314">
              <a:extLst>
                <a:ext uri="{FF2B5EF4-FFF2-40B4-BE49-F238E27FC236}">
                  <a16:creationId xmlns:a16="http://schemas.microsoft.com/office/drawing/2014/main" id="{67C04D71-4357-351A-A636-8893FAC94E78}"/>
                </a:ext>
              </a:extLst>
            </p:cNvPr>
            <p:cNvSpPr/>
            <p:nvPr/>
          </p:nvSpPr>
          <p:spPr>
            <a:xfrm>
              <a:off x="9577703" y="4514214"/>
              <a:ext cx="175896" cy="201930"/>
            </a:xfrm>
            <a:custGeom>
              <a:avLst/>
              <a:gdLst>
                <a:gd name="connsiteX0" fmla="*/ 86466 w 175896"/>
                <a:gd name="connsiteY0" fmla="*/ -295 h 201930"/>
                <a:gd name="connsiteX1" fmla="*/ 86466 w 175896"/>
                <a:gd name="connsiteY1" fmla="*/ -295 h 201930"/>
                <a:gd name="connsiteX2" fmla="*/ 86466 w 175896"/>
                <a:gd name="connsiteY2" fmla="*/ -295 h 201930"/>
                <a:gd name="connsiteX3" fmla="*/ 85197 w 175896"/>
                <a:gd name="connsiteY3" fmla="*/ -1566 h 201930"/>
                <a:gd name="connsiteX4" fmla="*/ 83926 w 175896"/>
                <a:gd name="connsiteY4" fmla="*/ -295 h 201930"/>
                <a:gd name="connsiteX5" fmla="*/ 83926 w 175896"/>
                <a:gd name="connsiteY5" fmla="*/ -295 h 201930"/>
                <a:gd name="connsiteX6" fmla="*/ -3070 w 175896"/>
                <a:gd name="connsiteY6" fmla="*/ 200364 h 201930"/>
                <a:gd name="connsiteX7" fmla="*/ 27412 w 175896"/>
                <a:gd name="connsiteY7" fmla="*/ 200364 h 201930"/>
                <a:gd name="connsiteX8" fmla="*/ 84562 w 175896"/>
                <a:gd name="connsiteY8" fmla="*/ 67014 h 201930"/>
                <a:gd name="connsiteX9" fmla="*/ 142347 w 175896"/>
                <a:gd name="connsiteY9" fmla="*/ 200364 h 201930"/>
                <a:gd name="connsiteX10" fmla="*/ 172826 w 175896"/>
                <a:gd name="connsiteY10" fmla="*/ 200364 h 201930"/>
                <a:gd name="connsiteX11" fmla="*/ 86466 w 175896"/>
                <a:gd name="connsiteY11" fmla="*/ -295 h 20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896" h="201930">
                  <a:moveTo>
                    <a:pt x="86466" y="-295"/>
                  </a:moveTo>
                  <a:lnTo>
                    <a:pt x="86466" y="-295"/>
                  </a:lnTo>
                  <a:lnTo>
                    <a:pt x="86466" y="-295"/>
                  </a:lnTo>
                  <a:cubicBezTo>
                    <a:pt x="86466" y="-930"/>
                    <a:pt x="85830" y="-1566"/>
                    <a:pt x="85197" y="-1566"/>
                  </a:cubicBezTo>
                  <a:cubicBezTo>
                    <a:pt x="84562" y="-1566"/>
                    <a:pt x="83926" y="-930"/>
                    <a:pt x="83926" y="-295"/>
                  </a:cubicBezTo>
                  <a:lnTo>
                    <a:pt x="83926" y="-295"/>
                  </a:lnTo>
                  <a:lnTo>
                    <a:pt x="-3070" y="200364"/>
                  </a:lnTo>
                  <a:lnTo>
                    <a:pt x="27412" y="200364"/>
                  </a:lnTo>
                  <a:lnTo>
                    <a:pt x="84562" y="67014"/>
                  </a:lnTo>
                  <a:lnTo>
                    <a:pt x="142347" y="200364"/>
                  </a:lnTo>
                  <a:lnTo>
                    <a:pt x="172826" y="200364"/>
                  </a:lnTo>
                  <a:lnTo>
                    <a:pt x="86466" y="-295"/>
                  </a:lnTo>
                  <a:close/>
                </a:path>
              </a:pathLst>
            </a:custGeom>
            <a:solidFill>
              <a:srgbClr val="002733"/>
            </a:solidFill>
            <a:ln w="6350" cap="flat">
              <a:noFill/>
              <a:prstDash val="solid"/>
              <a:miter/>
            </a:ln>
          </p:spPr>
          <p:txBody>
            <a:bodyPr rtlCol="0" anchor="ctr"/>
            <a:lstStyle/>
            <a:p>
              <a:endParaRPr lang="en-GB"/>
            </a:p>
          </p:txBody>
        </p:sp>
        <p:sp>
          <p:nvSpPr>
            <p:cNvPr id="316" name="Freeform 315">
              <a:extLst>
                <a:ext uri="{FF2B5EF4-FFF2-40B4-BE49-F238E27FC236}">
                  <a16:creationId xmlns:a16="http://schemas.microsoft.com/office/drawing/2014/main" id="{44A66019-B3B9-A34E-70EE-E629AF894F85}"/>
                </a:ext>
              </a:extLst>
            </p:cNvPr>
            <p:cNvSpPr/>
            <p:nvPr/>
          </p:nvSpPr>
          <p:spPr>
            <a:xfrm>
              <a:off x="8789035" y="4514850"/>
              <a:ext cx="267335" cy="201294"/>
            </a:xfrm>
            <a:custGeom>
              <a:avLst/>
              <a:gdLst>
                <a:gd name="connsiteX0" fmla="*/ 181716 w 267335"/>
                <a:gd name="connsiteY0" fmla="*/ -296 h 201294"/>
                <a:gd name="connsiteX1" fmla="*/ 181716 w 267335"/>
                <a:gd name="connsiteY1" fmla="*/ -296 h 201294"/>
                <a:gd name="connsiteX2" fmla="*/ 181716 w 267335"/>
                <a:gd name="connsiteY2" fmla="*/ -296 h 201294"/>
                <a:gd name="connsiteX3" fmla="*/ 179809 w 267335"/>
                <a:gd name="connsiteY3" fmla="*/ -1566 h 201294"/>
                <a:gd name="connsiteX4" fmla="*/ 177905 w 267335"/>
                <a:gd name="connsiteY4" fmla="*/ -296 h 201294"/>
                <a:gd name="connsiteX5" fmla="*/ 177905 w 267335"/>
                <a:gd name="connsiteY5" fmla="*/ -296 h 201294"/>
                <a:gd name="connsiteX6" fmla="*/ 139169 w 267335"/>
                <a:gd name="connsiteY6" fmla="*/ 102573 h 201294"/>
                <a:gd name="connsiteX7" fmla="*/ 130280 w 267335"/>
                <a:gd name="connsiteY7" fmla="*/ 126704 h 201294"/>
                <a:gd name="connsiteX8" fmla="*/ 82655 w 267335"/>
                <a:gd name="connsiteY8" fmla="*/ -296 h 201294"/>
                <a:gd name="connsiteX9" fmla="*/ 80748 w 267335"/>
                <a:gd name="connsiteY9" fmla="*/ -1566 h 201294"/>
                <a:gd name="connsiteX10" fmla="*/ 78844 w 267335"/>
                <a:gd name="connsiteY10" fmla="*/ -296 h 201294"/>
                <a:gd name="connsiteX11" fmla="*/ -3070 w 267335"/>
                <a:gd name="connsiteY11" fmla="*/ 199095 h 201294"/>
                <a:gd name="connsiteX12" fmla="*/ 29948 w 267335"/>
                <a:gd name="connsiteY12" fmla="*/ 199095 h 201294"/>
                <a:gd name="connsiteX13" fmla="*/ 55348 w 267335"/>
                <a:gd name="connsiteY13" fmla="*/ 138134 h 201294"/>
                <a:gd name="connsiteX14" fmla="*/ 80116 w 267335"/>
                <a:gd name="connsiteY14" fmla="*/ 73364 h 201294"/>
                <a:gd name="connsiteX15" fmla="*/ 128373 w 267335"/>
                <a:gd name="connsiteY15" fmla="*/ 198459 h 201294"/>
                <a:gd name="connsiteX16" fmla="*/ 130280 w 267335"/>
                <a:gd name="connsiteY16" fmla="*/ 199729 h 201294"/>
                <a:gd name="connsiteX17" fmla="*/ 132184 w 267335"/>
                <a:gd name="connsiteY17" fmla="*/ 198459 h 201294"/>
                <a:gd name="connsiteX18" fmla="*/ 181080 w 267335"/>
                <a:gd name="connsiteY18" fmla="*/ 73364 h 201294"/>
                <a:gd name="connsiteX19" fmla="*/ 231244 w 267335"/>
                <a:gd name="connsiteY19" fmla="*/ 198459 h 201294"/>
                <a:gd name="connsiteX20" fmla="*/ 264266 w 267335"/>
                <a:gd name="connsiteY20" fmla="*/ 198459 h 201294"/>
                <a:gd name="connsiteX21" fmla="*/ 181716 w 267335"/>
                <a:gd name="connsiteY21" fmla="*/ -296 h 20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7335" h="201294">
                  <a:moveTo>
                    <a:pt x="181716" y="-296"/>
                  </a:moveTo>
                  <a:lnTo>
                    <a:pt x="181716" y="-296"/>
                  </a:lnTo>
                  <a:lnTo>
                    <a:pt x="181716" y="-296"/>
                  </a:lnTo>
                  <a:cubicBezTo>
                    <a:pt x="181080" y="-930"/>
                    <a:pt x="180444" y="-1566"/>
                    <a:pt x="179809" y="-1566"/>
                  </a:cubicBezTo>
                  <a:cubicBezTo>
                    <a:pt x="178541" y="-1566"/>
                    <a:pt x="177905" y="-930"/>
                    <a:pt x="177905" y="-296"/>
                  </a:cubicBezTo>
                  <a:lnTo>
                    <a:pt x="177905" y="-296"/>
                  </a:lnTo>
                  <a:lnTo>
                    <a:pt x="139169" y="102573"/>
                  </a:lnTo>
                  <a:lnTo>
                    <a:pt x="130280" y="126704"/>
                  </a:lnTo>
                  <a:lnTo>
                    <a:pt x="82655" y="-296"/>
                  </a:lnTo>
                  <a:cubicBezTo>
                    <a:pt x="82019" y="-930"/>
                    <a:pt x="81384" y="-1566"/>
                    <a:pt x="80748" y="-1566"/>
                  </a:cubicBezTo>
                  <a:cubicBezTo>
                    <a:pt x="79480" y="-1566"/>
                    <a:pt x="78844" y="-930"/>
                    <a:pt x="78844" y="-296"/>
                  </a:cubicBezTo>
                  <a:lnTo>
                    <a:pt x="-3070" y="199095"/>
                  </a:lnTo>
                  <a:lnTo>
                    <a:pt x="29948" y="199095"/>
                  </a:lnTo>
                  <a:lnTo>
                    <a:pt x="55348" y="138134"/>
                  </a:lnTo>
                  <a:lnTo>
                    <a:pt x="80116" y="73364"/>
                  </a:lnTo>
                  <a:lnTo>
                    <a:pt x="128373" y="198459"/>
                  </a:lnTo>
                  <a:cubicBezTo>
                    <a:pt x="128373" y="199095"/>
                    <a:pt x="129644" y="199729"/>
                    <a:pt x="130280" y="199729"/>
                  </a:cubicBezTo>
                  <a:cubicBezTo>
                    <a:pt x="130916" y="199729"/>
                    <a:pt x="131548" y="199095"/>
                    <a:pt x="132184" y="198459"/>
                  </a:cubicBezTo>
                  <a:lnTo>
                    <a:pt x="181080" y="73364"/>
                  </a:lnTo>
                  <a:lnTo>
                    <a:pt x="231244" y="198459"/>
                  </a:lnTo>
                  <a:lnTo>
                    <a:pt x="264266" y="198459"/>
                  </a:lnTo>
                  <a:lnTo>
                    <a:pt x="181716" y="-296"/>
                  </a:lnTo>
                  <a:close/>
                </a:path>
              </a:pathLst>
            </a:custGeom>
            <a:solidFill>
              <a:srgbClr val="002733"/>
            </a:solidFill>
            <a:ln w="6350" cap="flat">
              <a:noFill/>
              <a:prstDash val="solid"/>
              <a:miter/>
            </a:ln>
          </p:spPr>
          <p:txBody>
            <a:bodyPr rtlCol="0" anchor="ctr"/>
            <a:lstStyle/>
            <a:p>
              <a:endParaRPr lang="en-GB"/>
            </a:p>
          </p:txBody>
        </p:sp>
      </p:grpSp>
      <p:grpSp>
        <p:nvGrpSpPr>
          <p:cNvPr id="895" name="Graphic 79">
            <a:extLst>
              <a:ext uri="{FF2B5EF4-FFF2-40B4-BE49-F238E27FC236}">
                <a16:creationId xmlns:a16="http://schemas.microsoft.com/office/drawing/2014/main" id="{6AFC08CF-7668-C5E6-C983-198542115F7C}"/>
              </a:ext>
            </a:extLst>
          </p:cNvPr>
          <p:cNvGrpSpPr/>
          <p:nvPr/>
        </p:nvGrpSpPr>
        <p:grpSpPr>
          <a:xfrm>
            <a:off x="7343775" y="1985010"/>
            <a:ext cx="679450" cy="513079"/>
            <a:chOff x="7343775" y="1985010"/>
            <a:chExt cx="679450" cy="513079"/>
          </a:xfrm>
          <a:solidFill>
            <a:srgbClr val="002733"/>
          </a:solidFill>
        </p:grpSpPr>
        <p:sp>
          <p:nvSpPr>
            <p:cNvPr id="896" name="Freeform 895">
              <a:extLst>
                <a:ext uri="{FF2B5EF4-FFF2-40B4-BE49-F238E27FC236}">
                  <a16:creationId xmlns:a16="http://schemas.microsoft.com/office/drawing/2014/main" id="{5BB82543-22CC-1F14-B02B-0D843400F57F}"/>
                </a:ext>
              </a:extLst>
            </p:cNvPr>
            <p:cNvSpPr/>
            <p:nvPr/>
          </p:nvSpPr>
          <p:spPr>
            <a:xfrm>
              <a:off x="7486015" y="1985010"/>
              <a:ext cx="394334" cy="195579"/>
            </a:xfrm>
            <a:custGeom>
              <a:avLst/>
              <a:gdLst>
                <a:gd name="connsiteX0" fmla="*/ 125095 w 394334"/>
                <a:gd name="connsiteY0" fmla="*/ 90805 h 195579"/>
                <a:gd name="connsiteX1" fmla="*/ 168275 w 394334"/>
                <a:gd name="connsiteY1" fmla="*/ 89535 h 195579"/>
                <a:gd name="connsiteX2" fmla="*/ 313690 w 394334"/>
                <a:gd name="connsiteY2" fmla="*/ 91440 h 195579"/>
                <a:gd name="connsiteX3" fmla="*/ 381000 w 394334"/>
                <a:gd name="connsiteY3" fmla="*/ 94615 h 195579"/>
                <a:gd name="connsiteX4" fmla="*/ 394335 w 394334"/>
                <a:gd name="connsiteY4" fmla="*/ 94615 h 195579"/>
                <a:gd name="connsiteX5" fmla="*/ 393065 w 394334"/>
                <a:gd name="connsiteY5" fmla="*/ 76835 h 195579"/>
                <a:gd name="connsiteX6" fmla="*/ 390525 w 394334"/>
                <a:gd name="connsiteY6" fmla="*/ 26035 h 195579"/>
                <a:gd name="connsiteX7" fmla="*/ 370840 w 394334"/>
                <a:gd name="connsiteY7" fmla="*/ 6350 h 195579"/>
                <a:gd name="connsiteX8" fmla="*/ 331470 w 394334"/>
                <a:gd name="connsiteY8" fmla="*/ 4445 h 195579"/>
                <a:gd name="connsiteX9" fmla="*/ 234950 w 394334"/>
                <a:gd name="connsiteY9" fmla="*/ 635 h 195579"/>
                <a:gd name="connsiteX10" fmla="*/ 227965 w 394334"/>
                <a:gd name="connsiteY10" fmla="*/ 0 h 195579"/>
                <a:gd name="connsiteX11" fmla="*/ 153035 w 394334"/>
                <a:gd name="connsiteY11" fmla="*/ 0 h 195579"/>
                <a:gd name="connsiteX12" fmla="*/ 150495 w 394334"/>
                <a:gd name="connsiteY12" fmla="*/ 635 h 195579"/>
                <a:gd name="connsiteX13" fmla="*/ 85725 w 394334"/>
                <a:gd name="connsiteY13" fmla="*/ 2540 h 195579"/>
                <a:gd name="connsiteX14" fmla="*/ 40640 w 394334"/>
                <a:gd name="connsiteY14" fmla="*/ 6985 h 195579"/>
                <a:gd name="connsiteX15" fmla="*/ 5715 w 394334"/>
                <a:gd name="connsiteY15" fmla="*/ 36830 h 195579"/>
                <a:gd name="connsiteX16" fmla="*/ 1905 w 394334"/>
                <a:gd name="connsiteY16" fmla="*/ 56515 h 195579"/>
                <a:gd name="connsiteX17" fmla="*/ 0 w 394334"/>
                <a:gd name="connsiteY17" fmla="*/ 124460 h 195579"/>
                <a:gd name="connsiteX18" fmla="*/ 0 w 394334"/>
                <a:gd name="connsiteY18" fmla="*/ 127635 h 195579"/>
                <a:gd name="connsiteX19" fmla="*/ 394335 w 394334"/>
                <a:gd name="connsiteY19" fmla="*/ 195580 h 195579"/>
                <a:gd name="connsiteX20" fmla="*/ 394335 w 394334"/>
                <a:gd name="connsiteY20" fmla="*/ 153670 h 195579"/>
                <a:gd name="connsiteX21" fmla="*/ 104775 w 394334"/>
                <a:gd name="connsiteY21" fmla="*/ 99060 h 195579"/>
                <a:gd name="connsiteX22" fmla="*/ 125095 w 394334"/>
                <a:gd name="connsiteY22" fmla="*/ 90805 h 19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4334" h="195579">
                  <a:moveTo>
                    <a:pt x="125095" y="90805"/>
                  </a:moveTo>
                  <a:cubicBezTo>
                    <a:pt x="139065" y="90170"/>
                    <a:pt x="154305" y="89535"/>
                    <a:pt x="168275" y="89535"/>
                  </a:cubicBezTo>
                  <a:cubicBezTo>
                    <a:pt x="216535" y="90170"/>
                    <a:pt x="265430" y="90170"/>
                    <a:pt x="313690" y="91440"/>
                  </a:cubicBezTo>
                  <a:cubicBezTo>
                    <a:pt x="336550" y="92075"/>
                    <a:pt x="358140" y="93345"/>
                    <a:pt x="381000" y="94615"/>
                  </a:cubicBezTo>
                  <a:cubicBezTo>
                    <a:pt x="385445" y="94615"/>
                    <a:pt x="389890" y="94615"/>
                    <a:pt x="394335" y="94615"/>
                  </a:cubicBezTo>
                  <a:cubicBezTo>
                    <a:pt x="393700" y="88900"/>
                    <a:pt x="393700" y="83185"/>
                    <a:pt x="393065" y="76835"/>
                  </a:cubicBezTo>
                  <a:cubicBezTo>
                    <a:pt x="392430" y="59690"/>
                    <a:pt x="391795" y="43180"/>
                    <a:pt x="390525" y="26035"/>
                  </a:cubicBezTo>
                  <a:cubicBezTo>
                    <a:pt x="389255" y="12065"/>
                    <a:pt x="384810" y="7620"/>
                    <a:pt x="370840" y="6350"/>
                  </a:cubicBezTo>
                  <a:cubicBezTo>
                    <a:pt x="357505" y="5080"/>
                    <a:pt x="344170" y="5080"/>
                    <a:pt x="331470" y="4445"/>
                  </a:cubicBezTo>
                  <a:cubicBezTo>
                    <a:pt x="299085" y="2540"/>
                    <a:pt x="266700" y="1905"/>
                    <a:pt x="234950" y="635"/>
                  </a:cubicBezTo>
                  <a:cubicBezTo>
                    <a:pt x="232410" y="635"/>
                    <a:pt x="230505" y="0"/>
                    <a:pt x="227965" y="0"/>
                  </a:cubicBezTo>
                  <a:lnTo>
                    <a:pt x="153035" y="0"/>
                  </a:lnTo>
                  <a:cubicBezTo>
                    <a:pt x="152400" y="0"/>
                    <a:pt x="151130" y="635"/>
                    <a:pt x="150495" y="635"/>
                  </a:cubicBezTo>
                  <a:cubicBezTo>
                    <a:pt x="128905" y="1270"/>
                    <a:pt x="107315" y="1905"/>
                    <a:pt x="85725" y="2540"/>
                  </a:cubicBezTo>
                  <a:cubicBezTo>
                    <a:pt x="71120" y="3810"/>
                    <a:pt x="55245" y="3810"/>
                    <a:pt x="40640" y="6985"/>
                  </a:cubicBezTo>
                  <a:cubicBezTo>
                    <a:pt x="24765" y="10795"/>
                    <a:pt x="10795" y="19050"/>
                    <a:pt x="5715" y="36830"/>
                  </a:cubicBezTo>
                  <a:cubicBezTo>
                    <a:pt x="3810" y="43180"/>
                    <a:pt x="2540" y="49530"/>
                    <a:pt x="1905" y="56515"/>
                  </a:cubicBezTo>
                  <a:cubicBezTo>
                    <a:pt x="1270" y="79375"/>
                    <a:pt x="635" y="101600"/>
                    <a:pt x="0" y="124460"/>
                  </a:cubicBezTo>
                  <a:cubicBezTo>
                    <a:pt x="0" y="125730"/>
                    <a:pt x="0" y="126365"/>
                    <a:pt x="0" y="127635"/>
                  </a:cubicBezTo>
                  <a:cubicBezTo>
                    <a:pt x="132080" y="150495"/>
                    <a:pt x="262890" y="172720"/>
                    <a:pt x="394335" y="195580"/>
                  </a:cubicBezTo>
                  <a:lnTo>
                    <a:pt x="394335" y="153670"/>
                  </a:lnTo>
                  <a:cubicBezTo>
                    <a:pt x="297815" y="135255"/>
                    <a:pt x="201930" y="117475"/>
                    <a:pt x="104775" y="99060"/>
                  </a:cubicBezTo>
                  <a:cubicBezTo>
                    <a:pt x="110490" y="93345"/>
                    <a:pt x="117475" y="90805"/>
                    <a:pt x="125095" y="90805"/>
                  </a:cubicBezTo>
                  <a:close/>
                </a:path>
              </a:pathLst>
            </a:custGeom>
            <a:grpFill/>
            <a:ln w="6350" cap="flat">
              <a:noFill/>
              <a:prstDash val="solid"/>
              <a:miter/>
            </a:ln>
          </p:spPr>
          <p:txBody>
            <a:bodyPr rtlCol="0" anchor="ctr"/>
            <a:lstStyle/>
            <a:p>
              <a:endParaRPr lang="en-GB"/>
            </a:p>
          </p:txBody>
        </p:sp>
        <p:sp>
          <p:nvSpPr>
            <p:cNvPr id="897" name="Freeform 896">
              <a:extLst>
                <a:ext uri="{FF2B5EF4-FFF2-40B4-BE49-F238E27FC236}">
                  <a16:creationId xmlns:a16="http://schemas.microsoft.com/office/drawing/2014/main" id="{66CE1670-9442-C7B0-4087-274C5E1E6660}"/>
                </a:ext>
              </a:extLst>
            </p:cNvPr>
            <p:cNvSpPr/>
            <p:nvPr/>
          </p:nvSpPr>
          <p:spPr>
            <a:xfrm>
              <a:off x="7483475" y="2150745"/>
              <a:ext cx="396218" cy="207009"/>
            </a:xfrm>
            <a:custGeom>
              <a:avLst/>
              <a:gdLst>
                <a:gd name="connsiteX0" fmla="*/ 393065 w 396218"/>
                <a:gd name="connsiteY0" fmla="*/ 74295 h 207009"/>
                <a:gd name="connsiteX1" fmla="*/ 334010 w 396218"/>
                <a:gd name="connsiteY1" fmla="*/ 62865 h 207009"/>
                <a:gd name="connsiteX2" fmla="*/ 229870 w 396218"/>
                <a:gd name="connsiteY2" fmla="*/ 43180 h 207009"/>
                <a:gd name="connsiteX3" fmla="*/ 133985 w 396218"/>
                <a:gd name="connsiteY3" fmla="*/ 24765 h 207009"/>
                <a:gd name="connsiteX4" fmla="*/ 29210 w 396218"/>
                <a:gd name="connsiteY4" fmla="*/ 5080 h 207009"/>
                <a:gd name="connsiteX5" fmla="*/ 0 w 396218"/>
                <a:gd name="connsiteY5" fmla="*/ 0 h 207009"/>
                <a:gd name="connsiteX6" fmla="*/ 0 w 396218"/>
                <a:gd name="connsiteY6" fmla="*/ 48895 h 207009"/>
                <a:gd name="connsiteX7" fmla="*/ 289560 w 396218"/>
                <a:gd name="connsiteY7" fmla="*/ 99060 h 207009"/>
                <a:gd name="connsiteX8" fmla="*/ 283845 w 396218"/>
                <a:gd name="connsiteY8" fmla="*/ 104140 h 207009"/>
                <a:gd name="connsiteX9" fmla="*/ 262890 w 396218"/>
                <a:gd name="connsiteY9" fmla="*/ 109855 h 207009"/>
                <a:gd name="connsiteX10" fmla="*/ 13335 w 396218"/>
                <a:gd name="connsiteY10" fmla="*/ 104775 h 207009"/>
                <a:gd name="connsiteX11" fmla="*/ 635 w 396218"/>
                <a:gd name="connsiteY11" fmla="*/ 104140 h 207009"/>
                <a:gd name="connsiteX12" fmla="*/ 1270 w 396218"/>
                <a:gd name="connsiteY12" fmla="*/ 123190 h 207009"/>
                <a:gd name="connsiteX13" fmla="*/ 5080 w 396218"/>
                <a:gd name="connsiteY13" fmla="*/ 184150 h 207009"/>
                <a:gd name="connsiteX14" fmla="*/ 17780 w 396218"/>
                <a:gd name="connsiteY14" fmla="*/ 199390 h 207009"/>
                <a:gd name="connsiteX15" fmla="*/ 26035 w 396218"/>
                <a:gd name="connsiteY15" fmla="*/ 200660 h 207009"/>
                <a:gd name="connsiteX16" fmla="*/ 74930 w 396218"/>
                <a:gd name="connsiteY16" fmla="*/ 203200 h 207009"/>
                <a:gd name="connsiteX17" fmla="*/ 198120 w 396218"/>
                <a:gd name="connsiteY17" fmla="*/ 207010 h 207009"/>
                <a:gd name="connsiteX18" fmla="*/ 320675 w 396218"/>
                <a:gd name="connsiteY18" fmla="*/ 203835 h 207009"/>
                <a:gd name="connsiteX19" fmla="*/ 353695 w 396218"/>
                <a:gd name="connsiteY19" fmla="*/ 199390 h 207009"/>
                <a:gd name="connsiteX20" fmla="*/ 389255 w 396218"/>
                <a:gd name="connsiteY20" fmla="*/ 168910 h 207009"/>
                <a:gd name="connsiteX21" fmla="*/ 393700 w 396218"/>
                <a:gd name="connsiteY21" fmla="*/ 142875 h 207009"/>
                <a:gd name="connsiteX22" fmla="*/ 395605 w 396218"/>
                <a:gd name="connsiteY22" fmla="*/ 79375 h 207009"/>
                <a:gd name="connsiteX23" fmla="*/ 393065 w 396218"/>
                <a:gd name="connsiteY23" fmla="*/ 74295 h 207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6218" h="207009">
                  <a:moveTo>
                    <a:pt x="393065" y="74295"/>
                  </a:moveTo>
                  <a:cubicBezTo>
                    <a:pt x="373380" y="70485"/>
                    <a:pt x="354330" y="66675"/>
                    <a:pt x="334010" y="62865"/>
                  </a:cubicBezTo>
                  <a:cubicBezTo>
                    <a:pt x="299720" y="56515"/>
                    <a:pt x="264160" y="49530"/>
                    <a:pt x="229870" y="43180"/>
                  </a:cubicBezTo>
                  <a:cubicBezTo>
                    <a:pt x="198120" y="37465"/>
                    <a:pt x="165735" y="30480"/>
                    <a:pt x="133985" y="24765"/>
                  </a:cubicBezTo>
                  <a:cubicBezTo>
                    <a:pt x="99060" y="18415"/>
                    <a:pt x="64135" y="11430"/>
                    <a:pt x="29210" y="5080"/>
                  </a:cubicBezTo>
                  <a:cubicBezTo>
                    <a:pt x="19685" y="3810"/>
                    <a:pt x="10160" y="1905"/>
                    <a:pt x="0" y="0"/>
                  </a:cubicBezTo>
                  <a:lnTo>
                    <a:pt x="0" y="48895"/>
                  </a:lnTo>
                  <a:cubicBezTo>
                    <a:pt x="96520" y="65405"/>
                    <a:pt x="193040" y="81915"/>
                    <a:pt x="289560" y="99060"/>
                  </a:cubicBezTo>
                  <a:cubicBezTo>
                    <a:pt x="287020" y="100965"/>
                    <a:pt x="285750" y="102870"/>
                    <a:pt x="283845" y="104140"/>
                  </a:cubicBezTo>
                  <a:cubicBezTo>
                    <a:pt x="278130" y="108585"/>
                    <a:pt x="270510" y="109855"/>
                    <a:pt x="262890" y="109855"/>
                  </a:cubicBezTo>
                  <a:cubicBezTo>
                    <a:pt x="179705" y="109855"/>
                    <a:pt x="96520" y="109220"/>
                    <a:pt x="13335" y="104775"/>
                  </a:cubicBezTo>
                  <a:cubicBezTo>
                    <a:pt x="9525" y="104140"/>
                    <a:pt x="5080" y="104140"/>
                    <a:pt x="635" y="104140"/>
                  </a:cubicBezTo>
                  <a:cubicBezTo>
                    <a:pt x="635" y="110490"/>
                    <a:pt x="635" y="116840"/>
                    <a:pt x="1270" y="123190"/>
                  </a:cubicBezTo>
                  <a:cubicBezTo>
                    <a:pt x="2540" y="143510"/>
                    <a:pt x="3810" y="163830"/>
                    <a:pt x="5080" y="184150"/>
                  </a:cubicBezTo>
                  <a:cubicBezTo>
                    <a:pt x="5715" y="192405"/>
                    <a:pt x="8890" y="196850"/>
                    <a:pt x="17780" y="199390"/>
                  </a:cubicBezTo>
                  <a:cubicBezTo>
                    <a:pt x="20320" y="200025"/>
                    <a:pt x="23495" y="200025"/>
                    <a:pt x="26035" y="200660"/>
                  </a:cubicBezTo>
                  <a:cubicBezTo>
                    <a:pt x="42545" y="201295"/>
                    <a:pt x="58420" y="202565"/>
                    <a:pt x="74930" y="203200"/>
                  </a:cubicBezTo>
                  <a:cubicBezTo>
                    <a:pt x="115570" y="204470"/>
                    <a:pt x="157480" y="207010"/>
                    <a:pt x="198120" y="207010"/>
                  </a:cubicBezTo>
                  <a:cubicBezTo>
                    <a:pt x="238760" y="207010"/>
                    <a:pt x="280035" y="205105"/>
                    <a:pt x="320675" y="203835"/>
                  </a:cubicBezTo>
                  <a:cubicBezTo>
                    <a:pt x="331470" y="203200"/>
                    <a:pt x="343535" y="201930"/>
                    <a:pt x="353695" y="199390"/>
                  </a:cubicBezTo>
                  <a:cubicBezTo>
                    <a:pt x="371475" y="196215"/>
                    <a:pt x="384175" y="186690"/>
                    <a:pt x="389255" y="168910"/>
                  </a:cubicBezTo>
                  <a:cubicBezTo>
                    <a:pt x="391795" y="160655"/>
                    <a:pt x="393065" y="151765"/>
                    <a:pt x="393700" y="142875"/>
                  </a:cubicBezTo>
                  <a:cubicBezTo>
                    <a:pt x="394970" y="121920"/>
                    <a:pt x="394970" y="100330"/>
                    <a:pt x="395605" y="79375"/>
                  </a:cubicBezTo>
                  <a:cubicBezTo>
                    <a:pt x="396875" y="75565"/>
                    <a:pt x="396240" y="74295"/>
                    <a:pt x="393065" y="74295"/>
                  </a:cubicBezTo>
                  <a:close/>
                </a:path>
              </a:pathLst>
            </a:custGeom>
            <a:grpFill/>
            <a:ln w="6350" cap="flat">
              <a:noFill/>
              <a:prstDash val="solid"/>
              <a:miter/>
            </a:ln>
          </p:spPr>
          <p:txBody>
            <a:bodyPr rtlCol="0" anchor="ctr"/>
            <a:lstStyle/>
            <a:p>
              <a:endParaRPr lang="en-GB"/>
            </a:p>
          </p:txBody>
        </p:sp>
        <p:sp>
          <p:nvSpPr>
            <p:cNvPr id="898" name="Freeform 897">
              <a:extLst>
                <a:ext uri="{FF2B5EF4-FFF2-40B4-BE49-F238E27FC236}">
                  <a16:creationId xmlns:a16="http://schemas.microsoft.com/office/drawing/2014/main" id="{A2AFE147-6A57-3752-DB6C-7F84F2495366}"/>
                </a:ext>
              </a:extLst>
            </p:cNvPr>
            <p:cNvSpPr/>
            <p:nvPr/>
          </p:nvSpPr>
          <p:spPr>
            <a:xfrm>
              <a:off x="7525384" y="2402204"/>
              <a:ext cx="146050" cy="94262"/>
            </a:xfrm>
            <a:custGeom>
              <a:avLst/>
              <a:gdLst>
                <a:gd name="connsiteX0" fmla="*/ 0 w 146050"/>
                <a:gd name="connsiteY0" fmla="*/ 3810 h 94262"/>
                <a:gd name="connsiteX1" fmla="*/ 0 w 146050"/>
                <a:gd name="connsiteY1" fmla="*/ 56515 h 94262"/>
                <a:gd name="connsiteX2" fmla="*/ 635 w 146050"/>
                <a:gd name="connsiteY2" fmla="*/ 67945 h 94262"/>
                <a:gd name="connsiteX3" fmla="*/ 19685 w 146050"/>
                <a:gd name="connsiteY3" fmla="*/ 92075 h 94262"/>
                <a:gd name="connsiteX4" fmla="*/ 34925 w 146050"/>
                <a:gd name="connsiteY4" fmla="*/ 93980 h 94262"/>
                <a:gd name="connsiteX5" fmla="*/ 142240 w 146050"/>
                <a:gd name="connsiteY5" fmla="*/ 93980 h 94262"/>
                <a:gd name="connsiteX6" fmla="*/ 145415 w 146050"/>
                <a:gd name="connsiteY6" fmla="*/ 93980 h 94262"/>
                <a:gd name="connsiteX7" fmla="*/ 145415 w 146050"/>
                <a:gd name="connsiteY7" fmla="*/ 75565 h 94262"/>
                <a:gd name="connsiteX8" fmla="*/ 140970 w 146050"/>
                <a:gd name="connsiteY8" fmla="*/ 75565 h 94262"/>
                <a:gd name="connsiteX9" fmla="*/ 43815 w 146050"/>
                <a:gd name="connsiteY9" fmla="*/ 75565 h 94262"/>
                <a:gd name="connsiteX10" fmla="*/ 34925 w 146050"/>
                <a:gd name="connsiteY10" fmla="*/ 74930 h 94262"/>
                <a:gd name="connsiteX11" fmla="*/ 27305 w 146050"/>
                <a:gd name="connsiteY11" fmla="*/ 68580 h 94262"/>
                <a:gd name="connsiteX12" fmla="*/ 25400 w 146050"/>
                <a:gd name="connsiteY12" fmla="*/ 54610 h 94262"/>
                <a:gd name="connsiteX13" fmla="*/ 140970 w 146050"/>
                <a:gd name="connsiteY13" fmla="*/ 54610 h 94262"/>
                <a:gd name="connsiteX14" fmla="*/ 140970 w 146050"/>
                <a:gd name="connsiteY14" fmla="*/ 36830 h 94262"/>
                <a:gd name="connsiteX15" fmla="*/ 26035 w 146050"/>
                <a:gd name="connsiteY15" fmla="*/ 36830 h 94262"/>
                <a:gd name="connsiteX16" fmla="*/ 26035 w 146050"/>
                <a:gd name="connsiteY16" fmla="*/ 17780 h 94262"/>
                <a:gd name="connsiteX17" fmla="*/ 146050 w 146050"/>
                <a:gd name="connsiteY17" fmla="*/ 17780 h 94262"/>
                <a:gd name="connsiteX18" fmla="*/ 146050 w 146050"/>
                <a:gd name="connsiteY18" fmla="*/ 0 h 94262"/>
                <a:gd name="connsiteX19" fmla="*/ 635 w 146050"/>
                <a:gd name="connsiteY19" fmla="*/ 0 h 94262"/>
                <a:gd name="connsiteX20" fmla="*/ 635 w 146050"/>
                <a:gd name="connsiteY20" fmla="*/ 3810 h 9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6050" h="94262">
                  <a:moveTo>
                    <a:pt x="0" y="3810"/>
                  </a:moveTo>
                  <a:cubicBezTo>
                    <a:pt x="0" y="21590"/>
                    <a:pt x="0" y="39370"/>
                    <a:pt x="0" y="56515"/>
                  </a:cubicBezTo>
                  <a:cubicBezTo>
                    <a:pt x="0" y="60325"/>
                    <a:pt x="0" y="64135"/>
                    <a:pt x="635" y="67945"/>
                  </a:cubicBezTo>
                  <a:cubicBezTo>
                    <a:pt x="1905" y="80010"/>
                    <a:pt x="7620" y="88265"/>
                    <a:pt x="19685" y="92075"/>
                  </a:cubicBezTo>
                  <a:cubicBezTo>
                    <a:pt x="24130" y="93345"/>
                    <a:pt x="29210" y="93980"/>
                    <a:pt x="34925" y="93980"/>
                  </a:cubicBezTo>
                  <a:cubicBezTo>
                    <a:pt x="70485" y="94615"/>
                    <a:pt x="106680" y="93980"/>
                    <a:pt x="142240" y="93980"/>
                  </a:cubicBezTo>
                  <a:cubicBezTo>
                    <a:pt x="143510" y="93980"/>
                    <a:pt x="144145" y="93980"/>
                    <a:pt x="145415" y="93980"/>
                  </a:cubicBezTo>
                  <a:lnTo>
                    <a:pt x="145415" y="75565"/>
                  </a:lnTo>
                  <a:lnTo>
                    <a:pt x="140970" y="75565"/>
                  </a:lnTo>
                  <a:cubicBezTo>
                    <a:pt x="108585" y="75565"/>
                    <a:pt x="76200" y="75565"/>
                    <a:pt x="43815" y="75565"/>
                  </a:cubicBezTo>
                  <a:cubicBezTo>
                    <a:pt x="40640" y="75565"/>
                    <a:pt x="38100" y="75565"/>
                    <a:pt x="34925" y="74930"/>
                  </a:cubicBezTo>
                  <a:cubicBezTo>
                    <a:pt x="31115" y="74295"/>
                    <a:pt x="27940" y="72390"/>
                    <a:pt x="27305" y="68580"/>
                  </a:cubicBezTo>
                  <a:cubicBezTo>
                    <a:pt x="26035" y="64135"/>
                    <a:pt x="26035" y="59690"/>
                    <a:pt x="25400" y="54610"/>
                  </a:cubicBezTo>
                  <a:lnTo>
                    <a:pt x="140970" y="54610"/>
                  </a:lnTo>
                  <a:lnTo>
                    <a:pt x="140970" y="36830"/>
                  </a:lnTo>
                  <a:lnTo>
                    <a:pt x="26035" y="36830"/>
                  </a:lnTo>
                  <a:lnTo>
                    <a:pt x="26035" y="17780"/>
                  </a:lnTo>
                  <a:lnTo>
                    <a:pt x="146050" y="17780"/>
                  </a:lnTo>
                  <a:lnTo>
                    <a:pt x="146050" y="0"/>
                  </a:lnTo>
                  <a:lnTo>
                    <a:pt x="635" y="0"/>
                  </a:lnTo>
                  <a:lnTo>
                    <a:pt x="635" y="3810"/>
                  </a:lnTo>
                  <a:close/>
                </a:path>
              </a:pathLst>
            </a:custGeom>
            <a:grpFill/>
            <a:ln w="6350" cap="flat">
              <a:noFill/>
              <a:prstDash val="solid"/>
              <a:miter/>
            </a:ln>
          </p:spPr>
          <p:txBody>
            <a:bodyPr rtlCol="0" anchor="ctr"/>
            <a:lstStyle/>
            <a:p>
              <a:endParaRPr lang="en-GB"/>
            </a:p>
          </p:txBody>
        </p:sp>
        <p:sp>
          <p:nvSpPr>
            <p:cNvPr id="899" name="Freeform 898">
              <a:extLst>
                <a:ext uri="{FF2B5EF4-FFF2-40B4-BE49-F238E27FC236}">
                  <a16:creationId xmlns:a16="http://schemas.microsoft.com/office/drawing/2014/main" id="{D6AFA14E-666A-E1C7-17C2-B8CBB80FD27E}"/>
                </a:ext>
              </a:extLst>
            </p:cNvPr>
            <p:cNvSpPr/>
            <p:nvPr/>
          </p:nvSpPr>
          <p:spPr>
            <a:xfrm>
              <a:off x="7343775" y="2403475"/>
              <a:ext cx="151130" cy="94614"/>
            </a:xfrm>
            <a:custGeom>
              <a:avLst/>
              <a:gdLst>
                <a:gd name="connsiteX0" fmla="*/ 132715 w 151130"/>
                <a:gd name="connsiteY0" fmla="*/ 41910 h 94614"/>
                <a:gd name="connsiteX1" fmla="*/ 90805 w 151130"/>
                <a:gd name="connsiteY1" fmla="*/ 37465 h 94614"/>
                <a:gd name="connsiteX2" fmla="*/ 43180 w 151130"/>
                <a:gd name="connsiteY2" fmla="*/ 33655 h 94614"/>
                <a:gd name="connsiteX3" fmla="*/ 26670 w 151130"/>
                <a:gd name="connsiteY3" fmla="*/ 31750 h 94614"/>
                <a:gd name="connsiteX4" fmla="*/ 22225 w 151130"/>
                <a:gd name="connsiteY4" fmla="*/ 24130 h 94614"/>
                <a:gd name="connsiteX5" fmla="*/ 27940 w 151130"/>
                <a:gd name="connsiteY5" fmla="*/ 18415 h 94614"/>
                <a:gd name="connsiteX6" fmla="*/ 31750 w 151130"/>
                <a:gd name="connsiteY6" fmla="*/ 18415 h 94614"/>
                <a:gd name="connsiteX7" fmla="*/ 139065 w 151130"/>
                <a:gd name="connsiteY7" fmla="*/ 18415 h 94614"/>
                <a:gd name="connsiteX8" fmla="*/ 143510 w 151130"/>
                <a:gd name="connsiteY8" fmla="*/ 18415 h 94614"/>
                <a:gd name="connsiteX9" fmla="*/ 143510 w 151130"/>
                <a:gd name="connsiteY9" fmla="*/ 0 h 94614"/>
                <a:gd name="connsiteX10" fmla="*/ 139065 w 151130"/>
                <a:gd name="connsiteY10" fmla="*/ 0 h 94614"/>
                <a:gd name="connsiteX11" fmla="*/ 28575 w 151130"/>
                <a:gd name="connsiteY11" fmla="*/ 0 h 94614"/>
                <a:gd name="connsiteX12" fmla="*/ 23495 w 151130"/>
                <a:gd name="connsiteY12" fmla="*/ 635 h 94614"/>
                <a:gd name="connsiteX13" fmla="*/ 635 w 151130"/>
                <a:gd name="connsiteY13" fmla="*/ 17780 h 94614"/>
                <a:gd name="connsiteX14" fmla="*/ 0 w 151130"/>
                <a:gd name="connsiteY14" fmla="*/ 30480 h 94614"/>
                <a:gd name="connsiteX15" fmla="*/ 17780 w 151130"/>
                <a:gd name="connsiteY15" fmla="*/ 50800 h 94614"/>
                <a:gd name="connsiteX16" fmla="*/ 37465 w 151130"/>
                <a:gd name="connsiteY16" fmla="*/ 53340 h 94614"/>
                <a:gd name="connsiteX17" fmla="*/ 92710 w 151130"/>
                <a:gd name="connsiteY17" fmla="*/ 57785 h 94614"/>
                <a:gd name="connsiteX18" fmla="*/ 121920 w 151130"/>
                <a:gd name="connsiteY18" fmla="*/ 60325 h 94614"/>
                <a:gd name="connsiteX19" fmla="*/ 128270 w 151130"/>
                <a:gd name="connsiteY19" fmla="*/ 69215 h 94614"/>
                <a:gd name="connsiteX20" fmla="*/ 121285 w 151130"/>
                <a:gd name="connsiteY20" fmla="*/ 76200 h 94614"/>
                <a:gd name="connsiteX21" fmla="*/ 117475 w 151130"/>
                <a:gd name="connsiteY21" fmla="*/ 76200 h 94614"/>
                <a:gd name="connsiteX22" fmla="*/ 9525 w 151130"/>
                <a:gd name="connsiteY22" fmla="*/ 76200 h 94614"/>
                <a:gd name="connsiteX23" fmla="*/ 5080 w 151130"/>
                <a:gd name="connsiteY23" fmla="*/ 76200 h 94614"/>
                <a:gd name="connsiteX24" fmla="*/ 5080 w 151130"/>
                <a:gd name="connsiteY24" fmla="*/ 94615 h 94614"/>
                <a:gd name="connsiteX25" fmla="*/ 7620 w 151130"/>
                <a:gd name="connsiteY25" fmla="*/ 94615 h 94614"/>
                <a:gd name="connsiteX26" fmla="*/ 121285 w 151130"/>
                <a:gd name="connsiteY26" fmla="*/ 94615 h 94614"/>
                <a:gd name="connsiteX27" fmla="*/ 131445 w 151130"/>
                <a:gd name="connsiteY27" fmla="*/ 93980 h 94614"/>
                <a:gd name="connsiteX28" fmla="*/ 150495 w 151130"/>
                <a:gd name="connsiteY28" fmla="*/ 75565 h 94614"/>
                <a:gd name="connsiteX29" fmla="*/ 151130 w 151130"/>
                <a:gd name="connsiteY29" fmla="*/ 64770 h 94614"/>
                <a:gd name="connsiteX30" fmla="*/ 132715 w 151130"/>
                <a:gd name="connsiteY30" fmla="*/ 41910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1130" h="94614">
                  <a:moveTo>
                    <a:pt x="132715" y="41910"/>
                  </a:moveTo>
                  <a:cubicBezTo>
                    <a:pt x="118745" y="39370"/>
                    <a:pt x="105410" y="38735"/>
                    <a:pt x="90805" y="37465"/>
                  </a:cubicBezTo>
                  <a:cubicBezTo>
                    <a:pt x="74930" y="36195"/>
                    <a:pt x="59055" y="34925"/>
                    <a:pt x="43180" y="33655"/>
                  </a:cubicBezTo>
                  <a:cubicBezTo>
                    <a:pt x="38100" y="33020"/>
                    <a:pt x="32385" y="33020"/>
                    <a:pt x="26670" y="31750"/>
                  </a:cubicBezTo>
                  <a:cubicBezTo>
                    <a:pt x="22860" y="31115"/>
                    <a:pt x="21590" y="28575"/>
                    <a:pt x="22225" y="24130"/>
                  </a:cubicBezTo>
                  <a:cubicBezTo>
                    <a:pt x="22225" y="20955"/>
                    <a:pt x="24130" y="19050"/>
                    <a:pt x="27940" y="18415"/>
                  </a:cubicBezTo>
                  <a:cubicBezTo>
                    <a:pt x="29210" y="18415"/>
                    <a:pt x="30480" y="18415"/>
                    <a:pt x="31750" y="18415"/>
                  </a:cubicBezTo>
                  <a:lnTo>
                    <a:pt x="139065" y="18415"/>
                  </a:lnTo>
                  <a:lnTo>
                    <a:pt x="143510" y="18415"/>
                  </a:lnTo>
                  <a:lnTo>
                    <a:pt x="143510" y="0"/>
                  </a:lnTo>
                  <a:lnTo>
                    <a:pt x="139065" y="0"/>
                  </a:lnTo>
                  <a:lnTo>
                    <a:pt x="28575" y="0"/>
                  </a:lnTo>
                  <a:cubicBezTo>
                    <a:pt x="27305" y="0"/>
                    <a:pt x="25400" y="0"/>
                    <a:pt x="23495" y="635"/>
                  </a:cubicBezTo>
                  <a:cubicBezTo>
                    <a:pt x="10160" y="1270"/>
                    <a:pt x="2540" y="6985"/>
                    <a:pt x="635" y="17780"/>
                  </a:cubicBezTo>
                  <a:cubicBezTo>
                    <a:pt x="0" y="21590"/>
                    <a:pt x="0" y="26670"/>
                    <a:pt x="0" y="30480"/>
                  </a:cubicBezTo>
                  <a:cubicBezTo>
                    <a:pt x="635" y="42545"/>
                    <a:pt x="5715" y="48260"/>
                    <a:pt x="17780" y="50800"/>
                  </a:cubicBezTo>
                  <a:cubicBezTo>
                    <a:pt x="24130" y="52070"/>
                    <a:pt x="31115" y="52705"/>
                    <a:pt x="37465" y="53340"/>
                  </a:cubicBezTo>
                  <a:cubicBezTo>
                    <a:pt x="55880" y="54610"/>
                    <a:pt x="74295" y="56515"/>
                    <a:pt x="92710" y="57785"/>
                  </a:cubicBezTo>
                  <a:cubicBezTo>
                    <a:pt x="102235" y="58420"/>
                    <a:pt x="112395" y="59055"/>
                    <a:pt x="121920" y="60325"/>
                  </a:cubicBezTo>
                  <a:cubicBezTo>
                    <a:pt x="127000" y="60960"/>
                    <a:pt x="128905" y="63500"/>
                    <a:pt x="128270" y="69215"/>
                  </a:cubicBezTo>
                  <a:cubicBezTo>
                    <a:pt x="128270" y="73660"/>
                    <a:pt x="126365" y="75565"/>
                    <a:pt x="121285" y="76200"/>
                  </a:cubicBezTo>
                  <a:cubicBezTo>
                    <a:pt x="120015" y="76200"/>
                    <a:pt x="118745" y="76200"/>
                    <a:pt x="117475" y="76200"/>
                  </a:cubicBezTo>
                  <a:lnTo>
                    <a:pt x="9525" y="76200"/>
                  </a:lnTo>
                  <a:lnTo>
                    <a:pt x="5080" y="76200"/>
                  </a:lnTo>
                  <a:lnTo>
                    <a:pt x="5080" y="94615"/>
                  </a:lnTo>
                  <a:lnTo>
                    <a:pt x="7620" y="94615"/>
                  </a:lnTo>
                  <a:cubicBezTo>
                    <a:pt x="45720" y="94615"/>
                    <a:pt x="83820" y="94615"/>
                    <a:pt x="121285" y="94615"/>
                  </a:cubicBezTo>
                  <a:cubicBezTo>
                    <a:pt x="124460" y="94615"/>
                    <a:pt x="128270" y="94615"/>
                    <a:pt x="131445" y="93980"/>
                  </a:cubicBezTo>
                  <a:cubicBezTo>
                    <a:pt x="141605" y="92710"/>
                    <a:pt x="148590" y="86995"/>
                    <a:pt x="150495" y="75565"/>
                  </a:cubicBezTo>
                  <a:cubicBezTo>
                    <a:pt x="151130" y="71755"/>
                    <a:pt x="151130" y="68580"/>
                    <a:pt x="151130" y="64770"/>
                  </a:cubicBezTo>
                  <a:cubicBezTo>
                    <a:pt x="150495" y="50800"/>
                    <a:pt x="145415" y="43815"/>
                    <a:pt x="132715" y="41910"/>
                  </a:cubicBezTo>
                  <a:close/>
                </a:path>
              </a:pathLst>
            </a:custGeom>
            <a:grpFill/>
            <a:ln w="6350" cap="flat">
              <a:noFill/>
              <a:prstDash val="solid"/>
              <a:miter/>
            </a:ln>
          </p:spPr>
          <p:txBody>
            <a:bodyPr rtlCol="0" anchor="ctr"/>
            <a:lstStyle/>
            <a:p>
              <a:endParaRPr lang="en-GB"/>
            </a:p>
          </p:txBody>
        </p:sp>
        <p:sp>
          <p:nvSpPr>
            <p:cNvPr id="900" name="Freeform 899">
              <a:extLst>
                <a:ext uri="{FF2B5EF4-FFF2-40B4-BE49-F238E27FC236}">
                  <a16:creationId xmlns:a16="http://schemas.microsoft.com/office/drawing/2014/main" id="{D00510C1-AA70-2AAF-F1D3-CAF90220BA1E}"/>
                </a:ext>
              </a:extLst>
            </p:cNvPr>
            <p:cNvSpPr/>
            <p:nvPr/>
          </p:nvSpPr>
          <p:spPr>
            <a:xfrm>
              <a:off x="7710169" y="2402204"/>
              <a:ext cx="142875" cy="95250"/>
            </a:xfrm>
            <a:custGeom>
              <a:avLst/>
              <a:gdLst>
                <a:gd name="connsiteX0" fmla="*/ 31750 w 142875"/>
                <a:gd name="connsiteY0" fmla="*/ 635 h 95250"/>
                <a:gd name="connsiteX1" fmla="*/ 636 w 142875"/>
                <a:gd name="connsiteY1" fmla="*/ 24765 h 95250"/>
                <a:gd name="connsiteX2" fmla="*/ 0 w 142875"/>
                <a:gd name="connsiteY2" fmla="*/ 36195 h 95250"/>
                <a:gd name="connsiteX3" fmla="*/ 0 w 142875"/>
                <a:gd name="connsiteY3" fmla="*/ 91440 h 95250"/>
                <a:gd name="connsiteX4" fmla="*/ 0 w 142875"/>
                <a:gd name="connsiteY4" fmla="*/ 94615 h 95250"/>
                <a:gd name="connsiteX5" fmla="*/ 24765 w 142875"/>
                <a:gd name="connsiteY5" fmla="*/ 94615 h 95250"/>
                <a:gd name="connsiteX6" fmla="*/ 24765 w 142875"/>
                <a:gd name="connsiteY6" fmla="*/ 67945 h 95250"/>
                <a:gd name="connsiteX7" fmla="*/ 118111 w 142875"/>
                <a:gd name="connsiteY7" fmla="*/ 67945 h 95250"/>
                <a:gd name="connsiteX8" fmla="*/ 118111 w 142875"/>
                <a:gd name="connsiteY8" fmla="*/ 95250 h 95250"/>
                <a:gd name="connsiteX9" fmla="*/ 142875 w 142875"/>
                <a:gd name="connsiteY9" fmla="*/ 95250 h 95250"/>
                <a:gd name="connsiteX10" fmla="*/ 142875 w 142875"/>
                <a:gd name="connsiteY10" fmla="*/ 635 h 95250"/>
                <a:gd name="connsiteX11" fmla="*/ 141605 w 142875"/>
                <a:gd name="connsiteY11" fmla="*/ 0 h 95250"/>
                <a:gd name="connsiteX12" fmla="*/ 31750 w 142875"/>
                <a:gd name="connsiteY12" fmla="*/ 635 h 95250"/>
                <a:gd name="connsiteX13" fmla="*/ 118111 w 142875"/>
                <a:gd name="connsiteY13" fmla="*/ 48895 h 95250"/>
                <a:gd name="connsiteX14" fmla="*/ 24765 w 142875"/>
                <a:gd name="connsiteY14" fmla="*/ 48895 h 95250"/>
                <a:gd name="connsiteX15" fmla="*/ 26670 w 142875"/>
                <a:gd name="connsiteY15" fmla="*/ 26670 h 95250"/>
                <a:gd name="connsiteX16" fmla="*/ 40005 w 142875"/>
                <a:gd name="connsiteY16" fmla="*/ 19050 h 95250"/>
                <a:gd name="connsiteX17" fmla="*/ 102870 w 142875"/>
                <a:gd name="connsiteY17" fmla="*/ 19050 h 95250"/>
                <a:gd name="connsiteX18" fmla="*/ 117475 w 142875"/>
                <a:gd name="connsiteY18" fmla="*/ 19050 h 95250"/>
                <a:gd name="connsiteX19" fmla="*/ 117475 w 142875"/>
                <a:gd name="connsiteY19" fmla="*/ 4889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2875" h="95250">
                  <a:moveTo>
                    <a:pt x="31750" y="635"/>
                  </a:moveTo>
                  <a:cubicBezTo>
                    <a:pt x="14605" y="635"/>
                    <a:pt x="3811" y="10160"/>
                    <a:pt x="636" y="24765"/>
                  </a:cubicBezTo>
                  <a:cubicBezTo>
                    <a:pt x="0" y="28575"/>
                    <a:pt x="0" y="32385"/>
                    <a:pt x="0" y="36195"/>
                  </a:cubicBezTo>
                  <a:cubicBezTo>
                    <a:pt x="0" y="54610"/>
                    <a:pt x="0" y="73025"/>
                    <a:pt x="0" y="91440"/>
                  </a:cubicBezTo>
                  <a:lnTo>
                    <a:pt x="0" y="94615"/>
                  </a:lnTo>
                  <a:lnTo>
                    <a:pt x="24765" y="94615"/>
                  </a:lnTo>
                  <a:lnTo>
                    <a:pt x="24765" y="67945"/>
                  </a:lnTo>
                  <a:lnTo>
                    <a:pt x="118111" y="67945"/>
                  </a:lnTo>
                  <a:lnTo>
                    <a:pt x="118111" y="95250"/>
                  </a:lnTo>
                  <a:lnTo>
                    <a:pt x="142875" y="95250"/>
                  </a:lnTo>
                  <a:lnTo>
                    <a:pt x="142875" y="635"/>
                  </a:lnTo>
                  <a:lnTo>
                    <a:pt x="141605" y="0"/>
                  </a:lnTo>
                  <a:cubicBezTo>
                    <a:pt x="104775" y="0"/>
                    <a:pt x="67945" y="0"/>
                    <a:pt x="31750" y="635"/>
                  </a:cubicBezTo>
                  <a:close/>
                  <a:moveTo>
                    <a:pt x="118111" y="48895"/>
                  </a:moveTo>
                  <a:lnTo>
                    <a:pt x="24765" y="48895"/>
                  </a:lnTo>
                  <a:cubicBezTo>
                    <a:pt x="24765" y="41275"/>
                    <a:pt x="24130" y="33655"/>
                    <a:pt x="26670" y="26670"/>
                  </a:cubicBezTo>
                  <a:cubicBezTo>
                    <a:pt x="29211" y="20955"/>
                    <a:pt x="34290" y="19050"/>
                    <a:pt x="40005" y="19050"/>
                  </a:cubicBezTo>
                  <a:cubicBezTo>
                    <a:pt x="60961" y="19050"/>
                    <a:pt x="81280" y="19050"/>
                    <a:pt x="102870" y="19050"/>
                  </a:cubicBezTo>
                  <a:lnTo>
                    <a:pt x="117475" y="19050"/>
                  </a:lnTo>
                  <a:lnTo>
                    <a:pt x="117475" y="48895"/>
                  </a:lnTo>
                  <a:close/>
                </a:path>
              </a:pathLst>
            </a:custGeom>
            <a:grpFill/>
            <a:ln w="6350" cap="flat">
              <a:noFill/>
              <a:prstDash val="solid"/>
              <a:miter/>
            </a:ln>
          </p:spPr>
          <p:txBody>
            <a:bodyPr rtlCol="0" anchor="ctr"/>
            <a:lstStyle/>
            <a:p>
              <a:endParaRPr lang="en-GB"/>
            </a:p>
          </p:txBody>
        </p:sp>
        <p:sp>
          <p:nvSpPr>
            <p:cNvPr id="901" name="Freeform 900">
              <a:extLst>
                <a:ext uri="{FF2B5EF4-FFF2-40B4-BE49-F238E27FC236}">
                  <a16:creationId xmlns:a16="http://schemas.microsoft.com/office/drawing/2014/main" id="{B31D7F8F-97E4-A33D-00B0-74F8C2797C40}"/>
                </a:ext>
              </a:extLst>
            </p:cNvPr>
            <p:cNvSpPr/>
            <p:nvPr/>
          </p:nvSpPr>
          <p:spPr>
            <a:xfrm>
              <a:off x="7883525" y="2402204"/>
              <a:ext cx="139700" cy="95250"/>
            </a:xfrm>
            <a:custGeom>
              <a:avLst/>
              <a:gdLst>
                <a:gd name="connsiteX0" fmla="*/ 0 w 139700"/>
                <a:gd name="connsiteY0" fmla="*/ 0 h 95250"/>
                <a:gd name="connsiteX1" fmla="*/ 0 w 139700"/>
                <a:gd name="connsiteY1" fmla="*/ 18415 h 95250"/>
                <a:gd name="connsiteX2" fmla="*/ 58420 w 139700"/>
                <a:gd name="connsiteY2" fmla="*/ 18415 h 95250"/>
                <a:gd name="connsiteX3" fmla="*/ 58420 w 139700"/>
                <a:gd name="connsiteY3" fmla="*/ 95250 h 95250"/>
                <a:gd name="connsiteX4" fmla="*/ 81915 w 139700"/>
                <a:gd name="connsiteY4" fmla="*/ 95250 h 95250"/>
                <a:gd name="connsiteX5" fmla="*/ 81915 w 139700"/>
                <a:gd name="connsiteY5" fmla="*/ 17780 h 95250"/>
                <a:gd name="connsiteX6" fmla="*/ 139700 w 139700"/>
                <a:gd name="connsiteY6" fmla="*/ 17780 h 95250"/>
                <a:gd name="connsiteX7" fmla="*/ 139700 w 139700"/>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700" h="95250">
                  <a:moveTo>
                    <a:pt x="0" y="0"/>
                  </a:moveTo>
                  <a:lnTo>
                    <a:pt x="0" y="18415"/>
                  </a:lnTo>
                  <a:lnTo>
                    <a:pt x="58420" y="18415"/>
                  </a:lnTo>
                  <a:lnTo>
                    <a:pt x="58420" y="95250"/>
                  </a:lnTo>
                  <a:lnTo>
                    <a:pt x="81915" y="95250"/>
                  </a:lnTo>
                  <a:lnTo>
                    <a:pt x="81915" y="17780"/>
                  </a:lnTo>
                  <a:lnTo>
                    <a:pt x="139700" y="17780"/>
                  </a:lnTo>
                  <a:lnTo>
                    <a:pt x="139700" y="0"/>
                  </a:lnTo>
                  <a:close/>
                </a:path>
              </a:pathLst>
            </a:custGeom>
            <a:grpFill/>
            <a:ln w="6350" cap="flat">
              <a:noFill/>
              <a:prstDash val="solid"/>
              <a:miter/>
            </a:ln>
          </p:spPr>
          <p:txBody>
            <a:bodyPr rtlCol="0" anchor="ctr"/>
            <a:lstStyle/>
            <a:p>
              <a:endParaRPr lang="en-GB"/>
            </a:p>
          </p:txBody>
        </p:sp>
      </p:grpSp>
      <p:grpSp>
        <p:nvGrpSpPr>
          <p:cNvPr id="909" name="Graphic 79">
            <a:extLst>
              <a:ext uri="{FF2B5EF4-FFF2-40B4-BE49-F238E27FC236}">
                <a16:creationId xmlns:a16="http://schemas.microsoft.com/office/drawing/2014/main" id="{B2ED855E-B235-BD7B-FCA2-BE9A53FCC55D}"/>
              </a:ext>
            </a:extLst>
          </p:cNvPr>
          <p:cNvGrpSpPr/>
          <p:nvPr/>
        </p:nvGrpSpPr>
        <p:grpSpPr>
          <a:xfrm>
            <a:off x="5645150" y="1931035"/>
            <a:ext cx="901700" cy="622082"/>
            <a:chOff x="5645150" y="1931035"/>
            <a:chExt cx="901700" cy="622082"/>
          </a:xfrm>
        </p:grpSpPr>
        <p:sp>
          <p:nvSpPr>
            <p:cNvPr id="910" name="Freeform 909">
              <a:extLst>
                <a:ext uri="{FF2B5EF4-FFF2-40B4-BE49-F238E27FC236}">
                  <a16:creationId xmlns:a16="http://schemas.microsoft.com/office/drawing/2014/main" id="{E4FD8885-C6DC-1FA9-1053-AA4DC262F0B0}"/>
                </a:ext>
              </a:extLst>
            </p:cNvPr>
            <p:cNvSpPr/>
            <p:nvPr/>
          </p:nvSpPr>
          <p:spPr>
            <a:xfrm>
              <a:off x="5894704" y="1947545"/>
              <a:ext cx="372745" cy="372748"/>
            </a:xfrm>
            <a:custGeom>
              <a:avLst/>
              <a:gdLst>
                <a:gd name="connsiteX0" fmla="*/ 186055 w 372745"/>
                <a:gd name="connsiteY0" fmla="*/ 372745 h 372748"/>
                <a:gd name="connsiteX1" fmla="*/ 372745 w 372745"/>
                <a:gd name="connsiteY1" fmla="*/ 186690 h 372748"/>
                <a:gd name="connsiteX2" fmla="*/ 187325 w 372745"/>
                <a:gd name="connsiteY2" fmla="*/ 0 h 372748"/>
                <a:gd name="connsiteX3" fmla="*/ 0 w 372745"/>
                <a:gd name="connsiteY3" fmla="*/ 186055 h 372748"/>
                <a:gd name="connsiteX4" fmla="*/ 186055 w 372745"/>
                <a:gd name="connsiteY4" fmla="*/ 372745 h 372748"/>
                <a:gd name="connsiteX5" fmla="*/ 129540 w 372745"/>
                <a:gd name="connsiteY5" fmla="*/ 255270 h 372748"/>
                <a:gd name="connsiteX6" fmla="*/ 121285 w 372745"/>
                <a:gd name="connsiteY6" fmla="*/ 225425 h 372748"/>
                <a:gd name="connsiteX7" fmla="*/ 89535 w 372745"/>
                <a:gd name="connsiteY7" fmla="*/ 189865 h 372748"/>
                <a:gd name="connsiteX8" fmla="*/ 48260 w 372745"/>
                <a:gd name="connsiteY8" fmla="*/ 171450 h 372748"/>
                <a:gd name="connsiteX9" fmla="*/ 26035 w 372745"/>
                <a:gd name="connsiteY9" fmla="*/ 165735 h 372748"/>
                <a:gd name="connsiteX10" fmla="*/ 26035 w 372745"/>
                <a:gd name="connsiteY10" fmla="*/ 163195 h 372748"/>
                <a:gd name="connsiteX11" fmla="*/ 45720 w 372745"/>
                <a:gd name="connsiteY11" fmla="*/ 106680 h 372748"/>
                <a:gd name="connsiteX12" fmla="*/ 46990 w 372745"/>
                <a:gd name="connsiteY12" fmla="*/ 104775 h 372748"/>
                <a:gd name="connsiteX13" fmla="*/ 55880 w 372745"/>
                <a:gd name="connsiteY13" fmla="*/ 106680 h 372748"/>
                <a:gd name="connsiteX14" fmla="*/ 112395 w 372745"/>
                <a:gd name="connsiteY14" fmla="*/ 127635 h 372748"/>
                <a:gd name="connsiteX15" fmla="*/ 127635 w 372745"/>
                <a:gd name="connsiteY15" fmla="*/ 137160 h 372748"/>
                <a:gd name="connsiteX16" fmla="*/ 134620 w 372745"/>
                <a:gd name="connsiteY16" fmla="*/ 137160 h 372748"/>
                <a:gd name="connsiteX17" fmla="*/ 132080 w 372745"/>
                <a:gd name="connsiteY17" fmla="*/ 133985 h 372748"/>
                <a:gd name="connsiteX18" fmla="*/ 109220 w 372745"/>
                <a:gd name="connsiteY18" fmla="*/ 114300 h 372748"/>
                <a:gd name="connsiteX19" fmla="*/ 64770 w 372745"/>
                <a:gd name="connsiteY19" fmla="*/ 85090 h 372748"/>
                <a:gd name="connsiteX20" fmla="*/ 62230 w 372745"/>
                <a:gd name="connsiteY20" fmla="*/ 83185 h 372748"/>
                <a:gd name="connsiteX21" fmla="*/ 66675 w 372745"/>
                <a:gd name="connsiteY21" fmla="*/ 78105 h 372748"/>
                <a:gd name="connsiteX22" fmla="*/ 107315 w 372745"/>
                <a:gd name="connsiteY22" fmla="*/ 45085 h 372748"/>
                <a:gd name="connsiteX23" fmla="*/ 112395 w 372745"/>
                <a:gd name="connsiteY23" fmla="*/ 44450 h 372748"/>
                <a:gd name="connsiteX24" fmla="*/ 145415 w 372745"/>
                <a:gd name="connsiteY24" fmla="*/ 64770 h 372748"/>
                <a:gd name="connsiteX25" fmla="*/ 185420 w 372745"/>
                <a:gd name="connsiteY25" fmla="*/ 102870 h 372748"/>
                <a:gd name="connsiteX26" fmla="*/ 186055 w 372745"/>
                <a:gd name="connsiteY26" fmla="*/ 103505 h 372748"/>
                <a:gd name="connsiteX27" fmla="*/ 194310 w 372745"/>
                <a:gd name="connsiteY27" fmla="*/ 104775 h 372748"/>
                <a:gd name="connsiteX28" fmla="*/ 192405 w 372745"/>
                <a:gd name="connsiteY28" fmla="*/ 101600 h 372748"/>
                <a:gd name="connsiteX29" fmla="*/ 167005 w 372745"/>
                <a:gd name="connsiteY29" fmla="*/ 63500 h 372748"/>
                <a:gd name="connsiteX30" fmla="*/ 137160 w 372745"/>
                <a:gd name="connsiteY30" fmla="*/ 33655 h 372748"/>
                <a:gd name="connsiteX31" fmla="*/ 135890 w 372745"/>
                <a:gd name="connsiteY31" fmla="*/ 32385 h 372748"/>
                <a:gd name="connsiteX32" fmla="*/ 135890 w 372745"/>
                <a:gd name="connsiteY32" fmla="*/ 31750 h 372748"/>
                <a:gd name="connsiteX33" fmla="*/ 149860 w 372745"/>
                <a:gd name="connsiteY33" fmla="*/ 27305 h 372748"/>
                <a:gd name="connsiteX34" fmla="*/ 195580 w 372745"/>
                <a:gd name="connsiteY34" fmla="*/ 23495 h 372748"/>
                <a:gd name="connsiteX35" fmla="*/ 205740 w 372745"/>
                <a:gd name="connsiteY35" fmla="*/ 27305 h 372748"/>
                <a:gd name="connsiteX36" fmla="*/ 252730 w 372745"/>
                <a:gd name="connsiteY36" fmla="*/ 90170 h 372748"/>
                <a:gd name="connsiteX37" fmla="*/ 266700 w 372745"/>
                <a:gd name="connsiteY37" fmla="*/ 139065 h 372748"/>
                <a:gd name="connsiteX38" fmla="*/ 268605 w 372745"/>
                <a:gd name="connsiteY38" fmla="*/ 173355 h 372748"/>
                <a:gd name="connsiteX39" fmla="*/ 252095 w 372745"/>
                <a:gd name="connsiteY39" fmla="*/ 257175 h 372748"/>
                <a:gd name="connsiteX40" fmla="*/ 250825 w 372745"/>
                <a:gd name="connsiteY40" fmla="*/ 259715 h 372748"/>
                <a:gd name="connsiteX41" fmla="*/ 252730 w 372745"/>
                <a:gd name="connsiteY41" fmla="*/ 260350 h 372748"/>
                <a:gd name="connsiteX42" fmla="*/ 264795 w 372745"/>
                <a:gd name="connsiteY42" fmla="*/ 260350 h 372748"/>
                <a:gd name="connsiteX43" fmla="*/ 267970 w 372745"/>
                <a:gd name="connsiteY43" fmla="*/ 258445 h 372748"/>
                <a:gd name="connsiteX44" fmla="*/ 271780 w 372745"/>
                <a:gd name="connsiteY44" fmla="*/ 247650 h 372748"/>
                <a:gd name="connsiteX45" fmla="*/ 320675 w 372745"/>
                <a:gd name="connsiteY45" fmla="*/ 272415 h 372748"/>
                <a:gd name="connsiteX46" fmla="*/ 271780 w 372745"/>
                <a:gd name="connsiteY46" fmla="*/ 297180 h 372748"/>
                <a:gd name="connsiteX47" fmla="*/ 266700 w 372745"/>
                <a:gd name="connsiteY47" fmla="*/ 285115 h 372748"/>
                <a:gd name="connsiteX48" fmla="*/ 263525 w 372745"/>
                <a:gd name="connsiteY48" fmla="*/ 285115 h 372748"/>
                <a:gd name="connsiteX49" fmla="*/ 118745 w 372745"/>
                <a:gd name="connsiteY49" fmla="*/ 285115 h 372748"/>
                <a:gd name="connsiteX50" fmla="*/ 113665 w 372745"/>
                <a:gd name="connsiteY50" fmla="*/ 287020 h 372748"/>
                <a:gd name="connsiteX51" fmla="*/ 96520 w 372745"/>
                <a:gd name="connsiteY51" fmla="*/ 295910 h 372748"/>
                <a:gd name="connsiteX52" fmla="*/ 88265 w 372745"/>
                <a:gd name="connsiteY52" fmla="*/ 297815 h 372748"/>
                <a:gd name="connsiteX53" fmla="*/ 71120 w 372745"/>
                <a:gd name="connsiteY53" fmla="*/ 297815 h 372748"/>
                <a:gd name="connsiteX54" fmla="*/ 67945 w 372745"/>
                <a:gd name="connsiteY54" fmla="*/ 296545 h 372748"/>
                <a:gd name="connsiteX55" fmla="*/ 37465 w 372745"/>
                <a:gd name="connsiteY55" fmla="*/ 250190 h 372748"/>
                <a:gd name="connsiteX56" fmla="*/ 37465 w 372745"/>
                <a:gd name="connsiteY56" fmla="*/ 248285 h 372748"/>
                <a:gd name="connsiteX57" fmla="*/ 39370 w 372745"/>
                <a:gd name="connsiteY57" fmla="*/ 248285 h 372748"/>
                <a:gd name="connsiteX58" fmla="*/ 84455 w 372745"/>
                <a:gd name="connsiteY58" fmla="*/ 248285 h 372748"/>
                <a:gd name="connsiteX59" fmla="*/ 90805 w 372745"/>
                <a:gd name="connsiteY59" fmla="*/ 249555 h 372748"/>
                <a:gd name="connsiteX60" fmla="*/ 113665 w 372745"/>
                <a:gd name="connsiteY60" fmla="*/ 259715 h 372748"/>
                <a:gd name="connsiteX61" fmla="*/ 118745 w 372745"/>
                <a:gd name="connsiteY61" fmla="*/ 260985 h 372748"/>
                <a:gd name="connsiteX62" fmla="*/ 127635 w 372745"/>
                <a:gd name="connsiteY62" fmla="*/ 260985 h 372748"/>
                <a:gd name="connsiteX63" fmla="*/ 130810 w 372745"/>
                <a:gd name="connsiteY63" fmla="*/ 260985 h 372748"/>
                <a:gd name="connsiteX64" fmla="*/ 129540 w 372745"/>
                <a:gd name="connsiteY64" fmla="*/ 255270 h 37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72745" h="372748">
                  <a:moveTo>
                    <a:pt x="186055" y="372745"/>
                  </a:moveTo>
                  <a:cubicBezTo>
                    <a:pt x="288290" y="373380"/>
                    <a:pt x="372745" y="290195"/>
                    <a:pt x="372745" y="186690"/>
                  </a:cubicBezTo>
                  <a:cubicBezTo>
                    <a:pt x="372745" y="82550"/>
                    <a:pt x="288290" y="0"/>
                    <a:pt x="187325" y="0"/>
                  </a:cubicBezTo>
                  <a:cubicBezTo>
                    <a:pt x="84455" y="0"/>
                    <a:pt x="635" y="83185"/>
                    <a:pt x="0" y="186055"/>
                  </a:cubicBezTo>
                  <a:cubicBezTo>
                    <a:pt x="0" y="288290"/>
                    <a:pt x="82550" y="372110"/>
                    <a:pt x="186055" y="372745"/>
                  </a:cubicBezTo>
                  <a:close/>
                  <a:moveTo>
                    <a:pt x="129540" y="255270"/>
                  </a:moveTo>
                  <a:cubicBezTo>
                    <a:pt x="128270" y="245110"/>
                    <a:pt x="125730" y="234950"/>
                    <a:pt x="121285" y="225425"/>
                  </a:cubicBezTo>
                  <a:cubicBezTo>
                    <a:pt x="114300" y="210185"/>
                    <a:pt x="103505" y="198120"/>
                    <a:pt x="89535" y="189865"/>
                  </a:cubicBezTo>
                  <a:cubicBezTo>
                    <a:pt x="76835" y="180975"/>
                    <a:pt x="62865" y="175895"/>
                    <a:pt x="48260" y="171450"/>
                  </a:cubicBezTo>
                  <a:cubicBezTo>
                    <a:pt x="40640" y="169545"/>
                    <a:pt x="33655" y="167640"/>
                    <a:pt x="26035" y="165735"/>
                  </a:cubicBezTo>
                  <a:cubicBezTo>
                    <a:pt x="26035" y="165100"/>
                    <a:pt x="26035" y="164465"/>
                    <a:pt x="26035" y="163195"/>
                  </a:cubicBezTo>
                  <a:cubicBezTo>
                    <a:pt x="29210" y="143510"/>
                    <a:pt x="35560" y="124460"/>
                    <a:pt x="45720" y="106680"/>
                  </a:cubicBezTo>
                  <a:cubicBezTo>
                    <a:pt x="45720" y="106045"/>
                    <a:pt x="46355" y="105410"/>
                    <a:pt x="46990" y="104775"/>
                  </a:cubicBezTo>
                  <a:cubicBezTo>
                    <a:pt x="49530" y="105410"/>
                    <a:pt x="52705" y="106045"/>
                    <a:pt x="55880" y="106680"/>
                  </a:cubicBezTo>
                  <a:cubicBezTo>
                    <a:pt x="75565" y="112395"/>
                    <a:pt x="94615" y="118110"/>
                    <a:pt x="112395" y="127635"/>
                  </a:cubicBezTo>
                  <a:cubicBezTo>
                    <a:pt x="118110" y="130810"/>
                    <a:pt x="122555" y="133985"/>
                    <a:pt x="127635" y="137160"/>
                  </a:cubicBezTo>
                  <a:cubicBezTo>
                    <a:pt x="130810" y="139065"/>
                    <a:pt x="130810" y="139700"/>
                    <a:pt x="134620" y="137160"/>
                  </a:cubicBezTo>
                  <a:cubicBezTo>
                    <a:pt x="133985" y="135890"/>
                    <a:pt x="133350" y="135255"/>
                    <a:pt x="132080" y="133985"/>
                  </a:cubicBezTo>
                  <a:cubicBezTo>
                    <a:pt x="125095" y="126365"/>
                    <a:pt x="117475" y="120650"/>
                    <a:pt x="109220" y="114300"/>
                  </a:cubicBezTo>
                  <a:cubicBezTo>
                    <a:pt x="94615" y="102870"/>
                    <a:pt x="80010" y="93980"/>
                    <a:pt x="64770" y="85090"/>
                  </a:cubicBezTo>
                  <a:cubicBezTo>
                    <a:pt x="64135" y="84455"/>
                    <a:pt x="62865" y="83820"/>
                    <a:pt x="62230" y="83185"/>
                  </a:cubicBezTo>
                  <a:cubicBezTo>
                    <a:pt x="63500" y="81280"/>
                    <a:pt x="65405" y="79375"/>
                    <a:pt x="66675" y="78105"/>
                  </a:cubicBezTo>
                  <a:cubicBezTo>
                    <a:pt x="78105" y="65405"/>
                    <a:pt x="92075" y="53975"/>
                    <a:pt x="107315" y="45085"/>
                  </a:cubicBezTo>
                  <a:cubicBezTo>
                    <a:pt x="109220" y="43815"/>
                    <a:pt x="110490" y="43815"/>
                    <a:pt x="112395" y="44450"/>
                  </a:cubicBezTo>
                  <a:cubicBezTo>
                    <a:pt x="124460" y="49530"/>
                    <a:pt x="135255" y="56515"/>
                    <a:pt x="145415" y="64770"/>
                  </a:cubicBezTo>
                  <a:cubicBezTo>
                    <a:pt x="159385" y="76200"/>
                    <a:pt x="172720" y="89535"/>
                    <a:pt x="185420" y="102870"/>
                  </a:cubicBezTo>
                  <a:lnTo>
                    <a:pt x="186055" y="103505"/>
                  </a:lnTo>
                  <a:cubicBezTo>
                    <a:pt x="189230" y="106680"/>
                    <a:pt x="189865" y="107315"/>
                    <a:pt x="194310" y="104775"/>
                  </a:cubicBezTo>
                  <a:cubicBezTo>
                    <a:pt x="193675" y="103505"/>
                    <a:pt x="193040" y="102235"/>
                    <a:pt x="192405" y="101600"/>
                  </a:cubicBezTo>
                  <a:cubicBezTo>
                    <a:pt x="185420" y="87630"/>
                    <a:pt x="177165" y="74930"/>
                    <a:pt x="167005" y="63500"/>
                  </a:cubicBezTo>
                  <a:cubicBezTo>
                    <a:pt x="158115" y="52705"/>
                    <a:pt x="147955" y="43180"/>
                    <a:pt x="137160" y="33655"/>
                  </a:cubicBezTo>
                  <a:cubicBezTo>
                    <a:pt x="137160" y="33020"/>
                    <a:pt x="136525" y="33020"/>
                    <a:pt x="135890" y="32385"/>
                  </a:cubicBezTo>
                  <a:lnTo>
                    <a:pt x="135890" y="31750"/>
                  </a:lnTo>
                  <a:cubicBezTo>
                    <a:pt x="140970" y="30480"/>
                    <a:pt x="144780" y="28575"/>
                    <a:pt x="149860" y="27305"/>
                  </a:cubicBezTo>
                  <a:cubicBezTo>
                    <a:pt x="165100" y="24130"/>
                    <a:pt x="180340" y="22860"/>
                    <a:pt x="195580" y="23495"/>
                  </a:cubicBezTo>
                  <a:cubicBezTo>
                    <a:pt x="200025" y="23495"/>
                    <a:pt x="203200" y="24765"/>
                    <a:pt x="205740" y="27305"/>
                  </a:cubicBezTo>
                  <a:cubicBezTo>
                    <a:pt x="226060" y="45085"/>
                    <a:pt x="241935" y="65405"/>
                    <a:pt x="252730" y="90170"/>
                  </a:cubicBezTo>
                  <a:cubicBezTo>
                    <a:pt x="260350" y="105410"/>
                    <a:pt x="264160" y="121920"/>
                    <a:pt x="266700" y="139065"/>
                  </a:cubicBezTo>
                  <a:cubicBezTo>
                    <a:pt x="268605" y="150495"/>
                    <a:pt x="269240" y="161925"/>
                    <a:pt x="268605" y="173355"/>
                  </a:cubicBezTo>
                  <a:cubicBezTo>
                    <a:pt x="267970" y="202565"/>
                    <a:pt x="262255" y="230505"/>
                    <a:pt x="252095" y="257175"/>
                  </a:cubicBezTo>
                  <a:cubicBezTo>
                    <a:pt x="251460" y="257810"/>
                    <a:pt x="251460" y="259080"/>
                    <a:pt x="250825" y="259715"/>
                  </a:cubicBezTo>
                  <a:cubicBezTo>
                    <a:pt x="251460" y="260350"/>
                    <a:pt x="252095" y="260350"/>
                    <a:pt x="252730" y="260350"/>
                  </a:cubicBezTo>
                  <a:cubicBezTo>
                    <a:pt x="257175" y="260350"/>
                    <a:pt x="260985" y="260350"/>
                    <a:pt x="264795" y="260350"/>
                  </a:cubicBezTo>
                  <a:cubicBezTo>
                    <a:pt x="266700" y="260350"/>
                    <a:pt x="267335" y="259715"/>
                    <a:pt x="267970" y="258445"/>
                  </a:cubicBezTo>
                  <a:cubicBezTo>
                    <a:pt x="269240" y="254635"/>
                    <a:pt x="270510" y="251460"/>
                    <a:pt x="271780" y="247650"/>
                  </a:cubicBezTo>
                  <a:cubicBezTo>
                    <a:pt x="290830" y="250190"/>
                    <a:pt x="307340" y="259080"/>
                    <a:pt x="320675" y="272415"/>
                  </a:cubicBezTo>
                  <a:cubicBezTo>
                    <a:pt x="307340" y="286385"/>
                    <a:pt x="290830" y="294640"/>
                    <a:pt x="271780" y="297180"/>
                  </a:cubicBezTo>
                  <a:cubicBezTo>
                    <a:pt x="269875" y="293370"/>
                    <a:pt x="268605" y="288925"/>
                    <a:pt x="266700" y="285115"/>
                  </a:cubicBezTo>
                  <a:lnTo>
                    <a:pt x="263525" y="285115"/>
                  </a:lnTo>
                  <a:cubicBezTo>
                    <a:pt x="215900" y="285115"/>
                    <a:pt x="167005" y="285115"/>
                    <a:pt x="118745" y="285115"/>
                  </a:cubicBezTo>
                  <a:cubicBezTo>
                    <a:pt x="116840" y="285115"/>
                    <a:pt x="114935" y="285750"/>
                    <a:pt x="113665" y="287020"/>
                  </a:cubicBezTo>
                  <a:cubicBezTo>
                    <a:pt x="107315" y="289560"/>
                    <a:pt x="102235" y="292735"/>
                    <a:pt x="96520" y="295910"/>
                  </a:cubicBezTo>
                  <a:cubicBezTo>
                    <a:pt x="93980" y="297180"/>
                    <a:pt x="91440" y="297815"/>
                    <a:pt x="88265" y="297815"/>
                  </a:cubicBezTo>
                  <a:cubicBezTo>
                    <a:pt x="82550" y="297815"/>
                    <a:pt x="77470" y="297815"/>
                    <a:pt x="71120" y="297815"/>
                  </a:cubicBezTo>
                  <a:cubicBezTo>
                    <a:pt x="69850" y="297815"/>
                    <a:pt x="69215" y="297180"/>
                    <a:pt x="67945" y="296545"/>
                  </a:cubicBezTo>
                  <a:cubicBezTo>
                    <a:pt x="55880" y="282575"/>
                    <a:pt x="45085" y="266700"/>
                    <a:pt x="37465" y="250190"/>
                  </a:cubicBezTo>
                  <a:cubicBezTo>
                    <a:pt x="37465" y="249555"/>
                    <a:pt x="37465" y="248920"/>
                    <a:pt x="37465" y="248285"/>
                  </a:cubicBezTo>
                  <a:cubicBezTo>
                    <a:pt x="38100" y="248285"/>
                    <a:pt x="38735" y="248285"/>
                    <a:pt x="39370" y="248285"/>
                  </a:cubicBezTo>
                  <a:cubicBezTo>
                    <a:pt x="54610" y="248285"/>
                    <a:pt x="69850" y="248285"/>
                    <a:pt x="84455" y="248285"/>
                  </a:cubicBezTo>
                  <a:cubicBezTo>
                    <a:pt x="86995" y="248285"/>
                    <a:pt x="88900" y="248920"/>
                    <a:pt x="90805" y="249555"/>
                  </a:cubicBezTo>
                  <a:cubicBezTo>
                    <a:pt x="98425" y="253365"/>
                    <a:pt x="106045" y="256540"/>
                    <a:pt x="113665" y="259715"/>
                  </a:cubicBezTo>
                  <a:cubicBezTo>
                    <a:pt x="115570" y="260985"/>
                    <a:pt x="116840" y="260985"/>
                    <a:pt x="118745" y="260985"/>
                  </a:cubicBezTo>
                  <a:cubicBezTo>
                    <a:pt x="121920" y="260985"/>
                    <a:pt x="124460" y="260985"/>
                    <a:pt x="127635" y="260985"/>
                  </a:cubicBezTo>
                  <a:cubicBezTo>
                    <a:pt x="128270" y="260985"/>
                    <a:pt x="129540" y="260985"/>
                    <a:pt x="130810" y="260985"/>
                  </a:cubicBezTo>
                  <a:cubicBezTo>
                    <a:pt x="130175" y="259715"/>
                    <a:pt x="130175" y="257810"/>
                    <a:pt x="129540" y="255270"/>
                  </a:cubicBezTo>
                  <a:close/>
                </a:path>
              </a:pathLst>
            </a:custGeom>
            <a:noFill/>
            <a:ln w="6350" cap="flat">
              <a:noFill/>
              <a:prstDash val="solid"/>
              <a:miter/>
            </a:ln>
          </p:spPr>
          <p:txBody>
            <a:bodyPr rtlCol="0" anchor="ctr"/>
            <a:lstStyle/>
            <a:p>
              <a:endParaRPr lang="en-GB"/>
            </a:p>
          </p:txBody>
        </p:sp>
        <p:sp>
          <p:nvSpPr>
            <p:cNvPr id="911" name="Freeform 910">
              <a:extLst>
                <a:ext uri="{FF2B5EF4-FFF2-40B4-BE49-F238E27FC236}">
                  <a16:creationId xmlns:a16="http://schemas.microsoft.com/office/drawing/2014/main" id="{23702EEF-39E7-CEE7-E0D4-43F58DABD7C9}"/>
                </a:ext>
              </a:extLst>
            </p:cNvPr>
            <p:cNvSpPr/>
            <p:nvPr/>
          </p:nvSpPr>
          <p:spPr>
            <a:xfrm>
              <a:off x="6088379" y="2151379"/>
              <a:ext cx="40004" cy="40005"/>
            </a:xfrm>
            <a:custGeom>
              <a:avLst/>
              <a:gdLst>
                <a:gd name="connsiteX0" fmla="*/ 20320 w 40004"/>
                <a:gd name="connsiteY0" fmla="*/ 40005 h 40005"/>
                <a:gd name="connsiteX1" fmla="*/ 40005 w 40004"/>
                <a:gd name="connsiteY1" fmla="*/ 19685 h 40005"/>
                <a:gd name="connsiteX2" fmla="*/ 20320 w 40004"/>
                <a:gd name="connsiteY2" fmla="*/ 0 h 40005"/>
                <a:gd name="connsiteX3" fmla="*/ 0 w 40004"/>
                <a:gd name="connsiteY3" fmla="*/ 19685 h 40005"/>
                <a:gd name="connsiteX4" fmla="*/ 20320 w 40004"/>
                <a:gd name="connsiteY4" fmla="*/ 40005 h 40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4" h="40005">
                  <a:moveTo>
                    <a:pt x="20320" y="40005"/>
                  </a:moveTo>
                  <a:cubicBezTo>
                    <a:pt x="31115" y="40005"/>
                    <a:pt x="40005" y="30480"/>
                    <a:pt x="40005" y="19685"/>
                  </a:cubicBezTo>
                  <a:cubicBezTo>
                    <a:pt x="40005" y="8255"/>
                    <a:pt x="31115" y="0"/>
                    <a:pt x="20320" y="0"/>
                  </a:cubicBezTo>
                  <a:cubicBezTo>
                    <a:pt x="9525" y="0"/>
                    <a:pt x="0" y="8890"/>
                    <a:pt x="0" y="19685"/>
                  </a:cubicBezTo>
                  <a:cubicBezTo>
                    <a:pt x="635" y="30480"/>
                    <a:pt x="9525" y="40005"/>
                    <a:pt x="20320" y="40005"/>
                  </a:cubicBezTo>
                  <a:close/>
                </a:path>
              </a:pathLst>
            </a:custGeom>
            <a:noFill/>
            <a:ln w="6350" cap="flat">
              <a:noFill/>
              <a:prstDash val="solid"/>
              <a:miter/>
            </a:ln>
          </p:spPr>
          <p:txBody>
            <a:bodyPr rtlCol="0" anchor="ctr"/>
            <a:lstStyle/>
            <a:p>
              <a:endParaRPr lang="en-GB"/>
            </a:p>
          </p:txBody>
        </p:sp>
        <p:grpSp>
          <p:nvGrpSpPr>
            <p:cNvPr id="912" name="Graphic 79">
              <a:extLst>
                <a:ext uri="{FF2B5EF4-FFF2-40B4-BE49-F238E27FC236}">
                  <a16:creationId xmlns:a16="http://schemas.microsoft.com/office/drawing/2014/main" id="{67A5F86B-8B9B-A6C6-AD1F-B6A9A3EC23CE}"/>
                </a:ext>
              </a:extLst>
            </p:cNvPr>
            <p:cNvGrpSpPr/>
            <p:nvPr/>
          </p:nvGrpSpPr>
          <p:grpSpPr>
            <a:xfrm>
              <a:off x="5645150" y="1931035"/>
              <a:ext cx="901700" cy="622082"/>
              <a:chOff x="5645150" y="1931035"/>
              <a:chExt cx="901700" cy="622082"/>
            </a:xfrm>
            <a:solidFill>
              <a:srgbClr val="002733"/>
            </a:solidFill>
          </p:grpSpPr>
          <p:sp>
            <p:nvSpPr>
              <p:cNvPr id="913" name="Freeform 912">
                <a:extLst>
                  <a:ext uri="{FF2B5EF4-FFF2-40B4-BE49-F238E27FC236}">
                    <a16:creationId xmlns:a16="http://schemas.microsoft.com/office/drawing/2014/main" id="{18A50E6B-D27E-68A2-F323-B1EDBF93A17B}"/>
                  </a:ext>
                </a:extLst>
              </p:cNvPr>
              <p:cNvSpPr/>
              <p:nvPr/>
            </p:nvSpPr>
            <p:spPr>
              <a:xfrm>
                <a:off x="5877559" y="1931035"/>
                <a:ext cx="407035" cy="406400"/>
              </a:xfrm>
              <a:custGeom>
                <a:avLst/>
                <a:gdLst>
                  <a:gd name="connsiteX0" fmla="*/ 203200 w 407035"/>
                  <a:gd name="connsiteY0" fmla="*/ 406400 h 406400"/>
                  <a:gd name="connsiteX1" fmla="*/ 407035 w 407035"/>
                  <a:gd name="connsiteY1" fmla="*/ 203200 h 406400"/>
                  <a:gd name="connsiteX2" fmla="*/ 203835 w 407035"/>
                  <a:gd name="connsiteY2" fmla="*/ 0 h 406400"/>
                  <a:gd name="connsiteX3" fmla="*/ 0 w 407035"/>
                  <a:gd name="connsiteY3" fmla="*/ 203200 h 406400"/>
                  <a:gd name="connsiteX4" fmla="*/ 203200 w 407035"/>
                  <a:gd name="connsiteY4" fmla="*/ 406400 h 406400"/>
                  <a:gd name="connsiteX5" fmla="*/ 204470 w 407035"/>
                  <a:gd name="connsiteY5" fmla="*/ 16510 h 406400"/>
                  <a:gd name="connsiteX6" fmla="*/ 389890 w 407035"/>
                  <a:gd name="connsiteY6" fmla="*/ 203200 h 406400"/>
                  <a:gd name="connsiteX7" fmla="*/ 203200 w 407035"/>
                  <a:gd name="connsiteY7" fmla="*/ 389255 h 406400"/>
                  <a:gd name="connsiteX8" fmla="*/ 17145 w 407035"/>
                  <a:gd name="connsiteY8" fmla="*/ 202565 h 406400"/>
                  <a:gd name="connsiteX9" fmla="*/ 204470 w 407035"/>
                  <a:gd name="connsiteY9" fmla="*/ 1651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035" h="406400">
                    <a:moveTo>
                      <a:pt x="203200" y="406400"/>
                    </a:moveTo>
                    <a:cubicBezTo>
                      <a:pt x="316230" y="406400"/>
                      <a:pt x="407035" y="315595"/>
                      <a:pt x="407035" y="203200"/>
                    </a:cubicBezTo>
                    <a:cubicBezTo>
                      <a:pt x="407035" y="89535"/>
                      <a:pt x="315595" y="0"/>
                      <a:pt x="203835" y="0"/>
                    </a:cubicBezTo>
                    <a:cubicBezTo>
                      <a:pt x="91440" y="0"/>
                      <a:pt x="0" y="90805"/>
                      <a:pt x="0" y="203200"/>
                    </a:cubicBezTo>
                    <a:cubicBezTo>
                      <a:pt x="0" y="315595"/>
                      <a:pt x="90170" y="406400"/>
                      <a:pt x="203200" y="406400"/>
                    </a:cubicBezTo>
                    <a:close/>
                    <a:moveTo>
                      <a:pt x="204470" y="16510"/>
                    </a:moveTo>
                    <a:cubicBezTo>
                      <a:pt x="305435" y="16510"/>
                      <a:pt x="389890" y="99060"/>
                      <a:pt x="389890" y="203200"/>
                    </a:cubicBezTo>
                    <a:cubicBezTo>
                      <a:pt x="389890" y="306705"/>
                      <a:pt x="305435" y="389890"/>
                      <a:pt x="203200" y="389255"/>
                    </a:cubicBezTo>
                    <a:cubicBezTo>
                      <a:pt x="99695" y="388620"/>
                      <a:pt x="17145" y="304800"/>
                      <a:pt x="17145" y="202565"/>
                    </a:cubicBezTo>
                    <a:cubicBezTo>
                      <a:pt x="17780" y="99695"/>
                      <a:pt x="101600" y="16510"/>
                      <a:pt x="204470" y="16510"/>
                    </a:cubicBezTo>
                    <a:close/>
                  </a:path>
                </a:pathLst>
              </a:custGeom>
              <a:solidFill>
                <a:srgbClr val="002733"/>
              </a:solidFill>
              <a:ln w="6350" cap="flat">
                <a:noFill/>
                <a:prstDash val="solid"/>
                <a:miter/>
              </a:ln>
            </p:spPr>
            <p:txBody>
              <a:bodyPr rtlCol="0" anchor="ctr"/>
              <a:lstStyle/>
              <a:p>
                <a:endParaRPr lang="en-GB"/>
              </a:p>
            </p:txBody>
          </p:sp>
          <p:sp>
            <p:nvSpPr>
              <p:cNvPr id="914" name="Freeform 913">
                <a:extLst>
                  <a:ext uri="{FF2B5EF4-FFF2-40B4-BE49-F238E27FC236}">
                    <a16:creationId xmlns:a16="http://schemas.microsoft.com/office/drawing/2014/main" id="{96D6CBED-6D4D-8C95-A2B4-066F98DC32E8}"/>
                  </a:ext>
                </a:extLst>
              </p:cNvPr>
              <p:cNvSpPr/>
              <p:nvPr/>
            </p:nvSpPr>
            <p:spPr>
              <a:xfrm>
                <a:off x="5829934" y="2425700"/>
                <a:ext cx="160655" cy="127417"/>
              </a:xfrm>
              <a:custGeom>
                <a:avLst/>
                <a:gdLst>
                  <a:gd name="connsiteX0" fmla="*/ 123190 w 160655"/>
                  <a:gd name="connsiteY0" fmla="*/ 0 h 127417"/>
                  <a:gd name="connsiteX1" fmla="*/ 118110 w 160655"/>
                  <a:gd name="connsiteY1" fmla="*/ 2540 h 127417"/>
                  <a:gd name="connsiteX2" fmla="*/ 72390 w 160655"/>
                  <a:gd name="connsiteY2" fmla="*/ 46990 h 127417"/>
                  <a:gd name="connsiteX3" fmla="*/ 69215 w 160655"/>
                  <a:gd name="connsiteY3" fmla="*/ 48895 h 127417"/>
                  <a:gd name="connsiteX4" fmla="*/ 31115 w 160655"/>
                  <a:gd name="connsiteY4" fmla="*/ 48895 h 127417"/>
                  <a:gd name="connsiteX5" fmla="*/ 29210 w 160655"/>
                  <a:gd name="connsiteY5" fmla="*/ 48260 h 127417"/>
                  <a:gd name="connsiteX6" fmla="*/ 29210 w 160655"/>
                  <a:gd name="connsiteY6" fmla="*/ 36830 h 127417"/>
                  <a:gd name="connsiteX7" fmla="*/ 29210 w 160655"/>
                  <a:gd name="connsiteY7" fmla="*/ 24765 h 127417"/>
                  <a:gd name="connsiteX8" fmla="*/ 29210 w 160655"/>
                  <a:gd name="connsiteY8" fmla="*/ 12700 h 127417"/>
                  <a:gd name="connsiteX9" fmla="*/ 29210 w 160655"/>
                  <a:gd name="connsiteY9" fmla="*/ 1270 h 127417"/>
                  <a:gd name="connsiteX10" fmla="*/ 0 w 160655"/>
                  <a:gd name="connsiteY10" fmla="*/ 1270 h 127417"/>
                  <a:gd name="connsiteX11" fmla="*/ 0 w 160655"/>
                  <a:gd name="connsiteY11" fmla="*/ 127000 h 127417"/>
                  <a:gd name="connsiteX12" fmla="*/ 29210 w 160655"/>
                  <a:gd name="connsiteY12" fmla="*/ 126365 h 127417"/>
                  <a:gd name="connsiteX13" fmla="*/ 29210 w 160655"/>
                  <a:gd name="connsiteY13" fmla="*/ 78105 h 127417"/>
                  <a:gd name="connsiteX14" fmla="*/ 32385 w 160655"/>
                  <a:gd name="connsiteY14" fmla="*/ 78105 h 127417"/>
                  <a:gd name="connsiteX15" fmla="*/ 65405 w 160655"/>
                  <a:gd name="connsiteY15" fmla="*/ 78105 h 127417"/>
                  <a:gd name="connsiteX16" fmla="*/ 71755 w 160655"/>
                  <a:gd name="connsiteY16" fmla="*/ 80645 h 127417"/>
                  <a:gd name="connsiteX17" fmla="*/ 117475 w 160655"/>
                  <a:gd name="connsiteY17" fmla="*/ 125095 h 127417"/>
                  <a:gd name="connsiteX18" fmla="*/ 122555 w 160655"/>
                  <a:gd name="connsiteY18" fmla="*/ 127000 h 127417"/>
                  <a:gd name="connsiteX19" fmla="*/ 156845 w 160655"/>
                  <a:gd name="connsiteY19" fmla="*/ 127000 h 127417"/>
                  <a:gd name="connsiteX20" fmla="*/ 159385 w 160655"/>
                  <a:gd name="connsiteY20" fmla="*/ 127000 h 127417"/>
                  <a:gd name="connsiteX21" fmla="*/ 160020 w 160655"/>
                  <a:gd name="connsiteY21" fmla="*/ 126365 h 127417"/>
                  <a:gd name="connsiteX22" fmla="*/ 96520 w 160655"/>
                  <a:gd name="connsiteY22" fmla="*/ 65405 h 127417"/>
                  <a:gd name="connsiteX23" fmla="*/ 160655 w 160655"/>
                  <a:gd name="connsiteY23" fmla="*/ 1905 h 127417"/>
                  <a:gd name="connsiteX24" fmla="*/ 160655 w 160655"/>
                  <a:gd name="connsiteY24" fmla="*/ 0 h 127417"/>
                  <a:gd name="connsiteX25" fmla="*/ 157480 w 160655"/>
                  <a:gd name="connsiteY25" fmla="*/ 0 h 127417"/>
                  <a:gd name="connsiteX26" fmla="*/ 123190 w 160655"/>
                  <a:gd name="connsiteY26" fmla="*/ 0 h 12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0655" h="127417">
                    <a:moveTo>
                      <a:pt x="123190" y="0"/>
                    </a:moveTo>
                    <a:cubicBezTo>
                      <a:pt x="121285" y="0"/>
                      <a:pt x="119380" y="635"/>
                      <a:pt x="118110" y="2540"/>
                    </a:cubicBezTo>
                    <a:cubicBezTo>
                      <a:pt x="102870" y="17145"/>
                      <a:pt x="87630" y="32385"/>
                      <a:pt x="72390" y="46990"/>
                    </a:cubicBezTo>
                    <a:cubicBezTo>
                      <a:pt x="71755" y="48260"/>
                      <a:pt x="70485" y="48895"/>
                      <a:pt x="69215" y="48895"/>
                    </a:cubicBezTo>
                    <a:cubicBezTo>
                      <a:pt x="56515" y="48895"/>
                      <a:pt x="43815" y="48895"/>
                      <a:pt x="31115" y="48895"/>
                    </a:cubicBezTo>
                    <a:cubicBezTo>
                      <a:pt x="30480" y="48895"/>
                      <a:pt x="29845" y="48260"/>
                      <a:pt x="29210" y="48260"/>
                    </a:cubicBezTo>
                    <a:lnTo>
                      <a:pt x="29210" y="36830"/>
                    </a:lnTo>
                    <a:cubicBezTo>
                      <a:pt x="29210" y="32385"/>
                      <a:pt x="29210" y="28575"/>
                      <a:pt x="29210" y="24765"/>
                    </a:cubicBezTo>
                    <a:cubicBezTo>
                      <a:pt x="29210" y="20955"/>
                      <a:pt x="29210" y="16510"/>
                      <a:pt x="29210" y="12700"/>
                    </a:cubicBezTo>
                    <a:cubicBezTo>
                      <a:pt x="29210" y="8890"/>
                      <a:pt x="29210" y="5080"/>
                      <a:pt x="29210" y="1270"/>
                    </a:cubicBezTo>
                    <a:lnTo>
                      <a:pt x="0" y="1270"/>
                    </a:lnTo>
                    <a:lnTo>
                      <a:pt x="0" y="127000"/>
                    </a:lnTo>
                    <a:cubicBezTo>
                      <a:pt x="2540" y="127635"/>
                      <a:pt x="26670" y="127635"/>
                      <a:pt x="29210" y="126365"/>
                    </a:cubicBezTo>
                    <a:lnTo>
                      <a:pt x="29210" y="78105"/>
                    </a:lnTo>
                    <a:lnTo>
                      <a:pt x="32385" y="78105"/>
                    </a:lnTo>
                    <a:cubicBezTo>
                      <a:pt x="43180" y="78105"/>
                      <a:pt x="53975" y="78105"/>
                      <a:pt x="65405" y="78105"/>
                    </a:cubicBezTo>
                    <a:cubicBezTo>
                      <a:pt x="67945" y="78105"/>
                      <a:pt x="69850" y="78740"/>
                      <a:pt x="71755" y="80645"/>
                    </a:cubicBezTo>
                    <a:cubicBezTo>
                      <a:pt x="86995" y="95250"/>
                      <a:pt x="102235" y="110490"/>
                      <a:pt x="117475" y="125095"/>
                    </a:cubicBezTo>
                    <a:cubicBezTo>
                      <a:pt x="118745" y="127000"/>
                      <a:pt x="120015" y="127000"/>
                      <a:pt x="122555" y="127000"/>
                    </a:cubicBezTo>
                    <a:cubicBezTo>
                      <a:pt x="133985" y="127000"/>
                      <a:pt x="145415" y="127000"/>
                      <a:pt x="156845" y="127000"/>
                    </a:cubicBezTo>
                    <a:lnTo>
                      <a:pt x="159385" y="127000"/>
                    </a:lnTo>
                    <a:cubicBezTo>
                      <a:pt x="159385" y="127000"/>
                      <a:pt x="159385" y="127000"/>
                      <a:pt x="160020" y="126365"/>
                    </a:cubicBezTo>
                    <a:cubicBezTo>
                      <a:pt x="139065" y="106045"/>
                      <a:pt x="117475" y="85725"/>
                      <a:pt x="96520" y="65405"/>
                    </a:cubicBezTo>
                    <a:cubicBezTo>
                      <a:pt x="118110" y="43815"/>
                      <a:pt x="139700" y="22860"/>
                      <a:pt x="160655" y="1905"/>
                    </a:cubicBezTo>
                    <a:lnTo>
                      <a:pt x="160655" y="0"/>
                    </a:lnTo>
                    <a:lnTo>
                      <a:pt x="157480" y="0"/>
                    </a:lnTo>
                    <a:cubicBezTo>
                      <a:pt x="146050" y="0"/>
                      <a:pt x="134620" y="0"/>
                      <a:pt x="123190" y="0"/>
                    </a:cubicBezTo>
                    <a:close/>
                  </a:path>
                </a:pathLst>
              </a:custGeom>
              <a:solidFill>
                <a:srgbClr val="002733"/>
              </a:solidFill>
              <a:ln w="6350" cap="flat">
                <a:noFill/>
                <a:prstDash val="solid"/>
                <a:miter/>
              </a:ln>
            </p:spPr>
            <p:txBody>
              <a:bodyPr rtlCol="0" anchor="ctr"/>
              <a:lstStyle/>
              <a:p>
                <a:endParaRPr lang="en-GB"/>
              </a:p>
            </p:txBody>
          </p:sp>
          <p:sp>
            <p:nvSpPr>
              <p:cNvPr id="915" name="Freeform 914">
                <a:extLst>
                  <a:ext uri="{FF2B5EF4-FFF2-40B4-BE49-F238E27FC236}">
                    <a16:creationId xmlns:a16="http://schemas.microsoft.com/office/drawing/2014/main" id="{93032FB9-47D6-A3CC-A472-D4FFBE53908F}"/>
                  </a:ext>
                </a:extLst>
              </p:cNvPr>
              <p:cNvSpPr/>
              <p:nvPr/>
            </p:nvSpPr>
            <p:spPr>
              <a:xfrm>
                <a:off x="5645150" y="2426309"/>
                <a:ext cx="151606" cy="126390"/>
              </a:xfrm>
              <a:custGeom>
                <a:avLst/>
                <a:gdLst>
                  <a:gd name="connsiteX0" fmla="*/ 132715 w 151606"/>
                  <a:gd name="connsiteY0" fmla="*/ 49555 h 126390"/>
                  <a:gd name="connsiteX1" fmla="*/ 123825 w 151606"/>
                  <a:gd name="connsiteY1" fmla="*/ 48285 h 126390"/>
                  <a:gd name="connsiteX2" fmla="*/ 41275 w 151606"/>
                  <a:gd name="connsiteY2" fmla="*/ 48285 h 126390"/>
                  <a:gd name="connsiteX3" fmla="*/ 38735 w 151606"/>
                  <a:gd name="connsiteY3" fmla="*/ 48285 h 126390"/>
                  <a:gd name="connsiteX4" fmla="*/ 32385 w 151606"/>
                  <a:gd name="connsiteY4" fmla="*/ 41935 h 126390"/>
                  <a:gd name="connsiteX5" fmla="*/ 32385 w 151606"/>
                  <a:gd name="connsiteY5" fmla="*/ 39395 h 126390"/>
                  <a:gd name="connsiteX6" fmla="*/ 32385 w 151606"/>
                  <a:gd name="connsiteY6" fmla="*/ 3200 h 126390"/>
                  <a:gd name="connsiteX7" fmla="*/ 32385 w 151606"/>
                  <a:gd name="connsiteY7" fmla="*/ 660 h 126390"/>
                  <a:gd name="connsiteX8" fmla="*/ 31750 w 151606"/>
                  <a:gd name="connsiteY8" fmla="*/ 25 h 126390"/>
                  <a:gd name="connsiteX9" fmla="*/ 3175 w 151606"/>
                  <a:gd name="connsiteY9" fmla="*/ 26695 h 126390"/>
                  <a:gd name="connsiteX10" fmla="*/ 3175 w 151606"/>
                  <a:gd name="connsiteY10" fmla="*/ 50190 h 126390"/>
                  <a:gd name="connsiteX11" fmla="*/ 17780 w 151606"/>
                  <a:gd name="connsiteY11" fmla="*/ 73050 h 126390"/>
                  <a:gd name="connsiteX12" fmla="*/ 31115 w 151606"/>
                  <a:gd name="connsiteY12" fmla="*/ 75590 h 126390"/>
                  <a:gd name="connsiteX13" fmla="*/ 117475 w 151606"/>
                  <a:gd name="connsiteY13" fmla="*/ 75590 h 126390"/>
                  <a:gd name="connsiteX14" fmla="*/ 121285 w 151606"/>
                  <a:gd name="connsiteY14" fmla="*/ 75590 h 126390"/>
                  <a:gd name="connsiteX15" fmla="*/ 121285 w 151606"/>
                  <a:gd name="connsiteY15" fmla="*/ 80670 h 126390"/>
                  <a:gd name="connsiteX16" fmla="*/ 121285 w 151606"/>
                  <a:gd name="connsiteY16" fmla="*/ 93370 h 126390"/>
                  <a:gd name="connsiteX17" fmla="*/ 114935 w 151606"/>
                  <a:gd name="connsiteY17" fmla="*/ 99720 h 126390"/>
                  <a:gd name="connsiteX18" fmla="*/ 112395 w 151606"/>
                  <a:gd name="connsiteY18" fmla="*/ 99720 h 126390"/>
                  <a:gd name="connsiteX19" fmla="*/ 19685 w 151606"/>
                  <a:gd name="connsiteY19" fmla="*/ 99720 h 126390"/>
                  <a:gd name="connsiteX20" fmla="*/ 15875 w 151606"/>
                  <a:gd name="connsiteY20" fmla="*/ 99720 h 126390"/>
                  <a:gd name="connsiteX21" fmla="*/ 0 w 151606"/>
                  <a:gd name="connsiteY21" fmla="*/ 126390 h 126390"/>
                  <a:gd name="connsiteX22" fmla="*/ 2540 w 151606"/>
                  <a:gd name="connsiteY22" fmla="*/ 126390 h 126390"/>
                  <a:gd name="connsiteX23" fmla="*/ 123825 w 151606"/>
                  <a:gd name="connsiteY23" fmla="*/ 126390 h 126390"/>
                  <a:gd name="connsiteX24" fmla="*/ 128905 w 151606"/>
                  <a:gd name="connsiteY24" fmla="*/ 126390 h 126390"/>
                  <a:gd name="connsiteX25" fmla="*/ 151130 w 151606"/>
                  <a:gd name="connsiteY25" fmla="*/ 99720 h 126390"/>
                  <a:gd name="connsiteX26" fmla="*/ 151130 w 151606"/>
                  <a:gd name="connsiteY26" fmla="*/ 73685 h 126390"/>
                  <a:gd name="connsiteX27" fmla="*/ 132715 w 151606"/>
                  <a:gd name="connsiteY27" fmla="*/ 49555 h 126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1606" h="126390">
                    <a:moveTo>
                      <a:pt x="132715" y="49555"/>
                    </a:moveTo>
                    <a:cubicBezTo>
                      <a:pt x="130175" y="48920"/>
                      <a:pt x="127000" y="48285"/>
                      <a:pt x="123825" y="48285"/>
                    </a:cubicBezTo>
                    <a:cubicBezTo>
                      <a:pt x="96520" y="48285"/>
                      <a:pt x="69215" y="48285"/>
                      <a:pt x="41275" y="48285"/>
                    </a:cubicBezTo>
                    <a:cubicBezTo>
                      <a:pt x="40640" y="48285"/>
                      <a:pt x="39370" y="48285"/>
                      <a:pt x="38735" y="48285"/>
                    </a:cubicBezTo>
                    <a:cubicBezTo>
                      <a:pt x="35560" y="48285"/>
                      <a:pt x="33020" y="45745"/>
                      <a:pt x="32385" y="41935"/>
                    </a:cubicBezTo>
                    <a:cubicBezTo>
                      <a:pt x="32385" y="41300"/>
                      <a:pt x="32385" y="40665"/>
                      <a:pt x="32385" y="39395"/>
                    </a:cubicBezTo>
                    <a:lnTo>
                      <a:pt x="32385" y="3200"/>
                    </a:lnTo>
                    <a:lnTo>
                      <a:pt x="32385" y="660"/>
                    </a:lnTo>
                    <a:cubicBezTo>
                      <a:pt x="31750" y="25"/>
                      <a:pt x="31750" y="25"/>
                      <a:pt x="31750" y="25"/>
                    </a:cubicBezTo>
                    <a:cubicBezTo>
                      <a:pt x="16510" y="-610"/>
                      <a:pt x="3810" y="10820"/>
                      <a:pt x="3175" y="26695"/>
                    </a:cubicBezTo>
                    <a:cubicBezTo>
                      <a:pt x="2540" y="34315"/>
                      <a:pt x="2540" y="41935"/>
                      <a:pt x="3175" y="50190"/>
                    </a:cubicBezTo>
                    <a:cubicBezTo>
                      <a:pt x="3175" y="60985"/>
                      <a:pt x="8890" y="67970"/>
                      <a:pt x="17780" y="73050"/>
                    </a:cubicBezTo>
                    <a:cubicBezTo>
                      <a:pt x="22225" y="74955"/>
                      <a:pt x="27305" y="75590"/>
                      <a:pt x="31115" y="75590"/>
                    </a:cubicBezTo>
                    <a:cubicBezTo>
                      <a:pt x="60325" y="75590"/>
                      <a:pt x="88265" y="75590"/>
                      <a:pt x="117475" y="75590"/>
                    </a:cubicBezTo>
                    <a:lnTo>
                      <a:pt x="121285" y="75590"/>
                    </a:lnTo>
                    <a:cubicBezTo>
                      <a:pt x="121285" y="77495"/>
                      <a:pt x="121285" y="78765"/>
                      <a:pt x="121285" y="80670"/>
                    </a:cubicBezTo>
                    <a:cubicBezTo>
                      <a:pt x="121285" y="85115"/>
                      <a:pt x="121920" y="89560"/>
                      <a:pt x="121285" y="93370"/>
                    </a:cubicBezTo>
                    <a:cubicBezTo>
                      <a:pt x="121285" y="97180"/>
                      <a:pt x="118745" y="99720"/>
                      <a:pt x="114935" y="99720"/>
                    </a:cubicBezTo>
                    <a:cubicBezTo>
                      <a:pt x="113665" y="99720"/>
                      <a:pt x="113030" y="99720"/>
                      <a:pt x="112395" y="99720"/>
                    </a:cubicBezTo>
                    <a:lnTo>
                      <a:pt x="19685" y="99720"/>
                    </a:lnTo>
                    <a:lnTo>
                      <a:pt x="15875" y="99720"/>
                    </a:lnTo>
                    <a:cubicBezTo>
                      <a:pt x="10160" y="108610"/>
                      <a:pt x="5715" y="116865"/>
                      <a:pt x="0" y="126390"/>
                    </a:cubicBezTo>
                    <a:cubicBezTo>
                      <a:pt x="1270" y="126390"/>
                      <a:pt x="1905" y="126390"/>
                      <a:pt x="2540" y="126390"/>
                    </a:cubicBezTo>
                    <a:cubicBezTo>
                      <a:pt x="43180" y="126390"/>
                      <a:pt x="83185" y="126390"/>
                      <a:pt x="123825" y="126390"/>
                    </a:cubicBezTo>
                    <a:cubicBezTo>
                      <a:pt x="125095" y="126390"/>
                      <a:pt x="127000" y="126390"/>
                      <a:pt x="128905" y="126390"/>
                    </a:cubicBezTo>
                    <a:cubicBezTo>
                      <a:pt x="141605" y="123850"/>
                      <a:pt x="151130" y="113690"/>
                      <a:pt x="151130" y="99720"/>
                    </a:cubicBezTo>
                    <a:cubicBezTo>
                      <a:pt x="151765" y="90830"/>
                      <a:pt x="151765" y="82575"/>
                      <a:pt x="151130" y="73685"/>
                    </a:cubicBezTo>
                    <a:cubicBezTo>
                      <a:pt x="151765" y="60985"/>
                      <a:pt x="144145" y="52095"/>
                      <a:pt x="132715" y="49555"/>
                    </a:cubicBezTo>
                    <a:close/>
                  </a:path>
                </a:pathLst>
              </a:custGeom>
              <a:solidFill>
                <a:srgbClr val="002733"/>
              </a:solidFill>
              <a:ln w="6350" cap="flat">
                <a:noFill/>
                <a:prstDash val="solid"/>
                <a:miter/>
              </a:ln>
            </p:spPr>
            <p:txBody>
              <a:bodyPr rtlCol="0" anchor="ctr"/>
              <a:lstStyle/>
              <a:p>
                <a:endParaRPr lang="en-GB"/>
              </a:p>
            </p:txBody>
          </p:sp>
          <p:sp>
            <p:nvSpPr>
              <p:cNvPr id="916" name="Freeform 915">
                <a:extLst>
                  <a:ext uri="{FF2B5EF4-FFF2-40B4-BE49-F238E27FC236}">
                    <a16:creationId xmlns:a16="http://schemas.microsoft.com/office/drawing/2014/main" id="{0E4D63DE-8651-E8B9-EC0E-5A8355BC5BF7}"/>
                  </a:ext>
                </a:extLst>
              </p:cNvPr>
              <p:cNvSpPr/>
              <p:nvPr/>
            </p:nvSpPr>
            <p:spPr>
              <a:xfrm>
                <a:off x="5690234" y="2425858"/>
                <a:ext cx="101600" cy="24606"/>
              </a:xfrm>
              <a:custGeom>
                <a:avLst/>
                <a:gdLst>
                  <a:gd name="connsiteX0" fmla="*/ 85725 w 101600"/>
                  <a:gd name="connsiteY0" fmla="*/ 24606 h 24606"/>
                  <a:gd name="connsiteX1" fmla="*/ 101600 w 101600"/>
                  <a:gd name="connsiteY1" fmla="*/ 476 h 24606"/>
                  <a:gd name="connsiteX2" fmla="*/ 0 w 101600"/>
                  <a:gd name="connsiteY2" fmla="*/ 476 h 24606"/>
                  <a:gd name="connsiteX3" fmla="*/ 15240 w 101600"/>
                  <a:gd name="connsiteY3" fmla="*/ 24606 h 24606"/>
                  <a:gd name="connsiteX4" fmla="*/ 85725 w 101600"/>
                  <a:gd name="connsiteY4" fmla="*/ 24606 h 24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0" h="24606">
                    <a:moveTo>
                      <a:pt x="85725" y="24606"/>
                    </a:moveTo>
                    <a:cubicBezTo>
                      <a:pt x="91440" y="16351"/>
                      <a:pt x="95885" y="8731"/>
                      <a:pt x="101600" y="476"/>
                    </a:cubicBezTo>
                    <a:cubicBezTo>
                      <a:pt x="97155" y="-159"/>
                      <a:pt x="1905" y="-159"/>
                      <a:pt x="0" y="476"/>
                    </a:cubicBezTo>
                    <a:cubicBezTo>
                      <a:pt x="5080" y="8731"/>
                      <a:pt x="10160" y="16986"/>
                      <a:pt x="15240" y="24606"/>
                    </a:cubicBezTo>
                    <a:lnTo>
                      <a:pt x="85725" y="24606"/>
                    </a:lnTo>
                    <a:close/>
                  </a:path>
                </a:pathLst>
              </a:custGeom>
              <a:solidFill>
                <a:srgbClr val="002733"/>
              </a:solidFill>
              <a:ln w="6350" cap="flat">
                <a:noFill/>
                <a:prstDash val="solid"/>
                <a:miter/>
              </a:ln>
            </p:spPr>
            <p:txBody>
              <a:bodyPr rtlCol="0" anchor="ctr"/>
              <a:lstStyle/>
              <a:p>
                <a:endParaRPr lang="en-GB"/>
              </a:p>
            </p:txBody>
          </p:sp>
          <p:sp>
            <p:nvSpPr>
              <p:cNvPr id="917" name="Freeform 916">
                <a:extLst>
                  <a:ext uri="{FF2B5EF4-FFF2-40B4-BE49-F238E27FC236}">
                    <a16:creationId xmlns:a16="http://schemas.microsoft.com/office/drawing/2014/main" id="{F7C03183-4754-99F6-CAE5-CEAB8DADBB03}"/>
                  </a:ext>
                </a:extLst>
              </p:cNvPr>
              <p:cNvSpPr/>
              <p:nvPr/>
            </p:nvSpPr>
            <p:spPr>
              <a:xfrm>
                <a:off x="6196329" y="2425700"/>
                <a:ext cx="153670" cy="126364"/>
              </a:xfrm>
              <a:custGeom>
                <a:avLst/>
                <a:gdLst>
                  <a:gd name="connsiteX0" fmla="*/ 108585 w 153670"/>
                  <a:gd name="connsiteY0" fmla="*/ 0 h 126364"/>
                  <a:gd name="connsiteX1" fmla="*/ 94615 w 153670"/>
                  <a:gd name="connsiteY1" fmla="*/ 0 h 126364"/>
                  <a:gd name="connsiteX2" fmla="*/ 3810 w 153670"/>
                  <a:gd name="connsiteY2" fmla="*/ 0 h 126364"/>
                  <a:gd name="connsiteX3" fmla="*/ 0 w 153670"/>
                  <a:gd name="connsiteY3" fmla="*/ 0 h 126364"/>
                  <a:gd name="connsiteX4" fmla="*/ 0 w 153670"/>
                  <a:gd name="connsiteY4" fmla="*/ 126365 h 126364"/>
                  <a:gd name="connsiteX5" fmla="*/ 3175 w 153670"/>
                  <a:gd name="connsiteY5" fmla="*/ 126365 h 126364"/>
                  <a:gd name="connsiteX6" fmla="*/ 109220 w 153670"/>
                  <a:gd name="connsiteY6" fmla="*/ 126365 h 126364"/>
                  <a:gd name="connsiteX7" fmla="*/ 118110 w 153670"/>
                  <a:gd name="connsiteY7" fmla="*/ 125730 h 126364"/>
                  <a:gd name="connsiteX8" fmla="*/ 153670 w 153670"/>
                  <a:gd name="connsiteY8" fmla="*/ 81915 h 126364"/>
                  <a:gd name="connsiteX9" fmla="*/ 153670 w 153670"/>
                  <a:gd name="connsiteY9" fmla="*/ 45085 h 126364"/>
                  <a:gd name="connsiteX10" fmla="*/ 140970 w 153670"/>
                  <a:gd name="connsiteY10" fmla="*/ 13335 h 126364"/>
                  <a:gd name="connsiteX11" fmla="*/ 108585 w 153670"/>
                  <a:gd name="connsiteY11" fmla="*/ 0 h 126364"/>
                  <a:gd name="connsiteX12" fmla="*/ 123825 w 153670"/>
                  <a:gd name="connsiteY12" fmla="*/ 83820 h 126364"/>
                  <a:gd name="connsiteX13" fmla="*/ 109220 w 153670"/>
                  <a:gd name="connsiteY13" fmla="*/ 98425 h 126364"/>
                  <a:gd name="connsiteX14" fmla="*/ 32385 w 153670"/>
                  <a:gd name="connsiteY14" fmla="*/ 98425 h 126364"/>
                  <a:gd name="connsiteX15" fmla="*/ 29845 w 153670"/>
                  <a:gd name="connsiteY15" fmla="*/ 97790 h 126364"/>
                  <a:gd name="connsiteX16" fmla="*/ 29845 w 153670"/>
                  <a:gd name="connsiteY16" fmla="*/ 28575 h 126364"/>
                  <a:gd name="connsiteX17" fmla="*/ 31750 w 153670"/>
                  <a:gd name="connsiteY17" fmla="*/ 28575 h 126364"/>
                  <a:gd name="connsiteX18" fmla="*/ 109220 w 153670"/>
                  <a:gd name="connsiteY18" fmla="*/ 28575 h 126364"/>
                  <a:gd name="connsiteX19" fmla="*/ 123825 w 153670"/>
                  <a:gd name="connsiteY19" fmla="*/ 42545 h 126364"/>
                  <a:gd name="connsiteX20" fmla="*/ 123825 w 153670"/>
                  <a:gd name="connsiteY20" fmla="*/ 83820 h 1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3670" h="126364">
                    <a:moveTo>
                      <a:pt x="108585" y="0"/>
                    </a:moveTo>
                    <a:cubicBezTo>
                      <a:pt x="103505" y="0"/>
                      <a:pt x="99695" y="0"/>
                      <a:pt x="94615" y="0"/>
                    </a:cubicBezTo>
                    <a:lnTo>
                      <a:pt x="3810" y="0"/>
                    </a:lnTo>
                    <a:cubicBezTo>
                      <a:pt x="2540" y="0"/>
                      <a:pt x="1270" y="0"/>
                      <a:pt x="0" y="0"/>
                    </a:cubicBezTo>
                    <a:lnTo>
                      <a:pt x="0" y="126365"/>
                    </a:lnTo>
                    <a:cubicBezTo>
                      <a:pt x="1270" y="126365"/>
                      <a:pt x="1905" y="126365"/>
                      <a:pt x="3175" y="126365"/>
                    </a:cubicBezTo>
                    <a:cubicBezTo>
                      <a:pt x="38735" y="126365"/>
                      <a:pt x="74295" y="126365"/>
                      <a:pt x="109220" y="126365"/>
                    </a:cubicBezTo>
                    <a:cubicBezTo>
                      <a:pt x="112395" y="126365"/>
                      <a:pt x="115570" y="126365"/>
                      <a:pt x="118110" y="125730"/>
                    </a:cubicBezTo>
                    <a:cubicBezTo>
                      <a:pt x="139065" y="120650"/>
                      <a:pt x="153035" y="103505"/>
                      <a:pt x="153670" y="81915"/>
                    </a:cubicBezTo>
                    <a:cubicBezTo>
                      <a:pt x="153670" y="69215"/>
                      <a:pt x="153670" y="57785"/>
                      <a:pt x="153670" y="45085"/>
                    </a:cubicBezTo>
                    <a:cubicBezTo>
                      <a:pt x="153670" y="33020"/>
                      <a:pt x="149225" y="22225"/>
                      <a:pt x="140970" y="13335"/>
                    </a:cubicBezTo>
                    <a:cubicBezTo>
                      <a:pt x="132715" y="4445"/>
                      <a:pt x="121920" y="635"/>
                      <a:pt x="108585" y="0"/>
                    </a:cubicBezTo>
                    <a:close/>
                    <a:moveTo>
                      <a:pt x="123825" y="83820"/>
                    </a:moveTo>
                    <a:cubicBezTo>
                      <a:pt x="123825" y="92710"/>
                      <a:pt x="117475" y="98425"/>
                      <a:pt x="109220" y="98425"/>
                    </a:cubicBezTo>
                    <a:cubicBezTo>
                      <a:pt x="83820" y="98425"/>
                      <a:pt x="57785" y="98425"/>
                      <a:pt x="32385" y="98425"/>
                    </a:cubicBezTo>
                    <a:cubicBezTo>
                      <a:pt x="31750" y="98425"/>
                      <a:pt x="31115" y="98425"/>
                      <a:pt x="29845" y="97790"/>
                    </a:cubicBezTo>
                    <a:lnTo>
                      <a:pt x="29845" y="28575"/>
                    </a:lnTo>
                    <a:cubicBezTo>
                      <a:pt x="30480" y="28575"/>
                      <a:pt x="31115" y="28575"/>
                      <a:pt x="31750" y="28575"/>
                    </a:cubicBezTo>
                    <a:cubicBezTo>
                      <a:pt x="57785" y="28575"/>
                      <a:pt x="83820" y="28575"/>
                      <a:pt x="109220" y="28575"/>
                    </a:cubicBezTo>
                    <a:cubicBezTo>
                      <a:pt x="117475" y="28575"/>
                      <a:pt x="123825" y="34925"/>
                      <a:pt x="123825" y="42545"/>
                    </a:cubicBezTo>
                    <a:cubicBezTo>
                      <a:pt x="123825" y="56515"/>
                      <a:pt x="123825" y="69850"/>
                      <a:pt x="123825" y="83820"/>
                    </a:cubicBezTo>
                    <a:close/>
                  </a:path>
                </a:pathLst>
              </a:custGeom>
              <a:solidFill>
                <a:srgbClr val="002733"/>
              </a:solidFill>
              <a:ln w="6350" cap="flat">
                <a:noFill/>
                <a:prstDash val="solid"/>
                <a:miter/>
              </a:ln>
            </p:spPr>
            <p:txBody>
              <a:bodyPr rtlCol="0" anchor="ctr"/>
              <a:lstStyle/>
              <a:p>
                <a:endParaRPr lang="en-GB"/>
              </a:p>
            </p:txBody>
          </p:sp>
          <p:sp>
            <p:nvSpPr>
              <p:cNvPr id="918" name="Freeform 917">
                <a:extLst>
                  <a:ext uri="{FF2B5EF4-FFF2-40B4-BE49-F238E27FC236}">
                    <a16:creationId xmlns:a16="http://schemas.microsoft.com/office/drawing/2014/main" id="{130F2862-14E9-E4A4-D109-0684DCCFE3EB}"/>
                  </a:ext>
                </a:extLst>
              </p:cNvPr>
              <p:cNvSpPr/>
              <p:nvPr/>
            </p:nvSpPr>
            <p:spPr>
              <a:xfrm>
                <a:off x="6001384" y="2425700"/>
                <a:ext cx="159385" cy="126012"/>
              </a:xfrm>
              <a:custGeom>
                <a:avLst/>
                <a:gdLst>
                  <a:gd name="connsiteX0" fmla="*/ 113665 w 159385"/>
                  <a:gd name="connsiteY0" fmla="*/ 0 h 126012"/>
                  <a:gd name="connsiteX1" fmla="*/ 45720 w 159385"/>
                  <a:gd name="connsiteY1" fmla="*/ 0 h 126012"/>
                  <a:gd name="connsiteX2" fmla="*/ 37465 w 159385"/>
                  <a:gd name="connsiteY2" fmla="*/ 635 h 126012"/>
                  <a:gd name="connsiteX3" fmla="*/ 0 w 159385"/>
                  <a:gd name="connsiteY3" fmla="*/ 45085 h 126012"/>
                  <a:gd name="connsiteX4" fmla="*/ 0 w 159385"/>
                  <a:gd name="connsiteY4" fmla="*/ 81280 h 126012"/>
                  <a:gd name="connsiteX5" fmla="*/ 8255 w 159385"/>
                  <a:gd name="connsiteY5" fmla="*/ 107950 h 126012"/>
                  <a:gd name="connsiteX6" fmla="*/ 43180 w 159385"/>
                  <a:gd name="connsiteY6" fmla="*/ 125730 h 126012"/>
                  <a:gd name="connsiteX7" fmla="*/ 79375 w 159385"/>
                  <a:gd name="connsiteY7" fmla="*/ 125730 h 126012"/>
                  <a:gd name="connsiteX8" fmla="*/ 113665 w 159385"/>
                  <a:gd name="connsiteY8" fmla="*/ 125730 h 126012"/>
                  <a:gd name="connsiteX9" fmla="*/ 122555 w 159385"/>
                  <a:gd name="connsiteY9" fmla="*/ 125095 h 126012"/>
                  <a:gd name="connsiteX10" fmla="*/ 159385 w 159385"/>
                  <a:gd name="connsiteY10" fmla="*/ 81915 h 126012"/>
                  <a:gd name="connsiteX11" fmla="*/ 159385 w 159385"/>
                  <a:gd name="connsiteY11" fmla="*/ 44450 h 126012"/>
                  <a:gd name="connsiteX12" fmla="*/ 152400 w 159385"/>
                  <a:gd name="connsiteY12" fmla="*/ 20320 h 126012"/>
                  <a:gd name="connsiteX13" fmla="*/ 113665 w 159385"/>
                  <a:gd name="connsiteY13" fmla="*/ 0 h 126012"/>
                  <a:gd name="connsiteX14" fmla="*/ 129540 w 159385"/>
                  <a:gd name="connsiteY14" fmla="*/ 83820 h 126012"/>
                  <a:gd name="connsiteX15" fmla="*/ 115570 w 159385"/>
                  <a:gd name="connsiteY15" fmla="*/ 97790 h 126012"/>
                  <a:gd name="connsiteX16" fmla="*/ 99060 w 159385"/>
                  <a:gd name="connsiteY16" fmla="*/ 97790 h 126012"/>
                  <a:gd name="connsiteX17" fmla="*/ 80010 w 159385"/>
                  <a:gd name="connsiteY17" fmla="*/ 97790 h 126012"/>
                  <a:gd name="connsiteX18" fmla="*/ 44450 w 159385"/>
                  <a:gd name="connsiteY18" fmla="*/ 97790 h 126012"/>
                  <a:gd name="connsiteX19" fmla="*/ 30480 w 159385"/>
                  <a:gd name="connsiteY19" fmla="*/ 86995 h 126012"/>
                  <a:gd name="connsiteX20" fmla="*/ 29845 w 159385"/>
                  <a:gd name="connsiteY20" fmla="*/ 81280 h 126012"/>
                  <a:gd name="connsiteX21" fmla="*/ 29845 w 159385"/>
                  <a:gd name="connsiteY21" fmla="*/ 43180 h 126012"/>
                  <a:gd name="connsiteX22" fmla="*/ 31115 w 159385"/>
                  <a:gd name="connsiteY22" fmla="*/ 36195 h 126012"/>
                  <a:gd name="connsiteX23" fmla="*/ 43815 w 159385"/>
                  <a:gd name="connsiteY23" fmla="*/ 27305 h 126012"/>
                  <a:gd name="connsiteX24" fmla="*/ 45085 w 159385"/>
                  <a:gd name="connsiteY24" fmla="*/ 27305 h 126012"/>
                  <a:gd name="connsiteX25" fmla="*/ 114300 w 159385"/>
                  <a:gd name="connsiteY25" fmla="*/ 27305 h 126012"/>
                  <a:gd name="connsiteX26" fmla="*/ 121285 w 159385"/>
                  <a:gd name="connsiteY26" fmla="*/ 28575 h 126012"/>
                  <a:gd name="connsiteX27" fmla="*/ 129540 w 159385"/>
                  <a:gd name="connsiteY27" fmla="*/ 41275 h 126012"/>
                  <a:gd name="connsiteX28" fmla="*/ 129540 w 159385"/>
                  <a:gd name="connsiteY28" fmla="*/ 83820 h 12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9385" h="126012">
                    <a:moveTo>
                      <a:pt x="113665" y="0"/>
                    </a:moveTo>
                    <a:cubicBezTo>
                      <a:pt x="90805" y="0"/>
                      <a:pt x="68580" y="0"/>
                      <a:pt x="45720" y="0"/>
                    </a:cubicBezTo>
                    <a:cubicBezTo>
                      <a:pt x="43180" y="0"/>
                      <a:pt x="40005" y="635"/>
                      <a:pt x="37465" y="635"/>
                    </a:cubicBezTo>
                    <a:cubicBezTo>
                      <a:pt x="15875" y="4445"/>
                      <a:pt x="635" y="22225"/>
                      <a:pt x="0" y="45085"/>
                    </a:cubicBezTo>
                    <a:cubicBezTo>
                      <a:pt x="0" y="56515"/>
                      <a:pt x="0" y="69215"/>
                      <a:pt x="0" y="81280"/>
                    </a:cubicBezTo>
                    <a:cubicBezTo>
                      <a:pt x="0" y="91440"/>
                      <a:pt x="3175" y="99695"/>
                      <a:pt x="8255" y="107950"/>
                    </a:cubicBezTo>
                    <a:cubicBezTo>
                      <a:pt x="16510" y="119380"/>
                      <a:pt x="29210" y="125730"/>
                      <a:pt x="43180" y="125730"/>
                    </a:cubicBezTo>
                    <a:cubicBezTo>
                      <a:pt x="55245" y="126365"/>
                      <a:pt x="67945" y="125730"/>
                      <a:pt x="79375" y="125730"/>
                    </a:cubicBezTo>
                    <a:cubicBezTo>
                      <a:pt x="90805" y="125730"/>
                      <a:pt x="102870" y="125730"/>
                      <a:pt x="113665" y="125730"/>
                    </a:cubicBezTo>
                    <a:cubicBezTo>
                      <a:pt x="116840" y="125730"/>
                      <a:pt x="120015" y="125730"/>
                      <a:pt x="122555" y="125095"/>
                    </a:cubicBezTo>
                    <a:cubicBezTo>
                      <a:pt x="143510" y="121920"/>
                      <a:pt x="159385" y="103505"/>
                      <a:pt x="159385" y="81915"/>
                    </a:cubicBezTo>
                    <a:cubicBezTo>
                      <a:pt x="159385" y="69850"/>
                      <a:pt x="159385" y="56515"/>
                      <a:pt x="159385" y="44450"/>
                    </a:cubicBezTo>
                    <a:cubicBezTo>
                      <a:pt x="159385" y="35560"/>
                      <a:pt x="156845" y="27940"/>
                      <a:pt x="152400" y="20320"/>
                    </a:cubicBezTo>
                    <a:cubicBezTo>
                      <a:pt x="143510" y="6985"/>
                      <a:pt x="130175" y="0"/>
                      <a:pt x="113665" y="0"/>
                    </a:cubicBezTo>
                    <a:close/>
                    <a:moveTo>
                      <a:pt x="129540" y="83820"/>
                    </a:moveTo>
                    <a:cubicBezTo>
                      <a:pt x="129540" y="91440"/>
                      <a:pt x="123190" y="97155"/>
                      <a:pt x="115570" y="97790"/>
                    </a:cubicBezTo>
                    <a:cubicBezTo>
                      <a:pt x="109855" y="97790"/>
                      <a:pt x="104775" y="97790"/>
                      <a:pt x="99060" y="97790"/>
                    </a:cubicBezTo>
                    <a:lnTo>
                      <a:pt x="80010" y="97790"/>
                    </a:lnTo>
                    <a:cubicBezTo>
                      <a:pt x="67945" y="97790"/>
                      <a:pt x="55880" y="97790"/>
                      <a:pt x="44450" y="97790"/>
                    </a:cubicBezTo>
                    <a:cubicBezTo>
                      <a:pt x="37465" y="97790"/>
                      <a:pt x="32385" y="93345"/>
                      <a:pt x="30480" y="86995"/>
                    </a:cubicBezTo>
                    <a:cubicBezTo>
                      <a:pt x="29845" y="85090"/>
                      <a:pt x="29845" y="83185"/>
                      <a:pt x="29845" y="81280"/>
                    </a:cubicBezTo>
                    <a:cubicBezTo>
                      <a:pt x="29845" y="69215"/>
                      <a:pt x="29845" y="55880"/>
                      <a:pt x="29845" y="43180"/>
                    </a:cubicBezTo>
                    <a:cubicBezTo>
                      <a:pt x="29845" y="40640"/>
                      <a:pt x="29845" y="38100"/>
                      <a:pt x="31115" y="36195"/>
                    </a:cubicBezTo>
                    <a:cubicBezTo>
                      <a:pt x="33655" y="30480"/>
                      <a:pt x="38100" y="27940"/>
                      <a:pt x="43815" y="27305"/>
                    </a:cubicBezTo>
                    <a:cubicBezTo>
                      <a:pt x="44450" y="27305"/>
                      <a:pt x="44450" y="27305"/>
                      <a:pt x="45085" y="27305"/>
                    </a:cubicBezTo>
                    <a:cubicBezTo>
                      <a:pt x="68580" y="27305"/>
                      <a:pt x="90805" y="27305"/>
                      <a:pt x="114300" y="27305"/>
                    </a:cubicBezTo>
                    <a:cubicBezTo>
                      <a:pt x="116840" y="27305"/>
                      <a:pt x="119380" y="27305"/>
                      <a:pt x="121285" y="28575"/>
                    </a:cubicBezTo>
                    <a:cubicBezTo>
                      <a:pt x="127000" y="31115"/>
                      <a:pt x="129540" y="35560"/>
                      <a:pt x="129540" y="41275"/>
                    </a:cubicBezTo>
                    <a:cubicBezTo>
                      <a:pt x="130175" y="55880"/>
                      <a:pt x="130175" y="69850"/>
                      <a:pt x="129540" y="83820"/>
                    </a:cubicBezTo>
                    <a:close/>
                  </a:path>
                </a:pathLst>
              </a:custGeom>
              <a:solidFill>
                <a:srgbClr val="002733"/>
              </a:solidFill>
              <a:ln w="6350" cap="flat">
                <a:noFill/>
                <a:prstDash val="solid"/>
                <a:miter/>
              </a:ln>
            </p:spPr>
            <p:txBody>
              <a:bodyPr rtlCol="0" anchor="ctr"/>
              <a:lstStyle/>
              <a:p>
                <a:endParaRPr lang="en-GB"/>
              </a:p>
            </p:txBody>
          </p:sp>
          <p:sp>
            <p:nvSpPr>
              <p:cNvPr id="919" name="Freeform 918">
                <a:extLst>
                  <a:ext uri="{FF2B5EF4-FFF2-40B4-BE49-F238E27FC236}">
                    <a16:creationId xmlns:a16="http://schemas.microsoft.com/office/drawing/2014/main" id="{426DF103-041C-34D0-8FBC-1D56364DF1CF}"/>
                  </a:ext>
                </a:extLst>
              </p:cNvPr>
              <p:cNvSpPr/>
              <p:nvPr/>
            </p:nvSpPr>
            <p:spPr>
              <a:xfrm>
                <a:off x="6363970" y="2425700"/>
                <a:ext cx="182879" cy="125895"/>
              </a:xfrm>
              <a:custGeom>
                <a:avLst/>
                <a:gdLst>
                  <a:gd name="connsiteX0" fmla="*/ 180340 w 182879"/>
                  <a:gd name="connsiteY0" fmla="*/ 123190 h 125895"/>
                  <a:gd name="connsiteX1" fmla="*/ 113030 w 182879"/>
                  <a:gd name="connsiteY1" fmla="*/ 2540 h 125895"/>
                  <a:gd name="connsiteX2" fmla="*/ 109220 w 182879"/>
                  <a:gd name="connsiteY2" fmla="*/ 0 h 125895"/>
                  <a:gd name="connsiteX3" fmla="*/ 73025 w 182879"/>
                  <a:gd name="connsiteY3" fmla="*/ 0 h 125895"/>
                  <a:gd name="connsiteX4" fmla="*/ 68580 w 182879"/>
                  <a:gd name="connsiteY4" fmla="*/ 2540 h 125895"/>
                  <a:gd name="connsiteX5" fmla="*/ 1270 w 182879"/>
                  <a:gd name="connsiteY5" fmla="*/ 123190 h 125895"/>
                  <a:gd name="connsiteX6" fmla="*/ 0 w 182879"/>
                  <a:gd name="connsiteY6" fmla="*/ 125730 h 125895"/>
                  <a:gd name="connsiteX7" fmla="*/ 3175 w 182879"/>
                  <a:gd name="connsiteY7" fmla="*/ 125730 h 125895"/>
                  <a:gd name="connsiteX8" fmla="*/ 30480 w 182879"/>
                  <a:gd name="connsiteY8" fmla="*/ 125730 h 125895"/>
                  <a:gd name="connsiteX9" fmla="*/ 34925 w 182879"/>
                  <a:gd name="connsiteY9" fmla="*/ 123190 h 125895"/>
                  <a:gd name="connsiteX10" fmla="*/ 58420 w 182879"/>
                  <a:gd name="connsiteY10" fmla="*/ 81280 h 125895"/>
                  <a:gd name="connsiteX11" fmla="*/ 60325 w 182879"/>
                  <a:gd name="connsiteY11" fmla="*/ 78740 h 125895"/>
                  <a:gd name="connsiteX12" fmla="*/ 62230 w 182879"/>
                  <a:gd name="connsiteY12" fmla="*/ 81280 h 125895"/>
                  <a:gd name="connsiteX13" fmla="*/ 74930 w 182879"/>
                  <a:gd name="connsiteY13" fmla="*/ 101600 h 125895"/>
                  <a:gd name="connsiteX14" fmla="*/ 78105 w 182879"/>
                  <a:gd name="connsiteY14" fmla="*/ 103505 h 125895"/>
                  <a:gd name="connsiteX15" fmla="*/ 80010 w 182879"/>
                  <a:gd name="connsiteY15" fmla="*/ 103505 h 125895"/>
                  <a:gd name="connsiteX16" fmla="*/ 132080 w 182879"/>
                  <a:gd name="connsiteY16" fmla="*/ 102870 h 125895"/>
                  <a:gd name="connsiteX17" fmla="*/ 137795 w 182879"/>
                  <a:gd name="connsiteY17" fmla="*/ 106680 h 125895"/>
                  <a:gd name="connsiteX18" fmla="*/ 146685 w 182879"/>
                  <a:gd name="connsiteY18" fmla="*/ 121920 h 125895"/>
                  <a:gd name="connsiteX19" fmla="*/ 149225 w 182879"/>
                  <a:gd name="connsiteY19" fmla="*/ 125730 h 125895"/>
                  <a:gd name="connsiteX20" fmla="*/ 182880 w 182879"/>
                  <a:gd name="connsiteY20" fmla="*/ 125730 h 125895"/>
                  <a:gd name="connsiteX21" fmla="*/ 180340 w 182879"/>
                  <a:gd name="connsiteY21" fmla="*/ 123190 h 125895"/>
                  <a:gd name="connsiteX22" fmla="*/ 60325 w 182879"/>
                  <a:gd name="connsiteY22" fmla="*/ 76835 h 125895"/>
                  <a:gd name="connsiteX23" fmla="*/ 90170 w 182879"/>
                  <a:gd name="connsiteY23" fmla="*/ 22860 h 125895"/>
                  <a:gd name="connsiteX24" fmla="*/ 120015 w 182879"/>
                  <a:gd name="connsiteY24" fmla="*/ 76835 h 125895"/>
                  <a:gd name="connsiteX25" fmla="*/ 60325 w 182879"/>
                  <a:gd name="connsiteY25" fmla="*/ 76835 h 12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2879" h="125895">
                    <a:moveTo>
                      <a:pt x="180340" y="123190"/>
                    </a:moveTo>
                    <a:cubicBezTo>
                      <a:pt x="157480" y="83185"/>
                      <a:pt x="135255" y="42545"/>
                      <a:pt x="113030" y="2540"/>
                    </a:cubicBezTo>
                    <a:cubicBezTo>
                      <a:pt x="111760" y="635"/>
                      <a:pt x="111125" y="0"/>
                      <a:pt x="109220" y="0"/>
                    </a:cubicBezTo>
                    <a:cubicBezTo>
                      <a:pt x="97155" y="0"/>
                      <a:pt x="84455" y="0"/>
                      <a:pt x="73025" y="0"/>
                    </a:cubicBezTo>
                    <a:cubicBezTo>
                      <a:pt x="70485" y="0"/>
                      <a:pt x="69850" y="635"/>
                      <a:pt x="68580" y="2540"/>
                    </a:cubicBezTo>
                    <a:cubicBezTo>
                      <a:pt x="45720" y="43180"/>
                      <a:pt x="24130" y="83185"/>
                      <a:pt x="1270" y="123190"/>
                    </a:cubicBezTo>
                    <a:cubicBezTo>
                      <a:pt x="635" y="123825"/>
                      <a:pt x="635" y="125095"/>
                      <a:pt x="0" y="125730"/>
                    </a:cubicBezTo>
                    <a:cubicBezTo>
                      <a:pt x="1270" y="125730"/>
                      <a:pt x="1905" y="125730"/>
                      <a:pt x="3175" y="125730"/>
                    </a:cubicBezTo>
                    <a:cubicBezTo>
                      <a:pt x="12700" y="125730"/>
                      <a:pt x="20955" y="125730"/>
                      <a:pt x="30480" y="125730"/>
                    </a:cubicBezTo>
                    <a:cubicBezTo>
                      <a:pt x="33020" y="126365"/>
                      <a:pt x="34290" y="125095"/>
                      <a:pt x="34925" y="123190"/>
                    </a:cubicBezTo>
                    <a:cubicBezTo>
                      <a:pt x="43180" y="109855"/>
                      <a:pt x="50800" y="95250"/>
                      <a:pt x="58420" y="81280"/>
                    </a:cubicBezTo>
                    <a:cubicBezTo>
                      <a:pt x="59055" y="80645"/>
                      <a:pt x="59690" y="79375"/>
                      <a:pt x="60325" y="78740"/>
                    </a:cubicBezTo>
                    <a:cubicBezTo>
                      <a:pt x="60960" y="80010"/>
                      <a:pt x="61595" y="80645"/>
                      <a:pt x="62230" y="81280"/>
                    </a:cubicBezTo>
                    <a:cubicBezTo>
                      <a:pt x="66675" y="88265"/>
                      <a:pt x="71120" y="94615"/>
                      <a:pt x="74930" y="101600"/>
                    </a:cubicBezTo>
                    <a:cubicBezTo>
                      <a:pt x="75565" y="102870"/>
                      <a:pt x="76200" y="103505"/>
                      <a:pt x="78105" y="103505"/>
                    </a:cubicBezTo>
                    <a:cubicBezTo>
                      <a:pt x="78740" y="102870"/>
                      <a:pt x="79375" y="103505"/>
                      <a:pt x="80010" y="103505"/>
                    </a:cubicBezTo>
                    <a:cubicBezTo>
                      <a:pt x="97155" y="103505"/>
                      <a:pt x="114935" y="103505"/>
                      <a:pt x="132080" y="102870"/>
                    </a:cubicBezTo>
                    <a:cubicBezTo>
                      <a:pt x="135255" y="102870"/>
                      <a:pt x="136525" y="104140"/>
                      <a:pt x="137795" y="106680"/>
                    </a:cubicBezTo>
                    <a:cubicBezTo>
                      <a:pt x="140970" y="111760"/>
                      <a:pt x="143510" y="117475"/>
                      <a:pt x="146685" y="121920"/>
                    </a:cubicBezTo>
                    <a:cubicBezTo>
                      <a:pt x="147320" y="123190"/>
                      <a:pt x="148590" y="124460"/>
                      <a:pt x="149225" y="125730"/>
                    </a:cubicBezTo>
                    <a:lnTo>
                      <a:pt x="182880" y="125730"/>
                    </a:lnTo>
                    <a:cubicBezTo>
                      <a:pt x="180975" y="124460"/>
                      <a:pt x="180975" y="123825"/>
                      <a:pt x="180340" y="123190"/>
                    </a:cubicBezTo>
                    <a:close/>
                    <a:moveTo>
                      <a:pt x="60325" y="76835"/>
                    </a:moveTo>
                    <a:cubicBezTo>
                      <a:pt x="70485" y="59055"/>
                      <a:pt x="80645" y="41275"/>
                      <a:pt x="90170" y="22860"/>
                    </a:cubicBezTo>
                    <a:cubicBezTo>
                      <a:pt x="100330" y="40640"/>
                      <a:pt x="110490" y="58420"/>
                      <a:pt x="120015" y="76835"/>
                    </a:cubicBezTo>
                    <a:cubicBezTo>
                      <a:pt x="118110" y="77470"/>
                      <a:pt x="65405" y="77470"/>
                      <a:pt x="60325" y="76835"/>
                    </a:cubicBezTo>
                    <a:close/>
                  </a:path>
                </a:pathLst>
              </a:custGeom>
              <a:solidFill>
                <a:srgbClr val="002733"/>
              </a:solidFill>
              <a:ln w="6350" cap="flat">
                <a:noFill/>
                <a:prstDash val="solid"/>
                <a:miter/>
              </a:ln>
            </p:spPr>
            <p:txBody>
              <a:bodyPr rtlCol="0" anchor="ctr"/>
              <a:lstStyle/>
              <a:p>
                <a:endParaRPr lang="en-GB"/>
              </a:p>
            </p:txBody>
          </p:sp>
          <p:sp>
            <p:nvSpPr>
              <p:cNvPr id="920" name="Freeform 919">
                <a:extLst>
                  <a:ext uri="{FF2B5EF4-FFF2-40B4-BE49-F238E27FC236}">
                    <a16:creationId xmlns:a16="http://schemas.microsoft.com/office/drawing/2014/main" id="{E696654C-1E40-9B4D-F48E-9D5B3F1EE3D8}"/>
                  </a:ext>
                </a:extLst>
              </p:cNvPr>
              <p:cNvSpPr/>
              <p:nvPr/>
            </p:nvSpPr>
            <p:spPr>
              <a:xfrm>
                <a:off x="5921375" y="1972151"/>
                <a:ext cx="294640" cy="274478"/>
              </a:xfrm>
              <a:custGeom>
                <a:avLst/>
                <a:gdLst>
                  <a:gd name="connsiteX0" fmla="*/ 92710 w 294640"/>
                  <a:gd name="connsiteY0" fmla="*/ 237649 h 274478"/>
                  <a:gd name="connsiteX1" fmla="*/ 87630 w 294640"/>
                  <a:gd name="connsiteY1" fmla="*/ 236379 h 274478"/>
                  <a:gd name="connsiteX2" fmla="*/ 64770 w 294640"/>
                  <a:gd name="connsiteY2" fmla="*/ 226219 h 274478"/>
                  <a:gd name="connsiteX3" fmla="*/ 58420 w 294640"/>
                  <a:gd name="connsiteY3" fmla="*/ 224949 h 274478"/>
                  <a:gd name="connsiteX4" fmla="*/ 13335 w 294640"/>
                  <a:gd name="connsiteY4" fmla="*/ 224949 h 274478"/>
                  <a:gd name="connsiteX5" fmla="*/ 11430 w 294640"/>
                  <a:gd name="connsiteY5" fmla="*/ 224949 h 274478"/>
                  <a:gd name="connsiteX6" fmla="*/ 11430 w 294640"/>
                  <a:gd name="connsiteY6" fmla="*/ 226854 h 274478"/>
                  <a:gd name="connsiteX7" fmla="*/ 41910 w 294640"/>
                  <a:gd name="connsiteY7" fmla="*/ 273209 h 274478"/>
                  <a:gd name="connsiteX8" fmla="*/ 45085 w 294640"/>
                  <a:gd name="connsiteY8" fmla="*/ 274479 h 274478"/>
                  <a:gd name="connsiteX9" fmla="*/ 62230 w 294640"/>
                  <a:gd name="connsiteY9" fmla="*/ 274479 h 274478"/>
                  <a:gd name="connsiteX10" fmla="*/ 70485 w 294640"/>
                  <a:gd name="connsiteY10" fmla="*/ 272574 h 274478"/>
                  <a:gd name="connsiteX11" fmla="*/ 87630 w 294640"/>
                  <a:gd name="connsiteY11" fmla="*/ 263684 h 274478"/>
                  <a:gd name="connsiteX12" fmla="*/ 92710 w 294640"/>
                  <a:gd name="connsiteY12" fmla="*/ 261779 h 274478"/>
                  <a:gd name="connsiteX13" fmla="*/ 237490 w 294640"/>
                  <a:gd name="connsiteY13" fmla="*/ 261779 h 274478"/>
                  <a:gd name="connsiteX14" fmla="*/ 240665 w 294640"/>
                  <a:gd name="connsiteY14" fmla="*/ 261779 h 274478"/>
                  <a:gd name="connsiteX15" fmla="*/ 245745 w 294640"/>
                  <a:gd name="connsiteY15" fmla="*/ 273844 h 274478"/>
                  <a:gd name="connsiteX16" fmla="*/ 294640 w 294640"/>
                  <a:gd name="connsiteY16" fmla="*/ 249079 h 274478"/>
                  <a:gd name="connsiteX17" fmla="*/ 245745 w 294640"/>
                  <a:gd name="connsiteY17" fmla="*/ 224314 h 274478"/>
                  <a:gd name="connsiteX18" fmla="*/ 241935 w 294640"/>
                  <a:gd name="connsiteY18" fmla="*/ 235109 h 274478"/>
                  <a:gd name="connsiteX19" fmla="*/ 238760 w 294640"/>
                  <a:gd name="connsiteY19" fmla="*/ 237014 h 274478"/>
                  <a:gd name="connsiteX20" fmla="*/ 226695 w 294640"/>
                  <a:gd name="connsiteY20" fmla="*/ 237014 h 274478"/>
                  <a:gd name="connsiteX21" fmla="*/ 224790 w 294640"/>
                  <a:gd name="connsiteY21" fmla="*/ 236379 h 274478"/>
                  <a:gd name="connsiteX22" fmla="*/ 226060 w 294640"/>
                  <a:gd name="connsiteY22" fmla="*/ 233839 h 274478"/>
                  <a:gd name="connsiteX23" fmla="*/ 242570 w 294640"/>
                  <a:gd name="connsiteY23" fmla="*/ 150019 h 274478"/>
                  <a:gd name="connsiteX24" fmla="*/ 240665 w 294640"/>
                  <a:gd name="connsiteY24" fmla="*/ 115729 h 274478"/>
                  <a:gd name="connsiteX25" fmla="*/ 226695 w 294640"/>
                  <a:gd name="connsiteY25" fmla="*/ 66834 h 274478"/>
                  <a:gd name="connsiteX26" fmla="*/ 179705 w 294640"/>
                  <a:gd name="connsiteY26" fmla="*/ 3969 h 274478"/>
                  <a:gd name="connsiteX27" fmla="*/ 169545 w 294640"/>
                  <a:gd name="connsiteY27" fmla="*/ 159 h 274478"/>
                  <a:gd name="connsiteX28" fmla="*/ 123825 w 294640"/>
                  <a:gd name="connsiteY28" fmla="*/ 3969 h 274478"/>
                  <a:gd name="connsiteX29" fmla="*/ 109855 w 294640"/>
                  <a:gd name="connsiteY29" fmla="*/ 8414 h 274478"/>
                  <a:gd name="connsiteX30" fmla="*/ 109855 w 294640"/>
                  <a:gd name="connsiteY30" fmla="*/ 9049 h 274478"/>
                  <a:gd name="connsiteX31" fmla="*/ 111125 w 294640"/>
                  <a:gd name="connsiteY31" fmla="*/ 10319 h 274478"/>
                  <a:gd name="connsiteX32" fmla="*/ 140970 w 294640"/>
                  <a:gd name="connsiteY32" fmla="*/ 40164 h 274478"/>
                  <a:gd name="connsiteX33" fmla="*/ 166370 w 294640"/>
                  <a:gd name="connsiteY33" fmla="*/ 78264 h 274478"/>
                  <a:gd name="connsiteX34" fmla="*/ 168275 w 294640"/>
                  <a:gd name="connsiteY34" fmla="*/ 81439 h 274478"/>
                  <a:gd name="connsiteX35" fmla="*/ 160020 w 294640"/>
                  <a:gd name="connsiteY35" fmla="*/ 80169 h 274478"/>
                  <a:gd name="connsiteX36" fmla="*/ 159385 w 294640"/>
                  <a:gd name="connsiteY36" fmla="*/ 79534 h 274478"/>
                  <a:gd name="connsiteX37" fmla="*/ 119380 w 294640"/>
                  <a:gd name="connsiteY37" fmla="*/ 41434 h 274478"/>
                  <a:gd name="connsiteX38" fmla="*/ 86360 w 294640"/>
                  <a:gd name="connsiteY38" fmla="*/ 21114 h 274478"/>
                  <a:gd name="connsiteX39" fmla="*/ 81280 w 294640"/>
                  <a:gd name="connsiteY39" fmla="*/ 21749 h 274478"/>
                  <a:gd name="connsiteX40" fmla="*/ 40640 w 294640"/>
                  <a:gd name="connsiteY40" fmla="*/ 54769 h 274478"/>
                  <a:gd name="connsiteX41" fmla="*/ 36195 w 294640"/>
                  <a:gd name="connsiteY41" fmla="*/ 59849 h 274478"/>
                  <a:gd name="connsiteX42" fmla="*/ 38735 w 294640"/>
                  <a:gd name="connsiteY42" fmla="*/ 61754 h 274478"/>
                  <a:gd name="connsiteX43" fmla="*/ 83185 w 294640"/>
                  <a:gd name="connsiteY43" fmla="*/ 90964 h 274478"/>
                  <a:gd name="connsiteX44" fmla="*/ 106045 w 294640"/>
                  <a:gd name="connsiteY44" fmla="*/ 110649 h 274478"/>
                  <a:gd name="connsiteX45" fmla="*/ 108585 w 294640"/>
                  <a:gd name="connsiteY45" fmla="*/ 113824 h 274478"/>
                  <a:gd name="connsiteX46" fmla="*/ 101600 w 294640"/>
                  <a:gd name="connsiteY46" fmla="*/ 113824 h 274478"/>
                  <a:gd name="connsiteX47" fmla="*/ 86360 w 294640"/>
                  <a:gd name="connsiteY47" fmla="*/ 104299 h 274478"/>
                  <a:gd name="connsiteX48" fmla="*/ 29845 w 294640"/>
                  <a:gd name="connsiteY48" fmla="*/ 83344 h 274478"/>
                  <a:gd name="connsiteX49" fmla="*/ 20955 w 294640"/>
                  <a:gd name="connsiteY49" fmla="*/ 81439 h 274478"/>
                  <a:gd name="connsiteX50" fmla="*/ 19685 w 294640"/>
                  <a:gd name="connsiteY50" fmla="*/ 83344 h 274478"/>
                  <a:gd name="connsiteX51" fmla="*/ 0 w 294640"/>
                  <a:gd name="connsiteY51" fmla="*/ 139859 h 274478"/>
                  <a:gd name="connsiteX52" fmla="*/ 0 w 294640"/>
                  <a:gd name="connsiteY52" fmla="*/ 142399 h 274478"/>
                  <a:gd name="connsiteX53" fmla="*/ 22225 w 294640"/>
                  <a:gd name="connsiteY53" fmla="*/ 148114 h 274478"/>
                  <a:gd name="connsiteX54" fmla="*/ 63500 w 294640"/>
                  <a:gd name="connsiteY54" fmla="*/ 166529 h 274478"/>
                  <a:gd name="connsiteX55" fmla="*/ 95250 w 294640"/>
                  <a:gd name="connsiteY55" fmla="*/ 202089 h 274478"/>
                  <a:gd name="connsiteX56" fmla="*/ 103505 w 294640"/>
                  <a:gd name="connsiteY56" fmla="*/ 231934 h 274478"/>
                  <a:gd name="connsiteX57" fmla="*/ 104775 w 294640"/>
                  <a:gd name="connsiteY57" fmla="*/ 238919 h 274478"/>
                  <a:gd name="connsiteX58" fmla="*/ 101600 w 294640"/>
                  <a:gd name="connsiteY58" fmla="*/ 238919 h 274478"/>
                  <a:gd name="connsiteX59" fmla="*/ 92710 w 294640"/>
                  <a:gd name="connsiteY59" fmla="*/ 237649 h 274478"/>
                  <a:gd name="connsiteX60" fmla="*/ 187325 w 294640"/>
                  <a:gd name="connsiteY60" fmla="*/ 179229 h 274478"/>
                  <a:gd name="connsiteX61" fmla="*/ 207010 w 294640"/>
                  <a:gd name="connsiteY61" fmla="*/ 198914 h 274478"/>
                  <a:gd name="connsiteX62" fmla="*/ 187325 w 294640"/>
                  <a:gd name="connsiteY62" fmla="*/ 219234 h 274478"/>
                  <a:gd name="connsiteX63" fmla="*/ 167005 w 294640"/>
                  <a:gd name="connsiteY63" fmla="*/ 198914 h 274478"/>
                  <a:gd name="connsiteX64" fmla="*/ 187325 w 294640"/>
                  <a:gd name="connsiteY64" fmla="*/ 179229 h 27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94640" h="274478">
                    <a:moveTo>
                      <a:pt x="92710" y="237649"/>
                    </a:moveTo>
                    <a:cubicBezTo>
                      <a:pt x="90805" y="237649"/>
                      <a:pt x="89535" y="237649"/>
                      <a:pt x="87630" y="236379"/>
                    </a:cubicBezTo>
                    <a:cubicBezTo>
                      <a:pt x="80010" y="233204"/>
                      <a:pt x="72390" y="230029"/>
                      <a:pt x="64770" y="226219"/>
                    </a:cubicBezTo>
                    <a:cubicBezTo>
                      <a:pt x="62865" y="225584"/>
                      <a:pt x="60960" y="224949"/>
                      <a:pt x="58420" y="224949"/>
                    </a:cubicBezTo>
                    <a:cubicBezTo>
                      <a:pt x="43815" y="224949"/>
                      <a:pt x="28575" y="224949"/>
                      <a:pt x="13335" y="224949"/>
                    </a:cubicBezTo>
                    <a:cubicBezTo>
                      <a:pt x="12700" y="224949"/>
                      <a:pt x="12065" y="224949"/>
                      <a:pt x="11430" y="224949"/>
                    </a:cubicBezTo>
                    <a:cubicBezTo>
                      <a:pt x="11430" y="225584"/>
                      <a:pt x="11430" y="226219"/>
                      <a:pt x="11430" y="226854"/>
                    </a:cubicBezTo>
                    <a:cubicBezTo>
                      <a:pt x="19685" y="243364"/>
                      <a:pt x="29845" y="259239"/>
                      <a:pt x="41910" y="273209"/>
                    </a:cubicBezTo>
                    <a:cubicBezTo>
                      <a:pt x="43180" y="273844"/>
                      <a:pt x="43815" y="274479"/>
                      <a:pt x="45085" y="274479"/>
                    </a:cubicBezTo>
                    <a:cubicBezTo>
                      <a:pt x="51435" y="274479"/>
                      <a:pt x="56515" y="274479"/>
                      <a:pt x="62230" y="274479"/>
                    </a:cubicBezTo>
                    <a:cubicBezTo>
                      <a:pt x="65405" y="274479"/>
                      <a:pt x="67945" y="273844"/>
                      <a:pt x="70485" y="272574"/>
                    </a:cubicBezTo>
                    <a:cubicBezTo>
                      <a:pt x="76200" y="269399"/>
                      <a:pt x="81280" y="266224"/>
                      <a:pt x="87630" y="263684"/>
                    </a:cubicBezTo>
                    <a:cubicBezTo>
                      <a:pt x="88900" y="262414"/>
                      <a:pt x="90805" y="261779"/>
                      <a:pt x="92710" y="261779"/>
                    </a:cubicBezTo>
                    <a:cubicBezTo>
                      <a:pt x="140970" y="261779"/>
                      <a:pt x="189865" y="261779"/>
                      <a:pt x="237490" y="261779"/>
                    </a:cubicBezTo>
                    <a:lnTo>
                      <a:pt x="240665" y="261779"/>
                    </a:lnTo>
                    <a:cubicBezTo>
                      <a:pt x="242570" y="266224"/>
                      <a:pt x="243840" y="270669"/>
                      <a:pt x="245745" y="273844"/>
                    </a:cubicBezTo>
                    <a:cubicBezTo>
                      <a:pt x="264795" y="271304"/>
                      <a:pt x="281305" y="263049"/>
                      <a:pt x="294640" y="249079"/>
                    </a:cubicBezTo>
                    <a:cubicBezTo>
                      <a:pt x="281305" y="235744"/>
                      <a:pt x="264795" y="226854"/>
                      <a:pt x="245745" y="224314"/>
                    </a:cubicBezTo>
                    <a:cubicBezTo>
                      <a:pt x="244475" y="228124"/>
                      <a:pt x="243205" y="231299"/>
                      <a:pt x="241935" y="235109"/>
                    </a:cubicBezTo>
                    <a:cubicBezTo>
                      <a:pt x="241300" y="236379"/>
                      <a:pt x="240665" y="237014"/>
                      <a:pt x="238760" y="237014"/>
                    </a:cubicBezTo>
                    <a:cubicBezTo>
                      <a:pt x="234315" y="237014"/>
                      <a:pt x="230505" y="237014"/>
                      <a:pt x="226695" y="237014"/>
                    </a:cubicBezTo>
                    <a:cubicBezTo>
                      <a:pt x="226060" y="237014"/>
                      <a:pt x="225425" y="237014"/>
                      <a:pt x="224790" y="236379"/>
                    </a:cubicBezTo>
                    <a:cubicBezTo>
                      <a:pt x="225425" y="235744"/>
                      <a:pt x="225425" y="234474"/>
                      <a:pt x="226060" y="233839"/>
                    </a:cubicBezTo>
                    <a:cubicBezTo>
                      <a:pt x="236220" y="206534"/>
                      <a:pt x="241935" y="178594"/>
                      <a:pt x="242570" y="150019"/>
                    </a:cubicBezTo>
                    <a:cubicBezTo>
                      <a:pt x="243205" y="138589"/>
                      <a:pt x="242570" y="126524"/>
                      <a:pt x="240665" y="115729"/>
                    </a:cubicBezTo>
                    <a:cubicBezTo>
                      <a:pt x="238125" y="98584"/>
                      <a:pt x="233680" y="82074"/>
                      <a:pt x="226695" y="66834"/>
                    </a:cubicBezTo>
                    <a:cubicBezTo>
                      <a:pt x="215900" y="42069"/>
                      <a:pt x="200025" y="21749"/>
                      <a:pt x="179705" y="3969"/>
                    </a:cubicBezTo>
                    <a:cubicBezTo>
                      <a:pt x="176530" y="1429"/>
                      <a:pt x="173355" y="159"/>
                      <a:pt x="169545" y="159"/>
                    </a:cubicBezTo>
                    <a:cubicBezTo>
                      <a:pt x="154305" y="-476"/>
                      <a:pt x="139065" y="794"/>
                      <a:pt x="123825" y="3969"/>
                    </a:cubicBezTo>
                    <a:cubicBezTo>
                      <a:pt x="118745" y="5239"/>
                      <a:pt x="114935" y="7144"/>
                      <a:pt x="109855" y="8414"/>
                    </a:cubicBezTo>
                    <a:lnTo>
                      <a:pt x="109855" y="9049"/>
                    </a:lnTo>
                    <a:cubicBezTo>
                      <a:pt x="110490" y="9684"/>
                      <a:pt x="111125" y="9684"/>
                      <a:pt x="111125" y="10319"/>
                    </a:cubicBezTo>
                    <a:cubicBezTo>
                      <a:pt x="121920" y="19844"/>
                      <a:pt x="132080" y="29369"/>
                      <a:pt x="140970" y="40164"/>
                    </a:cubicBezTo>
                    <a:cubicBezTo>
                      <a:pt x="150495" y="51594"/>
                      <a:pt x="159385" y="64294"/>
                      <a:pt x="166370" y="78264"/>
                    </a:cubicBezTo>
                    <a:cubicBezTo>
                      <a:pt x="167005" y="78899"/>
                      <a:pt x="167640" y="80169"/>
                      <a:pt x="168275" y="81439"/>
                    </a:cubicBezTo>
                    <a:cubicBezTo>
                      <a:pt x="163830" y="83979"/>
                      <a:pt x="163195" y="83344"/>
                      <a:pt x="160020" y="80169"/>
                    </a:cubicBezTo>
                    <a:lnTo>
                      <a:pt x="159385" y="79534"/>
                    </a:lnTo>
                    <a:cubicBezTo>
                      <a:pt x="147320" y="66199"/>
                      <a:pt x="133350" y="52229"/>
                      <a:pt x="119380" y="41434"/>
                    </a:cubicBezTo>
                    <a:cubicBezTo>
                      <a:pt x="109220" y="33179"/>
                      <a:pt x="98425" y="26194"/>
                      <a:pt x="86360" y="21114"/>
                    </a:cubicBezTo>
                    <a:cubicBezTo>
                      <a:pt x="84455" y="20479"/>
                      <a:pt x="83185" y="20479"/>
                      <a:pt x="81280" y="21749"/>
                    </a:cubicBezTo>
                    <a:cubicBezTo>
                      <a:pt x="66040" y="30639"/>
                      <a:pt x="52705" y="41434"/>
                      <a:pt x="40640" y="54769"/>
                    </a:cubicBezTo>
                    <a:cubicBezTo>
                      <a:pt x="39370" y="56039"/>
                      <a:pt x="37465" y="57944"/>
                      <a:pt x="36195" y="59849"/>
                    </a:cubicBezTo>
                    <a:cubicBezTo>
                      <a:pt x="36830" y="60484"/>
                      <a:pt x="38100" y="61119"/>
                      <a:pt x="38735" y="61754"/>
                    </a:cubicBezTo>
                    <a:cubicBezTo>
                      <a:pt x="53975" y="70644"/>
                      <a:pt x="68580" y="79534"/>
                      <a:pt x="83185" y="90964"/>
                    </a:cubicBezTo>
                    <a:cubicBezTo>
                      <a:pt x="91440" y="97314"/>
                      <a:pt x="99060" y="103029"/>
                      <a:pt x="106045" y="110649"/>
                    </a:cubicBezTo>
                    <a:cubicBezTo>
                      <a:pt x="107315" y="111919"/>
                      <a:pt x="107950" y="112554"/>
                      <a:pt x="108585" y="113824"/>
                    </a:cubicBezTo>
                    <a:cubicBezTo>
                      <a:pt x="104775" y="116364"/>
                      <a:pt x="104775" y="115729"/>
                      <a:pt x="101600" y="113824"/>
                    </a:cubicBezTo>
                    <a:cubicBezTo>
                      <a:pt x="96520" y="110649"/>
                      <a:pt x="92075" y="107474"/>
                      <a:pt x="86360" y="104299"/>
                    </a:cubicBezTo>
                    <a:cubicBezTo>
                      <a:pt x="68580" y="94774"/>
                      <a:pt x="49530" y="89059"/>
                      <a:pt x="29845" y="83344"/>
                    </a:cubicBezTo>
                    <a:cubicBezTo>
                      <a:pt x="26670" y="82709"/>
                      <a:pt x="23495" y="82074"/>
                      <a:pt x="20955" y="81439"/>
                    </a:cubicBezTo>
                    <a:cubicBezTo>
                      <a:pt x="20320" y="82074"/>
                      <a:pt x="19685" y="82709"/>
                      <a:pt x="19685" y="83344"/>
                    </a:cubicBezTo>
                    <a:cubicBezTo>
                      <a:pt x="10160" y="100489"/>
                      <a:pt x="3175" y="119539"/>
                      <a:pt x="0" y="139859"/>
                    </a:cubicBezTo>
                    <a:cubicBezTo>
                      <a:pt x="0" y="141129"/>
                      <a:pt x="0" y="141764"/>
                      <a:pt x="0" y="142399"/>
                    </a:cubicBezTo>
                    <a:cubicBezTo>
                      <a:pt x="7620" y="144304"/>
                      <a:pt x="14605" y="146209"/>
                      <a:pt x="22225" y="148114"/>
                    </a:cubicBezTo>
                    <a:cubicBezTo>
                      <a:pt x="36195" y="152559"/>
                      <a:pt x="50165" y="158274"/>
                      <a:pt x="63500" y="166529"/>
                    </a:cubicBezTo>
                    <a:cubicBezTo>
                      <a:pt x="77470" y="175419"/>
                      <a:pt x="88900" y="186849"/>
                      <a:pt x="95250" y="202089"/>
                    </a:cubicBezTo>
                    <a:cubicBezTo>
                      <a:pt x="99695" y="211614"/>
                      <a:pt x="102235" y="221774"/>
                      <a:pt x="103505" y="231934"/>
                    </a:cubicBezTo>
                    <a:cubicBezTo>
                      <a:pt x="104140" y="234474"/>
                      <a:pt x="104140" y="236379"/>
                      <a:pt x="104775" y="238919"/>
                    </a:cubicBezTo>
                    <a:cubicBezTo>
                      <a:pt x="103505" y="238919"/>
                      <a:pt x="102235" y="238919"/>
                      <a:pt x="101600" y="238919"/>
                    </a:cubicBezTo>
                    <a:cubicBezTo>
                      <a:pt x="97790" y="237649"/>
                      <a:pt x="95885" y="237649"/>
                      <a:pt x="92710" y="237649"/>
                    </a:cubicBezTo>
                    <a:close/>
                    <a:moveTo>
                      <a:pt x="187325" y="179229"/>
                    </a:moveTo>
                    <a:cubicBezTo>
                      <a:pt x="198120" y="179229"/>
                      <a:pt x="207010" y="188119"/>
                      <a:pt x="207010" y="198914"/>
                    </a:cubicBezTo>
                    <a:cubicBezTo>
                      <a:pt x="207010" y="210344"/>
                      <a:pt x="198120" y="219234"/>
                      <a:pt x="187325" y="219234"/>
                    </a:cubicBezTo>
                    <a:cubicBezTo>
                      <a:pt x="176530" y="219234"/>
                      <a:pt x="167005" y="209709"/>
                      <a:pt x="167005" y="198914"/>
                    </a:cubicBezTo>
                    <a:cubicBezTo>
                      <a:pt x="167640" y="187484"/>
                      <a:pt x="176530" y="179229"/>
                      <a:pt x="187325" y="179229"/>
                    </a:cubicBezTo>
                    <a:close/>
                  </a:path>
                </a:pathLst>
              </a:custGeom>
              <a:solidFill>
                <a:srgbClr val="002733"/>
              </a:solidFill>
              <a:ln w="6350" cap="flat">
                <a:noFill/>
                <a:prstDash val="solid"/>
                <a:miter/>
              </a:ln>
            </p:spPr>
            <p:txBody>
              <a:bodyPr rtlCol="0" anchor="ctr"/>
              <a:lstStyle/>
              <a:p>
                <a:endParaRPr lang="en-GB"/>
              </a:p>
            </p:txBody>
          </p:sp>
        </p:grpSp>
      </p:grpSp>
      <p:sp>
        <p:nvSpPr>
          <p:cNvPr id="930" name="Freeform 929">
            <a:extLst>
              <a:ext uri="{FF2B5EF4-FFF2-40B4-BE49-F238E27FC236}">
                <a16:creationId xmlns:a16="http://schemas.microsoft.com/office/drawing/2014/main" id="{C11F7927-4CC1-37C1-46B6-9222E1517977}"/>
              </a:ext>
            </a:extLst>
          </p:cNvPr>
          <p:cNvSpPr/>
          <p:nvPr/>
        </p:nvSpPr>
        <p:spPr>
          <a:xfrm>
            <a:off x="2628900" y="1950720"/>
            <a:ext cx="584200" cy="581659"/>
          </a:xfrm>
          <a:custGeom>
            <a:avLst/>
            <a:gdLst>
              <a:gd name="connsiteX0" fmla="*/ 291465 w 584200"/>
              <a:gd name="connsiteY0" fmla="*/ 0 h 581659"/>
              <a:gd name="connsiteX1" fmla="*/ 0 w 584200"/>
              <a:gd name="connsiteY1" fmla="*/ 290830 h 581659"/>
              <a:gd name="connsiteX2" fmla="*/ 291465 w 584200"/>
              <a:gd name="connsiteY2" fmla="*/ 581660 h 581659"/>
              <a:gd name="connsiteX3" fmla="*/ 584200 w 584200"/>
              <a:gd name="connsiteY3" fmla="*/ 290830 h 581659"/>
              <a:gd name="connsiteX4" fmla="*/ 291465 w 584200"/>
              <a:gd name="connsiteY4" fmla="*/ 0 h 581659"/>
              <a:gd name="connsiteX5" fmla="*/ 378460 w 584200"/>
              <a:gd name="connsiteY5" fmla="*/ 40005 h 581659"/>
              <a:gd name="connsiteX6" fmla="*/ 377825 w 584200"/>
              <a:gd name="connsiteY6" fmla="*/ 42545 h 581659"/>
              <a:gd name="connsiteX7" fmla="*/ 296545 w 584200"/>
              <a:gd name="connsiteY7" fmla="*/ 225425 h 581659"/>
              <a:gd name="connsiteX8" fmla="*/ 294005 w 584200"/>
              <a:gd name="connsiteY8" fmla="*/ 228600 h 581659"/>
              <a:gd name="connsiteX9" fmla="*/ 290195 w 584200"/>
              <a:gd name="connsiteY9" fmla="*/ 228600 h 581659"/>
              <a:gd name="connsiteX10" fmla="*/ 288290 w 584200"/>
              <a:gd name="connsiteY10" fmla="*/ 225425 h 581659"/>
              <a:gd name="connsiteX11" fmla="*/ 206375 w 584200"/>
              <a:gd name="connsiteY11" fmla="*/ 42545 h 581659"/>
              <a:gd name="connsiteX12" fmla="*/ 205740 w 584200"/>
              <a:gd name="connsiteY12" fmla="*/ 40005 h 581659"/>
              <a:gd name="connsiteX13" fmla="*/ 378460 w 584200"/>
              <a:gd name="connsiteY13" fmla="*/ 40005 h 581659"/>
              <a:gd name="connsiteX14" fmla="*/ 70485 w 584200"/>
              <a:gd name="connsiteY14" fmla="*/ 145415 h 581659"/>
              <a:gd name="connsiteX15" fmla="*/ 162560 w 584200"/>
              <a:gd name="connsiteY15" fmla="*/ 59690 h 581659"/>
              <a:gd name="connsiteX16" fmla="*/ 165100 w 584200"/>
              <a:gd name="connsiteY16" fmla="*/ 59055 h 581659"/>
              <a:gd name="connsiteX17" fmla="*/ 170815 w 584200"/>
              <a:gd name="connsiteY17" fmla="*/ 71120 h 581659"/>
              <a:gd name="connsiteX18" fmla="*/ 261620 w 584200"/>
              <a:gd name="connsiteY18" fmla="*/ 273685 h 581659"/>
              <a:gd name="connsiteX19" fmla="*/ 267970 w 584200"/>
              <a:gd name="connsiteY19" fmla="*/ 277495 h 581659"/>
              <a:gd name="connsiteX20" fmla="*/ 316230 w 584200"/>
              <a:gd name="connsiteY20" fmla="*/ 277495 h 581659"/>
              <a:gd name="connsiteX21" fmla="*/ 322580 w 584200"/>
              <a:gd name="connsiteY21" fmla="*/ 272415 h 581659"/>
              <a:gd name="connsiteX22" fmla="*/ 350520 w 584200"/>
              <a:gd name="connsiteY22" fmla="*/ 211455 h 581659"/>
              <a:gd name="connsiteX23" fmla="*/ 418465 w 584200"/>
              <a:gd name="connsiteY23" fmla="*/ 59690 h 581659"/>
              <a:gd name="connsiteX24" fmla="*/ 419100 w 584200"/>
              <a:gd name="connsiteY24" fmla="*/ 57785 h 581659"/>
              <a:gd name="connsiteX25" fmla="*/ 433070 w 584200"/>
              <a:gd name="connsiteY25" fmla="*/ 66040 h 581659"/>
              <a:gd name="connsiteX26" fmla="*/ 513080 w 584200"/>
              <a:gd name="connsiteY26" fmla="*/ 145415 h 581659"/>
              <a:gd name="connsiteX27" fmla="*/ 513080 w 584200"/>
              <a:gd name="connsiteY27" fmla="*/ 149225 h 581659"/>
              <a:gd name="connsiteX28" fmla="*/ 379730 w 584200"/>
              <a:gd name="connsiteY28" fmla="*/ 415290 h 581659"/>
              <a:gd name="connsiteX29" fmla="*/ 377190 w 584200"/>
              <a:gd name="connsiteY29" fmla="*/ 418465 h 581659"/>
              <a:gd name="connsiteX30" fmla="*/ 372745 w 584200"/>
              <a:gd name="connsiteY30" fmla="*/ 418465 h 581659"/>
              <a:gd name="connsiteX31" fmla="*/ 370205 w 584200"/>
              <a:gd name="connsiteY31" fmla="*/ 415290 h 581659"/>
              <a:gd name="connsiteX32" fmla="*/ 321310 w 584200"/>
              <a:gd name="connsiteY32" fmla="*/ 303530 h 581659"/>
              <a:gd name="connsiteX33" fmla="*/ 311150 w 584200"/>
              <a:gd name="connsiteY33" fmla="*/ 297180 h 581659"/>
              <a:gd name="connsiteX34" fmla="*/ 266700 w 584200"/>
              <a:gd name="connsiteY34" fmla="*/ 297180 h 581659"/>
              <a:gd name="connsiteX35" fmla="*/ 257810 w 584200"/>
              <a:gd name="connsiteY35" fmla="*/ 303530 h 581659"/>
              <a:gd name="connsiteX36" fmla="*/ 209550 w 584200"/>
              <a:gd name="connsiteY36" fmla="*/ 415290 h 581659"/>
              <a:gd name="connsiteX37" fmla="*/ 208915 w 584200"/>
              <a:gd name="connsiteY37" fmla="*/ 418465 h 581659"/>
              <a:gd name="connsiteX38" fmla="*/ 203200 w 584200"/>
              <a:gd name="connsiteY38" fmla="*/ 418465 h 581659"/>
              <a:gd name="connsiteX39" fmla="*/ 198120 w 584200"/>
              <a:gd name="connsiteY39" fmla="*/ 408305 h 581659"/>
              <a:gd name="connsiteX40" fmla="*/ 69215 w 584200"/>
              <a:gd name="connsiteY40" fmla="*/ 148590 h 581659"/>
              <a:gd name="connsiteX41" fmla="*/ 70485 w 584200"/>
              <a:gd name="connsiteY41" fmla="*/ 145415 h 581659"/>
              <a:gd name="connsiteX42" fmla="*/ 445135 w 584200"/>
              <a:gd name="connsiteY42" fmla="*/ 504825 h 581659"/>
              <a:gd name="connsiteX43" fmla="*/ 117475 w 584200"/>
              <a:gd name="connsiteY43" fmla="*/ 488315 h 581659"/>
              <a:gd name="connsiteX44" fmla="*/ 43815 w 584200"/>
              <a:gd name="connsiteY44" fmla="*/ 197485 h 581659"/>
              <a:gd name="connsiteX45" fmla="*/ 45720 w 584200"/>
              <a:gd name="connsiteY45" fmla="*/ 200660 h 581659"/>
              <a:gd name="connsiteX46" fmla="*/ 199390 w 584200"/>
              <a:gd name="connsiteY46" fmla="*/ 508000 h 581659"/>
              <a:gd name="connsiteX47" fmla="*/ 207010 w 584200"/>
              <a:gd name="connsiteY47" fmla="*/ 515620 h 581659"/>
              <a:gd name="connsiteX48" fmla="*/ 215900 w 584200"/>
              <a:gd name="connsiteY48" fmla="*/ 509905 h 581659"/>
              <a:gd name="connsiteX49" fmla="*/ 220980 w 584200"/>
              <a:gd name="connsiteY49" fmla="*/ 501015 h 581659"/>
              <a:gd name="connsiteX50" fmla="*/ 288925 w 584200"/>
              <a:gd name="connsiteY50" fmla="*/ 348615 h 581659"/>
              <a:gd name="connsiteX51" fmla="*/ 290830 w 584200"/>
              <a:gd name="connsiteY51" fmla="*/ 346710 h 581659"/>
              <a:gd name="connsiteX52" fmla="*/ 294640 w 584200"/>
              <a:gd name="connsiteY52" fmla="*/ 346710 h 581659"/>
              <a:gd name="connsiteX53" fmla="*/ 297180 w 584200"/>
              <a:gd name="connsiteY53" fmla="*/ 350520 h 581659"/>
              <a:gd name="connsiteX54" fmla="*/ 366395 w 584200"/>
              <a:gd name="connsiteY54" fmla="*/ 506095 h 581659"/>
              <a:gd name="connsiteX55" fmla="*/ 369570 w 584200"/>
              <a:gd name="connsiteY55" fmla="*/ 511175 h 581659"/>
              <a:gd name="connsiteX56" fmla="*/ 382905 w 584200"/>
              <a:gd name="connsiteY56" fmla="*/ 511175 h 581659"/>
              <a:gd name="connsiteX57" fmla="*/ 385445 w 584200"/>
              <a:gd name="connsiteY57" fmla="*/ 508000 h 581659"/>
              <a:gd name="connsiteX58" fmla="*/ 539115 w 584200"/>
              <a:gd name="connsiteY58" fmla="*/ 200660 h 581659"/>
              <a:gd name="connsiteX59" fmla="*/ 541020 w 584200"/>
              <a:gd name="connsiteY59" fmla="*/ 197485 h 581659"/>
              <a:gd name="connsiteX60" fmla="*/ 445135 w 584200"/>
              <a:gd name="connsiteY60" fmla="*/ 504825 h 581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84200" h="581659">
                <a:moveTo>
                  <a:pt x="291465" y="0"/>
                </a:moveTo>
                <a:cubicBezTo>
                  <a:pt x="130175" y="0"/>
                  <a:pt x="0" y="129540"/>
                  <a:pt x="0" y="290830"/>
                </a:cubicBezTo>
                <a:cubicBezTo>
                  <a:pt x="0" y="451485"/>
                  <a:pt x="130175" y="581025"/>
                  <a:pt x="291465" y="581660"/>
                </a:cubicBezTo>
                <a:cubicBezTo>
                  <a:pt x="453390" y="581660"/>
                  <a:pt x="584200" y="451485"/>
                  <a:pt x="584200" y="290830"/>
                </a:cubicBezTo>
                <a:cubicBezTo>
                  <a:pt x="584200" y="129540"/>
                  <a:pt x="453390" y="0"/>
                  <a:pt x="291465" y="0"/>
                </a:cubicBezTo>
                <a:close/>
                <a:moveTo>
                  <a:pt x="378460" y="40005"/>
                </a:moveTo>
                <a:lnTo>
                  <a:pt x="377825" y="42545"/>
                </a:lnTo>
                <a:cubicBezTo>
                  <a:pt x="350520" y="103505"/>
                  <a:pt x="323215" y="164465"/>
                  <a:pt x="296545" y="225425"/>
                </a:cubicBezTo>
                <a:cubicBezTo>
                  <a:pt x="295910" y="226060"/>
                  <a:pt x="294640" y="227965"/>
                  <a:pt x="294005" y="228600"/>
                </a:cubicBezTo>
                <a:cubicBezTo>
                  <a:pt x="293370" y="230505"/>
                  <a:pt x="291465" y="230505"/>
                  <a:pt x="290195" y="228600"/>
                </a:cubicBezTo>
                <a:cubicBezTo>
                  <a:pt x="289560" y="227965"/>
                  <a:pt x="288290" y="226060"/>
                  <a:pt x="288290" y="225425"/>
                </a:cubicBezTo>
                <a:cubicBezTo>
                  <a:pt x="260985" y="164465"/>
                  <a:pt x="233680" y="103505"/>
                  <a:pt x="206375" y="42545"/>
                </a:cubicBezTo>
                <a:lnTo>
                  <a:pt x="205740" y="40005"/>
                </a:lnTo>
                <a:cubicBezTo>
                  <a:pt x="262890" y="20320"/>
                  <a:pt x="320040" y="20320"/>
                  <a:pt x="378460" y="40005"/>
                </a:cubicBezTo>
                <a:close/>
                <a:moveTo>
                  <a:pt x="70485" y="145415"/>
                </a:moveTo>
                <a:cubicBezTo>
                  <a:pt x="94615" y="109855"/>
                  <a:pt x="125095" y="81280"/>
                  <a:pt x="162560" y="59690"/>
                </a:cubicBezTo>
                <a:lnTo>
                  <a:pt x="165100" y="59055"/>
                </a:lnTo>
                <a:cubicBezTo>
                  <a:pt x="167005" y="62865"/>
                  <a:pt x="168275" y="67310"/>
                  <a:pt x="170815" y="71120"/>
                </a:cubicBezTo>
                <a:cubicBezTo>
                  <a:pt x="200660" y="138430"/>
                  <a:pt x="231140" y="206375"/>
                  <a:pt x="261620" y="273685"/>
                </a:cubicBezTo>
                <a:cubicBezTo>
                  <a:pt x="263525" y="276225"/>
                  <a:pt x="264795" y="277495"/>
                  <a:pt x="267970" y="277495"/>
                </a:cubicBezTo>
                <a:cubicBezTo>
                  <a:pt x="283845" y="277495"/>
                  <a:pt x="300355" y="277495"/>
                  <a:pt x="316230" y="277495"/>
                </a:cubicBezTo>
                <a:cubicBezTo>
                  <a:pt x="319405" y="277495"/>
                  <a:pt x="321945" y="275590"/>
                  <a:pt x="322580" y="272415"/>
                </a:cubicBezTo>
                <a:cubicBezTo>
                  <a:pt x="331470" y="252095"/>
                  <a:pt x="341630" y="231140"/>
                  <a:pt x="350520" y="211455"/>
                </a:cubicBezTo>
                <a:cubicBezTo>
                  <a:pt x="372745" y="161290"/>
                  <a:pt x="396240" y="111125"/>
                  <a:pt x="418465" y="59690"/>
                </a:cubicBezTo>
                <a:lnTo>
                  <a:pt x="419100" y="57785"/>
                </a:lnTo>
                <a:cubicBezTo>
                  <a:pt x="424180" y="60325"/>
                  <a:pt x="429260" y="62865"/>
                  <a:pt x="433070" y="66040"/>
                </a:cubicBezTo>
                <a:cubicBezTo>
                  <a:pt x="465455" y="86360"/>
                  <a:pt x="492760" y="113030"/>
                  <a:pt x="513080" y="145415"/>
                </a:cubicBezTo>
                <a:cubicBezTo>
                  <a:pt x="514985" y="147320"/>
                  <a:pt x="513715" y="147955"/>
                  <a:pt x="513080" y="149225"/>
                </a:cubicBezTo>
                <a:cubicBezTo>
                  <a:pt x="468630" y="237490"/>
                  <a:pt x="423545" y="326390"/>
                  <a:pt x="379730" y="415290"/>
                </a:cubicBezTo>
                <a:cubicBezTo>
                  <a:pt x="379095" y="415925"/>
                  <a:pt x="377825" y="417830"/>
                  <a:pt x="377190" y="418465"/>
                </a:cubicBezTo>
                <a:cubicBezTo>
                  <a:pt x="376555" y="421005"/>
                  <a:pt x="374015" y="421005"/>
                  <a:pt x="372745" y="418465"/>
                </a:cubicBezTo>
                <a:cubicBezTo>
                  <a:pt x="372110" y="417830"/>
                  <a:pt x="370840" y="415925"/>
                  <a:pt x="370205" y="415290"/>
                </a:cubicBezTo>
                <a:cubicBezTo>
                  <a:pt x="353695" y="378460"/>
                  <a:pt x="337185" y="340360"/>
                  <a:pt x="321310" y="303530"/>
                </a:cubicBezTo>
                <a:cubicBezTo>
                  <a:pt x="318770" y="298450"/>
                  <a:pt x="316230" y="297180"/>
                  <a:pt x="311150" y="297180"/>
                </a:cubicBezTo>
                <a:cubicBezTo>
                  <a:pt x="296545" y="297815"/>
                  <a:pt x="281305" y="297180"/>
                  <a:pt x="266700" y="297180"/>
                </a:cubicBezTo>
                <a:cubicBezTo>
                  <a:pt x="261620" y="297180"/>
                  <a:pt x="259080" y="299085"/>
                  <a:pt x="257810" y="303530"/>
                </a:cubicBezTo>
                <a:cubicBezTo>
                  <a:pt x="241935" y="340360"/>
                  <a:pt x="226060" y="378460"/>
                  <a:pt x="209550" y="415290"/>
                </a:cubicBezTo>
                <a:lnTo>
                  <a:pt x="208915" y="418465"/>
                </a:lnTo>
                <a:cubicBezTo>
                  <a:pt x="207010" y="421005"/>
                  <a:pt x="204470" y="421005"/>
                  <a:pt x="203200" y="418465"/>
                </a:cubicBezTo>
                <a:cubicBezTo>
                  <a:pt x="201295" y="415290"/>
                  <a:pt x="200025" y="412115"/>
                  <a:pt x="198120" y="408305"/>
                </a:cubicBezTo>
                <a:cubicBezTo>
                  <a:pt x="154940" y="321945"/>
                  <a:pt x="111760" y="235585"/>
                  <a:pt x="69215" y="148590"/>
                </a:cubicBezTo>
                <a:cubicBezTo>
                  <a:pt x="69215" y="149225"/>
                  <a:pt x="69215" y="147320"/>
                  <a:pt x="70485" y="145415"/>
                </a:cubicBezTo>
                <a:close/>
                <a:moveTo>
                  <a:pt x="445135" y="504825"/>
                </a:moveTo>
                <a:cubicBezTo>
                  <a:pt x="344805" y="577215"/>
                  <a:pt x="210185" y="569595"/>
                  <a:pt x="117475" y="488315"/>
                </a:cubicBezTo>
                <a:cubicBezTo>
                  <a:pt x="19685" y="402590"/>
                  <a:pt x="11430" y="278765"/>
                  <a:pt x="43815" y="197485"/>
                </a:cubicBezTo>
                <a:cubicBezTo>
                  <a:pt x="44450" y="199390"/>
                  <a:pt x="45720" y="200025"/>
                  <a:pt x="45720" y="200660"/>
                </a:cubicBezTo>
                <a:cubicBezTo>
                  <a:pt x="97155" y="303530"/>
                  <a:pt x="148590" y="405765"/>
                  <a:pt x="199390" y="508000"/>
                </a:cubicBezTo>
                <a:cubicBezTo>
                  <a:pt x="201295" y="511175"/>
                  <a:pt x="202565" y="514350"/>
                  <a:pt x="207010" y="515620"/>
                </a:cubicBezTo>
                <a:cubicBezTo>
                  <a:pt x="211455" y="515620"/>
                  <a:pt x="214630" y="513715"/>
                  <a:pt x="215900" y="509905"/>
                </a:cubicBezTo>
                <a:cubicBezTo>
                  <a:pt x="217805" y="507365"/>
                  <a:pt x="219075" y="504190"/>
                  <a:pt x="220980" y="501015"/>
                </a:cubicBezTo>
                <a:cubicBezTo>
                  <a:pt x="243205" y="450215"/>
                  <a:pt x="266700" y="399415"/>
                  <a:pt x="288925" y="348615"/>
                </a:cubicBezTo>
                <a:lnTo>
                  <a:pt x="290830" y="346710"/>
                </a:lnTo>
                <a:cubicBezTo>
                  <a:pt x="291465" y="344805"/>
                  <a:pt x="293370" y="344805"/>
                  <a:pt x="294640" y="346710"/>
                </a:cubicBezTo>
                <a:cubicBezTo>
                  <a:pt x="295275" y="348615"/>
                  <a:pt x="296545" y="349885"/>
                  <a:pt x="297180" y="350520"/>
                </a:cubicBezTo>
                <a:cubicBezTo>
                  <a:pt x="320675" y="402590"/>
                  <a:pt x="343535" y="454025"/>
                  <a:pt x="366395" y="506095"/>
                </a:cubicBezTo>
                <a:cubicBezTo>
                  <a:pt x="367030" y="508000"/>
                  <a:pt x="368300" y="509905"/>
                  <a:pt x="369570" y="511175"/>
                </a:cubicBezTo>
                <a:cubicBezTo>
                  <a:pt x="372745" y="516255"/>
                  <a:pt x="379730" y="516255"/>
                  <a:pt x="382905" y="511175"/>
                </a:cubicBezTo>
                <a:cubicBezTo>
                  <a:pt x="383540" y="510540"/>
                  <a:pt x="384810" y="509270"/>
                  <a:pt x="385445" y="508000"/>
                </a:cubicBezTo>
                <a:cubicBezTo>
                  <a:pt x="436880" y="405765"/>
                  <a:pt x="488315" y="302895"/>
                  <a:pt x="539115" y="200660"/>
                </a:cubicBezTo>
                <a:cubicBezTo>
                  <a:pt x="539115" y="200025"/>
                  <a:pt x="539750" y="198755"/>
                  <a:pt x="541020" y="197485"/>
                </a:cubicBezTo>
                <a:cubicBezTo>
                  <a:pt x="581025" y="301625"/>
                  <a:pt x="548640" y="430530"/>
                  <a:pt x="445135" y="504825"/>
                </a:cubicBezTo>
                <a:close/>
              </a:path>
            </a:pathLst>
          </a:custGeom>
          <a:solidFill>
            <a:srgbClr val="002733"/>
          </a:solidFill>
          <a:ln w="6350" cap="flat">
            <a:noFill/>
            <a:prstDash val="solid"/>
            <a:miter/>
          </a:ln>
        </p:spPr>
        <p:txBody>
          <a:bodyPr rtlCol="0" anchor="ctr"/>
          <a:lstStyle/>
          <a:p>
            <a:endParaRPr lang="en-GB"/>
          </a:p>
        </p:txBody>
      </p:sp>
      <p:grpSp>
        <p:nvGrpSpPr>
          <p:cNvPr id="932" name="Graphic 79">
            <a:extLst>
              <a:ext uri="{FF2B5EF4-FFF2-40B4-BE49-F238E27FC236}">
                <a16:creationId xmlns:a16="http://schemas.microsoft.com/office/drawing/2014/main" id="{AE4FC295-5A99-F205-AF40-6C85FF9E70BC}"/>
              </a:ext>
            </a:extLst>
          </p:cNvPr>
          <p:cNvGrpSpPr/>
          <p:nvPr/>
        </p:nvGrpSpPr>
        <p:grpSpPr>
          <a:xfrm>
            <a:off x="3714750" y="1647825"/>
            <a:ext cx="1587500" cy="1187450"/>
            <a:chOff x="3714750" y="1647825"/>
            <a:chExt cx="1587500" cy="1187450"/>
          </a:xfrm>
        </p:grpSpPr>
        <p:sp>
          <p:nvSpPr>
            <p:cNvPr id="933" name="Freeform 932">
              <a:extLst>
                <a:ext uri="{FF2B5EF4-FFF2-40B4-BE49-F238E27FC236}">
                  <a16:creationId xmlns:a16="http://schemas.microsoft.com/office/drawing/2014/main" id="{D961D571-79B7-1F8A-1E63-E074EB22FCD8}"/>
                </a:ext>
              </a:extLst>
            </p:cNvPr>
            <p:cNvSpPr/>
            <p:nvPr/>
          </p:nvSpPr>
          <p:spPr>
            <a:xfrm>
              <a:off x="3714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934" name="Graphic 79">
              <a:extLst>
                <a:ext uri="{FF2B5EF4-FFF2-40B4-BE49-F238E27FC236}">
                  <a16:creationId xmlns:a16="http://schemas.microsoft.com/office/drawing/2014/main" id="{C1945A27-1C15-B49E-F560-C070A466D874}"/>
                </a:ext>
              </a:extLst>
            </p:cNvPr>
            <p:cNvGrpSpPr/>
            <p:nvPr/>
          </p:nvGrpSpPr>
          <p:grpSpPr>
            <a:xfrm>
              <a:off x="4093209" y="1875154"/>
              <a:ext cx="830580" cy="732790"/>
              <a:chOff x="4093209" y="1875154"/>
              <a:chExt cx="830580" cy="732790"/>
            </a:xfrm>
            <a:solidFill>
              <a:srgbClr val="002733"/>
            </a:solidFill>
          </p:grpSpPr>
          <p:sp>
            <p:nvSpPr>
              <p:cNvPr id="935" name="Freeform 934">
                <a:extLst>
                  <a:ext uri="{FF2B5EF4-FFF2-40B4-BE49-F238E27FC236}">
                    <a16:creationId xmlns:a16="http://schemas.microsoft.com/office/drawing/2014/main" id="{26D20AEF-3592-3275-F749-0FA8B8A20FD4}"/>
                  </a:ext>
                </a:extLst>
              </p:cNvPr>
              <p:cNvSpPr/>
              <p:nvPr/>
            </p:nvSpPr>
            <p:spPr>
              <a:xfrm>
                <a:off x="4093209" y="2498725"/>
                <a:ext cx="71120" cy="83185"/>
              </a:xfrm>
              <a:custGeom>
                <a:avLst/>
                <a:gdLst>
                  <a:gd name="connsiteX0" fmla="*/ 53975 w 71120"/>
                  <a:gd name="connsiteY0" fmla="*/ 57150 h 83185"/>
                  <a:gd name="connsiteX1" fmla="*/ 53975 w 71120"/>
                  <a:gd name="connsiteY1" fmla="*/ 57150 h 83185"/>
                  <a:gd name="connsiteX2" fmla="*/ 17780 w 71120"/>
                  <a:gd name="connsiteY2" fmla="*/ 0 h 83185"/>
                  <a:gd name="connsiteX3" fmla="*/ 0 w 71120"/>
                  <a:gd name="connsiteY3" fmla="*/ 0 h 83185"/>
                  <a:gd name="connsiteX4" fmla="*/ 0 w 71120"/>
                  <a:gd name="connsiteY4" fmla="*/ 83185 h 83185"/>
                  <a:gd name="connsiteX5" fmla="*/ 17145 w 71120"/>
                  <a:gd name="connsiteY5" fmla="*/ 83185 h 83185"/>
                  <a:gd name="connsiteX6" fmla="*/ 17145 w 71120"/>
                  <a:gd name="connsiteY6" fmla="*/ 25400 h 83185"/>
                  <a:gd name="connsiteX7" fmla="*/ 17145 w 71120"/>
                  <a:gd name="connsiteY7" fmla="*/ 25400 h 83185"/>
                  <a:gd name="connsiteX8" fmla="*/ 53340 w 71120"/>
                  <a:gd name="connsiteY8" fmla="*/ 83185 h 83185"/>
                  <a:gd name="connsiteX9" fmla="*/ 71120 w 71120"/>
                  <a:gd name="connsiteY9" fmla="*/ 83185 h 83185"/>
                  <a:gd name="connsiteX10" fmla="*/ 71120 w 71120"/>
                  <a:gd name="connsiteY10" fmla="*/ 0 h 83185"/>
                  <a:gd name="connsiteX11" fmla="*/ 53975 w 71120"/>
                  <a:gd name="connsiteY11" fmla="*/ 0 h 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120" h="83185">
                    <a:moveTo>
                      <a:pt x="53975" y="57150"/>
                    </a:moveTo>
                    <a:lnTo>
                      <a:pt x="53975" y="57150"/>
                    </a:lnTo>
                    <a:lnTo>
                      <a:pt x="17780" y="0"/>
                    </a:lnTo>
                    <a:lnTo>
                      <a:pt x="0" y="0"/>
                    </a:lnTo>
                    <a:lnTo>
                      <a:pt x="0" y="83185"/>
                    </a:lnTo>
                    <a:lnTo>
                      <a:pt x="17145" y="83185"/>
                    </a:lnTo>
                    <a:lnTo>
                      <a:pt x="17145" y="25400"/>
                    </a:lnTo>
                    <a:lnTo>
                      <a:pt x="17145" y="25400"/>
                    </a:lnTo>
                    <a:lnTo>
                      <a:pt x="53340" y="83185"/>
                    </a:lnTo>
                    <a:lnTo>
                      <a:pt x="71120" y="83185"/>
                    </a:lnTo>
                    <a:lnTo>
                      <a:pt x="71120" y="0"/>
                    </a:lnTo>
                    <a:lnTo>
                      <a:pt x="53975" y="0"/>
                    </a:lnTo>
                    <a:close/>
                  </a:path>
                </a:pathLst>
              </a:custGeom>
              <a:solidFill>
                <a:srgbClr val="002733"/>
              </a:solidFill>
              <a:ln w="6350" cap="flat">
                <a:noFill/>
                <a:prstDash val="solid"/>
                <a:miter/>
              </a:ln>
            </p:spPr>
            <p:txBody>
              <a:bodyPr rtlCol="0" anchor="ctr"/>
              <a:lstStyle/>
              <a:p>
                <a:endParaRPr lang="en-GB"/>
              </a:p>
            </p:txBody>
          </p:sp>
          <p:sp>
            <p:nvSpPr>
              <p:cNvPr id="936" name="Freeform 935">
                <a:extLst>
                  <a:ext uri="{FF2B5EF4-FFF2-40B4-BE49-F238E27FC236}">
                    <a16:creationId xmlns:a16="http://schemas.microsoft.com/office/drawing/2014/main" id="{1D0F8E33-CC1C-4127-54D1-AA60660A5A11}"/>
                  </a:ext>
                </a:extLst>
              </p:cNvPr>
              <p:cNvSpPr/>
              <p:nvPr/>
            </p:nvSpPr>
            <p:spPr>
              <a:xfrm>
                <a:off x="4182109"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002733"/>
              </a:solidFill>
              <a:ln w="6350" cap="flat">
                <a:noFill/>
                <a:prstDash val="solid"/>
                <a:miter/>
              </a:ln>
            </p:spPr>
            <p:txBody>
              <a:bodyPr rtlCol="0" anchor="ctr"/>
              <a:lstStyle/>
              <a:p>
                <a:endParaRPr lang="en-GB"/>
              </a:p>
            </p:txBody>
          </p:sp>
          <p:sp>
            <p:nvSpPr>
              <p:cNvPr id="937" name="Freeform 936">
                <a:extLst>
                  <a:ext uri="{FF2B5EF4-FFF2-40B4-BE49-F238E27FC236}">
                    <a16:creationId xmlns:a16="http://schemas.microsoft.com/office/drawing/2014/main" id="{EE0B04B7-085E-B160-9F23-77BE5E8C82C7}"/>
                  </a:ext>
                </a:extLst>
              </p:cNvPr>
              <p:cNvSpPr/>
              <p:nvPr/>
            </p:nvSpPr>
            <p:spPr>
              <a:xfrm>
                <a:off x="4249420" y="2508885"/>
                <a:ext cx="45084" cy="74929"/>
              </a:xfrm>
              <a:custGeom>
                <a:avLst/>
                <a:gdLst>
                  <a:gd name="connsiteX0" fmla="*/ 27305 w 45084"/>
                  <a:gd name="connsiteY0" fmla="*/ 0 h 74929"/>
                  <a:gd name="connsiteX1" fmla="*/ 10795 w 45084"/>
                  <a:gd name="connsiteY1" fmla="*/ 0 h 74929"/>
                  <a:gd name="connsiteX2" fmla="*/ 10795 w 45084"/>
                  <a:gd name="connsiteY2" fmla="*/ 13970 h 74929"/>
                  <a:gd name="connsiteX3" fmla="*/ 0 w 45084"/>
                  <a:gd name="connsiteY3" fmla="*/ 17780 h 74929"/>
                  <a:gd name="connsiteX4" fmla="*/ 0 w 45084"/>
                  <a:gd name="connsiteY4" fmla="*/ 26670 h 74929"/>
                  <a:gd name="connsiteX5" fmla="*/ 10795 w 45084"/>
                  <a:gd name="connsiteY5" fmla="*/ 26670 h 74929"/>
                  <a:gd name="connsiteX6" fmla="*/ 10795 w 45084"/>
                  <a:gd name="connsiteY6" fmla="*/ 57785 h 74929"/>
                  <a:gd name="connsiteX7" fmla="*/ 30480 w 45084"/>
                  <a:gd name="connsiteY7" fmla="*/ 74930 h 74929"/>
                  <a:gd name="connsiteX8" fmla="*/ 44450 w 45084"/>
                  <a:gd name="connsiteY8" fmla="*/ 73025 h 74929"/>
                  <a:gd name="connsiteX9" fmla="*/ 44450 w 45084"/>
                  <a:gd name="connsiteY9" fmla="*/ 59690 h 74929"/>
                  <a:gd name="connsiteX10" fmla="*/ 34925 w 45084"/>
                  <a:gd name="connsiteY10" fmla="*/ 61595 h 74929"/>
                  <a:gd name="connsiteX11" fmla="*/ 27940 w 45084"/>
                  <a:gd name="connsiteY11" fmla="*/ 54610 h 74929"/>
                  <a:gd name="connsiteX12" fmla="*/ 27940 w 45084"/>
                  <a:gd name="connsiteY12" fmla="*/ 26670 h 74929"/>
                  <a:gd name="connsiteX13" fmla="*/ 45085 w 45084"/>
                  <a:gd name="connsiteY13" fmla="*/ 26670 h 74929"/>
                  <a:gd name="connsiteX14" fmla="*/ 45085 w 45084"/>
                  <a:gd name="connsiteY14" fmla="*/ 13970 h 74929"/>
                  <a:gd name="connsiteX15" fmla="*/ 27940 w 45084"/>
                  <a:gd name="connsiteY15" fmla="*/ 13970 h 74929"/>
                  <a:gd name="connsiteX16" fmla="*/ 27940 w 45084"/>
                  <a:gd name="connsiteY16" fmla="*/ 0 h 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84" h="74929">
                    <a:moveTo>
                      <a:pt x="27305" y="0"/>
                    </a:moveTo>
                    <a:lnTo>
                      <a:pt x="10795" y="0"/>
                    </a:lnTo>
                    <a:lnTo>
                      <a:pt x="10795" y="13970"/>
                    </a:lnTo>
                    <a:lnTo>
                      <a:pt x="0" y="17780"/>
                    </a:lnTo>
                    <a:lnTo>
                      <a:pt x="0" y="26670"/>
                    </a:lnTo>
                    <a:lnTo>
                      <a:pt x="10795" y="26670"/>
                    </a:lnTo>
                    <a:lnTo>
                      <a:pt x="10795" y="57785"/>
                    </a:lnTo>
                    <a:cubicBezTo>
                      <a:pt x="10795" y="69850"/>
                      <a:pt x="17145" y="74930"/>
                      <a:pt x="30480" y="74930"/>
                    </a:cubicBezTo>
                    <a:cubicBezTo>
                      <a:pt x="36195" y="74930"/>
                      <a:pt x="41910" y="73660"/>
                      <a:pt x="44450" y="73025"/>
                    </a:cubicBezTo>
                    <a:lnTo>
                      <a:pt x="44450" y="59690"/>
                    </a:lnTo>
                    <a:cubicBezTo>
                      <a:pt x="41910" y="60325"/>
                      <a:pt x="37465" y="61595"/>
                      <a:pt x="34925" y="61595"/>
                    </a:cubicBezTo>
                    <a:cubicBezTo>
                      <a:pt x="29845" y="61595"/>
                      <a:pt x="27940" y="59055"/>
                      <a:pt x="27940" y="54610"/>
                    </a:cubicBezTo>
                    <a:lnTo>
                      <a:pt x="27940" y="26670"/>
                    </a:lnTo>
                    <a:lnTo>
                      <a:pt x="45085" y="26670"/>
                    </a:lnTo>
                    <a:lnTo>
                      <a:pt x="45085" y="13970"/>
                    </a:lnTo>
                    <a:lnTo>
                      <a:pt x="27940" y="13970"/>
                    </a:lnTo>
                    <a:lnTo>
                      <a:pt x="27940" y="0"/>
                    </a:lnTo>
                    <a:close/>
                  </a:path>
                </a:pathLst>
              </a:custGeom>
              <a:solidFill>
                <a:srgbClr val="002733"/>
              </a:solidFill>
              <a:ln w="6350" cap="flat">
                <a:noFill/>
                <a:prstDash val="solid"/>
                <a:miter/>
              </a:ln>
            </p:spPr>
            <p:txBody>
              <a:bodyPr rtlCol="0" anchor="ctr"/>
              <a:lstStyle/>
              <a:p>
                <a:endParaRPr lang="en-GB"/>
              </a:p>
            </p:txBody>
          </p:sp>
          <p:sp>
            <p:nvSpPr>
              <p:cNvPr id="938" name="Freeform 937">
                <a:extLst>
                  <a:ext uri="{FF2B5EF4-FFF2-40B4-BE49-F238E27FC236}">
                    <a16:creationId xmlns:a16="http://schemas.microsoft.com/office/drawing/2014/main" id="{163666AA-6084-0029-8615-2D3ABED18F5C}"/>
                  </a:ext>
                </a:extLst>
              </p:cNvPr>
              <p:cNvSpPr/>
              <p:nvPr/>
            </p:nvSpPr>
            <p:spPr>
              <a:xfrm>
                <a:off x="4302759"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002733"/>
              </a:solidFill>
              <a:ln w="6350" cap="flat">
                <a:noFill/>
                <a:prstDash val="solid"/>
                <a:miter/>
              </a:ln>
            </p:spPr>
            <p:txBody>
              <a:bodyPr rtlCol="0" anchor="ctr"/>
              <a:lstStyle/>
              <a:p>
                <a:endParaRPr lang="en-GB"/>
              </a:p>
            </p:txBody>
          </p:sp>
          <p:sp>
            <p:nvSpPr>
              <p:cNvPr id="939" name="Freeform 938">
                <a:extLst>
                  <a:ext uri="{FF2B5EF4-FFF2-40B4-BE49-F238E27FC236}">
                    <a16:creationId xmlns:a16="http://schemas.microsoft.com/office/drawing/2014/main" id="{CD37DA33-8002-365F-71FE-F59C553D5E0E}"/>
                  </a:ext>
                </a:extLst>
              </p:cNvPr>
              <p:cNvSpPr/>
              <p:nvPr/>
            </p:nvSpPr>
            <p:spPr>
              <a:xfrm>
                <a:off x="4359909" y="2496185"/>
                <a:ext cx="41910" cy="86360"/>
              </a:xfrm>
              <a:custGeom>
                <a:avLst/>
                <a:gdLst>
                  <a:gd name="connsiteX0" fmla="*/ 27305 w 41910"/>
                  <a:gd name="connsiteY0" fmla="*/ 19685 h 86360"/>
                  <a:gd name="connsiteX1" fmla="*/ 33655 w 41910"/>
                  <a:gd name="connsiteY1" fmla="*/ 13335 h 86360"/>
                  <a:gd name="connsiteX2" fmla="*/ 41910 w 41910"/>
                  <a:gd name="connsiteY2" fmla="*/ 13970 h 86360"/>
                  <a:gd name="connsiteX3" fmla="*/ 41910 w 41910"/>
                  <a:gd name="connsiteY3" fmla="*/ 635 h 86360"/>
                  <a:gd name="connsiteX4" fmla="*/ 31115 w 41910"/>
                  <a:gd name="connsiteY4" fmla="*/ 0 h 86360"/>
                  <a:gd name="connsiteX5" fmla="*/ 10795 w 41910"/>
                  <a:gd name="connsiteY5" fmla="*/ 19685 h 86360"/>
                  <a:gd name="connsiteX6" fmla="*/ 10795 w 41910"/>
                  <a:gd name="connsiteY6" fmla="*/ 27305 h 86360"/>
                  <a:gd name="connsiteX7" fmla="*/ 0 w 41910"/>
                  <a:gd name="connsiteY7" fmla="*/ 31115 h 86360"/>
                  <a:gd name="connsiteX8" fmla="*/ 0 w 41910"/>
                  <a:gd name="connsiteY8" fmla="*/ 40005 h 86360"/>
                  <a:gd name="connsiteX9" fmla="*/ 10795 w 41910"/>
                  <a:gd name="connsiteY9" fmla="*/ 40005 h 86360"/>
                  <a:gd name="connsiteX10" fmla="*/ 10795 w 41910"/>
                  <a:gd name="connsiteY10" fmla="*/ 86360 h 86360"/>
                  <a:gd name="connsiteX11" fmla="*/ 27305 w 41910"/>
                  <a:gd name="connsiteY11" fmla="*/ 86360 h 86360"/>
                  <a:gd name="connsiteX12" fmla="*/ 27305 w 41910"/>
                  <a:gd name="connsiteY12" fmla="*/ 40005 h 86360"/>
                  <a:gd name="connsiteX13" fmla="*/ 41910 w 41910"/>
                  <a:gd name="connsiteY13" fmla="*/ 40005 h 86360"/>
                  <a:gd name="connsiteX14" fmla="*/ 41910 w 41910"/>
                  <a:gd name="connsiteY14" fmla="*/ 27305 h 86360"/>
                  <a:gd name="connsiteX15" fmla="*/ 27305 w 41910"/>
                  <a:gd name="connsiteY15" fmla="*/ 27305 h 86360"/>
                  <a:gd name="connsiteX16" fmla="*/ 27305 w 41910"/>
                  <a:gd name="connsiteY16" fmla="*/ 19685 h 8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910" h="86360">
                    <a:moveTo>
                      <a:pt x="27305" y="19685"/>
                    </a:moveTo>
                    <a:cubicBezTo>
                      <a:pt x="27305" y="13970"/>
                      <a:pt x="29210" y="13335"/>
                      <a:pt x="33655" y="13335"/>
                    </a:cubicBezTo>
                    <a:cubicBezTo>
                      <a:pt x="35560" y="13335"/>
                      <a:pt x="39370" y="13970"/>
                      <a:pt x="41910" y="13970"/>
                    </a:cubicBezTo>
                    <a:lnTo>
                      <a:pt x="41910" y="635"/>
                    </a:lnTo>
                    <a:cubicBezTo>
                      <a:pt x="39370" y="0"/>
                      <a:pt x="34925" y="0"/>
                      <a:pt x="31115" y="0"/>
                    </a:cubicBezTo>
                    <a:cubicBezTo>
                      <a:pt x="19050" y="0"/>
                      <a:pt x="10795" y="5715"/>
                      <a:pt x="10795" y="19685"/>
                    </a:cubicBezTo>
                    <a:lnTo>
                      <a:pt x="10795" y="27305"/>
                    </a:lnTo>
                    <a:lnTo>
                      <a:pt x="0" y="31115"/>
                    </a:lnTo>
                    <a:lnTo>
                      <a:pt x="0" y="40005"/>
                    </a:lnTo>
                    <a:lnTo>
                      <a:pt x="10795" y="40005"/>
                    </a:lnTo>
                    <a:lnTo>
                      <a:pt x="10795" y="86360"/>
                    </a:lnTo>
                    <a:lnTo>
                      <a:pt x="27305" y="86360"/>
                    </a:lnTo>
                    <a:lnTo>
                      <a:pt x="27305" y="40005"/>
                    </a:lnTo>
                    <a:lnTo>
                      <a:pt x="41910" y="40005"/>
                    </a:lnTo>
                    <a:lnTo>
                      <a:pt x="41910" y="27305"/>
                    </a:lnTo>
                    <a:lnTo>
                      <a:pt x="27305" y="27305"/>
                    </a:lnTo>
                    <a:lnTo>
                      <a:pt x="27305" y="19685"/>
                    </a:lnTo>
                    <a:close/>
                  </a:path>
                </a:pathLst>
              </a:custGeom>
              <a:solidFill>
                <a:srgbClr val="002733"/>
              </a:solidFill>
              <a:ln w="6350" cap="flat">
                <a:noFill/>
                <a:prstDash val="solid"/>
                <a:miter/>
              </a:ln>
            </p:spPr>
            <p:txBody>
              <a:bodyPr rtlCol="0" anchor="ctr"/>
              <a:lstStyle/>
              <a:p>
                <a:endParaRPr lang="en-GB"/>
              </a:p>
            </p:txBody>
          </p:sp>
          <p:sp>
            <p:nvSpPr>
              <p:cNvPr id="940" name="Freeform 939">
                <a:extLst>
                  <a:ext uri="{FF2B5EF4-FFF2-40B4-BE49-F238E27FC236}">
                    <a16:creationId xmlns:a16="http://schemas.microsoft.com/office/drawing/2014/main" id="{94F99414-749F-6E16-AAFF-8CAA542BA12D}"/>
                  </a:ext>
                </a:extLst>
              </p:cNvPr>
              <p:cNvSpPr/>
              <p:nvPr/>
            </p:nvSpPr>
            <p:spPr>
              <a:xfrm>
                <a:off x="4408170" y="2520950"/>
                <a:ext cx="60325" cy="62229"/>
              </a:xfrm>
              <a:custGeom>
                <a:avLst/>
                <a:gdLst>
                  <a:gd name="connsiteX0" fmla="*/ 53975 w 60325"/>
                  <a:gd name="connsiteY0" fmla="*/ 48260 h 62229"/>
                  <a:gd name="connsiteX1" fmla="*/ 53975 w 60325"/>
                  <a:gd name="connsiteY1" fmla="*/ 24130 h 62229"/>
                  <a:gd name="connsiteX2" fmla="*/ 28575 w 60325"/>
                  <a:gd name="connsiteY2" fmla="*/ 0 h 62229"/>
                  <a:gd name="connsiteX3" fmla="*/ 3810 w 60325"/>
                  <a:gd name="connsiteY3" fmla="*/ 5080 h 62229"/>
                  <a:gd name="connsiteX4" fmla="*/ 7620 w 60325"/>
                  <a:gd name="connsiteY4" fmla="*/ 17780 h 62229"/>
                  <a:gd name="connsiteX5" fmla="*/ 27305 w 60325"/>
                  <a:gd name="connsiteY5" fmla="*/ 13335 h 62229"/>
                  <a:gd name="connsiteX6" fmla="*/ 37465 w 60325"/>
                  <a:gd name="connsiteY6" fmla="*/ 21590 h 62229"/>
                  <a:gd name="connsiteX7" fmla="*/ 37465 w 60325"/>
                  <a:gd name="connsiteY7" fmla="*/ 24130 h 62229"/>
                  <a:gd name="connsiteX8" fmla="*/ 29210 w 60325"/>
                  <a:gd name="connsiteY8" fmla="*/ 24130 h 62229"/>
                  <a:gd name="connsiteX9" fmla="*/ 0 w 60325"/>
                  <a:gd name="connsiteY9" fmla="*/ 43815 h 62229"/>
                  <a:gd name="connsiteX10" fmla="*/ 20320 w 60325"/>
                  <a:gd name="connsiteY10" fmla="*/ 62230 h 62229"/>
                  <a:gd name="connsiteX11" fmla="*/ 39370 w 60325"/>
                  <a:gd name="connsiteY11" fmla="*/ 54610 h 62229"/>
                  <a:gd name="connsiteX12" fmla="*/ 39370 w 60325"/>
                  <a:gd name="connsiteY12" fmla="*/ 54610 h 62229"/>
                  <a:gd name="connsiteX13" fmla="*/ 51435 w 60325"/>
                  <a:gd name="connsiteY13" fmla="*/ 61595 h 62229"/>
                  <a:gd name="connsiteX14" fmla="*/ 60325 w 60325"/>
                  <a:gd name="connsiteY14" fmla="*/ 60960 h 62229"/>
                  <a:gd name="connsiteX15" fmla="*/ 60325 w 60325"/>
                  <a:gd name="connsiteY15" fmla="*/ 49530 h 62229"/>
                  <a:gd name="connsiteX16" fmla="*/ 55880 w 60325"/>
                  <a:gd name="connsiteY16" fmla="*/ 49530 h 62229"/>
                  <a:gd name="connsiteX17" fmla="*/ 53975 w 60325"/>
                  <a:gd name="connsiteY17" fmla="*/ 48260 h 62229"/>
                  <a:gd name="connsiteX18" fmla="*/ 37465 w 60325"/>
                  <a:gd name="connsiteY18" fmla="*/ 45720 h 62229"/>
                  <a:gd name="connsiteX19" fmla="*/ 24130 w 60325"/>
                  <a:gd name="connsiteY19" fmla="*/ 49530 h 62229"/>
                  <a:gd name="connsiteX20" fmla="*/ 16510 w 60325"/>
                  <a:gd name="connsiteY20" fmla="*/ 42545 h 62229"/>
                  <a:gd name="connsiteX21" fmla="*/ 31750 w 60325"/>
                  <a:gd name="connsiteY21" fmla="*/ 35560 h 62229"/>
                  <a:gd name="connsiteX22" fmla="*/ 38100 w 60325"/>
                  <a:gd name="connsiteY22" fmla="*/ 35560 h 62229"/>
                  <a:gd name="connsiteX23" fmla="*/ 38100 w 60325"/>
                  <a:gd name="connsiteY23" fmla="*/ 45720 h 62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325" h="62229">
                    <a:moveTo>
                      <a:pt x="53975" y="48260"/>
                    </a:moveTo>
                    <a:lnTo>
                      <a:pt x="53975" y="24130"/>
                    </a:lnTo>
                    <a:cubicBezTo>
                      <a:pt x="53975" y="8890"/>
                      <a:pt x="45720" y="0"/>
                      <a:pt x="28575" y="0"/>
                    </a:cubicBezTo>
                    <a:cubicBezTo>
                      <a:pt x="19050" y="0"/>
                      <a:pt x="10160" y="2540"/>
                      <a:pt x="3810" y="5080"/>
                    </a:cubicBezTo>
                    <a:lnTo>
                      <a:pt x="7620" y="17780"/>
                    </a:lnTo>
                    <a:cubicBezTo>
                      <a:pt x="13335" y="15240"/>
                      <a:pt x="20955" y="13335"/>
                      <a:pt x="27305" y="13335"/>
                    </a:cubicBezTo>
                    <a:cubicBezTo>
                      <a:pt x="31115" y="13335"/>
                      <a:pt x="37465" y="14605"/>
                      <a:pt x="37465" y="21590"/>
                    </a:cubicBezTo>
                    <a:lnTo>
                      <a:pt x="37465" y="24130"/>
                    </a:lnTo>
                    <a:lnTo>
                      <a:pt x="29210" y="24130"/>
                    </a:lnTo>
                    <a:cubicBezTo>
                      <a:pt x="8255" y="24130"/>
                      <a:pt x="0" y="30480"/>
                      <a:pt x="0" y="43815"/>
                    </a:cubicBezTo>
                    <a:cubicBezTo>
                      <a:pt x="0" y="54610"/>
                      <a:pt x="6985" y="62230"/>
                      <a:pt x="20320" y="62230"/>
                    </a:cubicBezTo>
                    <a:cubicBezTo>
                      <a:pt x="27305" y="62230"/>
                      <a:pt x="35560" y="58420"/>
                      <a:pt x="39370" y="54610"/>
                    </a:cubicBezTo>
                    <a:lnTo>
                      <a:pt x="39370" y="54610"/>
                    </a:lnTo>
                    <a:cubicBezTo>
                      <a:pt x="41275" y="59055"/>
                      <a:pt x="45085" y="61595"/>
                      <a:pt x="51435" y="61595"/>
                    </a:cubicBezTo>
                    <a:cubicBezTo>
                      <a:pt x="55245" y="61595"/>
                      <a:pt x="57785" y="60960"/>
                      <a:pt x="60325" y="60960"/>
                    </a:cubicBezTo>
                    <a:lnTo>
                      <a:pt x="60325" y="49530"/>
                    </a:lnTo>
                    <a:lnTo>
                      <a:pt x="55880" y="49530"/>
                    </a:lnTo>
                    <a:cubicBezTo>
                      <a:pt x="53975" y="50165"/>
                      <a:pt x="53975" y="50165"/>
                      <a:pt x="53975" y="48260"/>
                    </a:cubicBezTo>
                    <a:close/>
                    <a:moveTo>
                      <a:pt x="37465" y="45720"/>
                    </a:moveTo>
                    <a:cubicBezTo>
                      <a:pt x="34290" y="48260"/>
                      <a:pt x="27940" y="49530"/>
                      <a:pt x="24130" y="49530"/>
                    </a:cubicBezTo>
                    <a:cubicBezTo>
                      <a:pt x="19050" y="49530"/>
                      <a:pt x="16510" y="47625"/>
                      <a:pt x="16510" y="42545"/>
                    </a:cubicBezTo>
                    <a:cubicBezTo>
                      <a:pt x="16510" y="38100"/>
                      <a:pt x="20955" y="35560"/>
                      <a:pt x="31750" y="35560"/>
                    </a:cubicBezTo>
                    <a:lnTo>
                      <a:pt x="38100" y="35560"/>
                    </a:lnTo>
                    <a:lnTo>
                      <a:pt x="38100" y="45720"/>
                    </a:lnTo>
                    <a:close/>
                  </a:path>
                </a:pathLst>
              </a:custGeom>
              <a:solidFill>
                <a:srgbClr val="002733"/>
              </a:solidFill>
              <a:ln w="6350" cap="flat">
                <a:noFill/>
                <a:prstDash val="solid"/>
                <a:miter/>
              </a:ln>
            </p:spPr>
            <p:txBody>
              <a:bodyPr rtlCol="0" anchor="ctr"/>
              <a:lstStyle/>
              <a:p>
                <a:endParaRPr lang="en-GB"/>
              </a:p>
            </p:txBody>
          </p:sp>
          <p:sp>
            <p:nvSpPr>
              <p:cNvPr id="941" name="Freeform 940">
                <a:extLst>
                  <a:ext uri="{FF2B5EF4-FFF2-40B4-BE49-F238E27FC236}">
                    <a16:creationId xmlns:a16="http://schemas.microsoft.com/office/drawing/2014/main" id="{FB5D70BB-97D4-9F97-FE79-31E3DCE1E5AE}"/>
                  </a:ext>
                </a:extLst>
              </p:cNvPr>
              <p:cNvSpPr/>
              <p:nvPr/>
            </p:nvSpPr>
            <p:spPr>
              <a:xfrm>
                <a:off x="4480559" y="2496185"/>
                <a:ext cx="56515" cy="85725"/>
              </a:xfrm>
              <a:custGeom>
                <a:avLst/>
                <a:gdLst>
                  <a:gd name="connsiteX0" fmla="*/ 34290 w 56515"/>
                  <a:gd name="connsiteY0" fmla="*/ 24765 h 85725"/>
                  <a:gd name="connsiteX1" fmla="*/ 16510 w 56515"/>
                  <a:gd name="connsiteY1" fmla="*/ 31750 h 85725"/>
                  <a:gd name="connsiteX2" fmla="*/ 16510 w 56515"/>
                  <a:gd name="connsiteY2" fmla="*/ 31750 h 85725"/>
                  <a:gd name="connsiteX3" fmla="*/ 16510 w 56515"/>
                  <a:gd name="connsiteY3" fmla="*/ 0 h 85725"/>
                  <a:gd name="connsiteX4" fmla="*/ 0 w 56515"/>
                  <a:gd name="connsiteY4" fmla="*/ 0 h 85725"/>
                  <a:gd name="connsiteX5" fmla="*/ 0 w 56515"/>
                  <a:gd name="connsiteY5" fmla="*/ 85725 h 85725"/>
                  <a:gd name="connsiteX6" fmla="*/ 16510 w 56515"/>
                  <a:gd name="connsiteY6" fmla="*/ 85725 h 85725"/>
                  <a:gd name="connsiteX7" fmla="*/ 16510 w 56515"/>
                  <a:gd name="connsiteY7" fmla="*/ 43815 h 85725"/>
                  <a:gd name="connsiteX8" fmla="*/ 29210 w 56515"/>
                  <a:gd name="connsiteY8" fmla="*/ 38100 h 85725"/>
                  <a:gd name="connsiteX9" fmla="*/ 40005 w 56515"/>
                  <a:gd name="connsiteY9" fmla="*/ 50165 h 85725"/>
                  <a:gd name="connsiteX10" fmla="*/ 40005 w 56515"/>
                  <a:gd name="connsiteY10" fmla="*/ 85725 h 85725"/>
                  <a:gd name="connsiteX11" fmla="*/ 56515 w 56515"/>
                  <a:gd name="connsiteY11" fmla="*/ 85725 h 85725"/>
                  <a:gd name="connsiteX12" fmla="*/ 56515 w 56515"/>
                  <a:gd name="connsiteY12" fmla="*/ 48260 h 85725"/>
                  <a:gd name="connsiteX13" fmla="*/ 34290 w 56515"/>
                  <a:gd name="connsiteY13" fmla="*/ 2476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515" h="85725">
                    <a:moveTo>
                      <a:pt x="34290" y="24765"/>
                    </a:moveTo>
                    <a:cubicBezTo>
                      <a:pt x="26670" y="24765"/>
                      <a:pt x="19685" y="28575"/>
                      <a:pt x="16510" y="31750"/>
                    </a:cubicBezTo>
                    <a:lnTo>
                      <a:pt x="16510" y="31750"/>
                    </a:lnTo>
                    <a:lnTo>
                      <a:pt x="16510" y="0"/>
                    </a:lnTo>
                    <a:lnTo>
                      <a:pt x="0" y="0"/>
                    </a:lnTo>
                    <a:lnTo>
                      <a:pt x="0" y="85725"/>
                    </a:lnTo>
                    <a:lnTo>
                      <a:pt x="16510" y="85725"/>
                    </a:lnTo>
                    <a:lnTo>
                      <a:pt x="16510" y="43815"/>
                    </a:lnTo>
                    <a:cubicBezTo>
                      <a:pt x="19050" y="41275"/>
                      <a:pt x="23495" y="38100"/>
                      <a:pt x="29210" y="38100"/>
                    </a:cubicBezTo>
                    <a:cubicBezTo>
                      <a:pt x="36195" y="38100"/>
                      <a:pt x="40005" y="42545"/>
                      <a:pt x="40005" y="50165"/>
                    </a:cubicBezTo>
                    <a:lnTo>
                      <a:pt x="40005" y="85725"/>
                    </a:lnTo>
                    <a:lnTo>
                      <a:pt x="56515" y="85725"/>
                    </a:lnTo>
                    <a:lnTo>
                      <a:pt x="56515" y="48260"/>
                    </a:lnTo>
                    <a:cubicBezTo>
                      <a:pt x="56515" y="34290"/>
                      <a:pt x="48260" y="24765"/>
                      <a:pt x="34290" y="24765"/>
                    </a:cubicBezTo>
                    <a:close/>
                  </a:path>
                </a:pathLst>
              </a:custGeom>
              <a:solidFill>
                <a:srgbClr val="002733"/>
              </a:solidFill>
              <a:ln w="6350" cap="flat">
                <a:noFill/>
                <a:prstDash val="solid"/>
                <a:miter/>
              </a:ln>
            </p:spPr>
            <p:txBody>
              <a:bodyPr rtlCol="0" anchor="ctr"/>
              <a:lstStyle/>
              <a:p>
                <a:endParaRPr lang="en-GB"/>
              </a:p>
            </p:txBody>
          </p:sp>
          <p:sp>
            <p:nvSpPr>
              <p:cNvPr id="942" name="Freeform 941">
                <a:extLst>
                  <a:ext uri="{FF2B5EF4-FFF2-40B4-BE49-F238E27FC236}">
                    <a16:creationId xmlns:a16="http://schemas.microsoft.com/office/drawing/2014/main" id="{1571869C-5DC8-1536-F803-E1A86C1FDB8C}"/>
                  </a:ext>
                </a:extLst>
              </p:cNvPr>
              <p:cNvSpPr/>
              <p:nvPr/>
            </p:nvSpPr>
            <p:spPr>
              <a:xfrm>
                <a:off x="4552315" y="2520950"/>
                <a:ext cx="36194" cy="60960"/>
              </a:xfrm>
              <a:custGeom>
                <a:avLst/>
                <a:gdLst>
                  <a:gd name="connsiteX0" fmla="*/ 15875 w 36194"/>
                  <a:gd name="connsiteY0" fmla="*/ 8890 h 60960"/>
                  <a:gd name="connsiteX1" fmla="*/ 15875 w 36194"/>
                  <a:gd name="connsiteY1" fmla="*/ 8890 h 60960"/>
                  <a:gd name="connsiteX2" fmla="*/ 13335 w 36194"/>
                  <a:gd name="connsiteY2" fmla="*/ 1905 h 60960"/>
                  <a:gd name="connsiteX3" fmla="*/ 0 w 36194"/>
                  <a:gd name="connsiteY3" fmla="*/ 1905 h 60960"/>
                  <a:gd name="connsiteX4" fmla="*/ 0 w 36194"/>
                  <a:gd name="connsiteY4" fmla="*/ 60960 h 60960"/>
                  <a:gd name="connsiteX5" fmla="*/ 16510 w 36194"/>
                  <a:gd name="connsiteY5" fmla="*/ 60960 h 60960"/>
                  <a:gd name="connsiteX6" fmla="*/ 16510 w 36194"/>
                  <a:gd name="connsiteY6" fmla="*/ 19685 h 60960"/>
                  <a:gd name="connsiteX7" fmla="*/ 29210 w 36194"/>
                  <a:gd name="connsiteY7" fmla="*/ 13970 h 60960"/>
                  <a:gd name="connsiteX8" fmla="*/ 34925 w 36194"/>
                  <a:gd name="connsiteY8" fmla="*/ 14605 h 60960"/>
                  <a:gd name="connsiteX9" fmla="*/ 36195 w 36194"/>
                  <a:gd name="connsiteY9" fmla="*/ 635 h 60960"/>
                  <a:gd name="connsiteX10" fmla="*/ 30480 w 36194"/>
                  <a:gd name="connsiteY10" fmla="*/ 0 h 60960"/>
                  <a:gd name="connsiteX11" fmla="*/ 15875 w 36194"/>
                  <a:gd name="connsiteY11" fmla="*/ 8890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94" h="60960">
                    <a:moveTo>
                      <a:pt x="15875" y="8890"/>
                    </a:moveTo>
                    <a:lnTo>
                      <a:pt x="15875" y="8890"/>
                    </a:lnTo>
                    <a:lnTo>
                      <a:pt x="13335" y="1905"/>
                    </a:lnTo>
                    <a:lnTo>
                      <a:pt x="0" y="1905"/>
                    </a:lnTo>
                    <a:lnTo>
                      <a:pt x="0" y="60960"/>
                    </a:lnTo>
                    <a:lnTo>
                      <a:pt x="16510" y="60960"/>
                    </a:lnTo>
                    <a:lnTo>
                      <a:pt x="16510" y="19685"/>
                    </a:lnTo>
                    <a:cubicBezTo>
                      <a:pt x="18415" y="17145"/>
                      <a:pt x="22860" y="13970"/>
                      <a:pt x="29210" y="13970"/>
                    </a:cubicBezTo>
                    <a:cubicBezTo>
                      <a:pt x="30480" y="13970"/>
                      <a:pt x="33020" y="13970"/>
                      <a:pt x="34925" y="14605"/>
                    </a:cubicBezTo>
                    <a:lnTo>
                      <a:pt x="36195" y="635"/>
                    </a:lnTo>
                    <a:cubicBezTo>
                      <a:pt x="34925" y="0"/>
                      <a:pt x="32385" y="0"/>
                      <a:pt x="30480" y="0"/>
                    </a:cubicBezTo>
                    <a:cubicBezTo>
                      <a:pt x="23495" y="0"/>
                      <a:pt x="18415" y="5080"/>
                      <a:pt x="15875" y="8890"/>
                    </a:cubicBezTo>
                    <a:close/>
                  </a:path>
                </a:pathLst>
              </a:custGeom>
              <a:solidFill>
                <a:srgbClr val="002733"/>
              </a:solidFill>
              <a:ln w="6350" cap="flat">
                <a:noFill/>
                <a:prstDash val="solid"/>
                <a:miter/>
              </a:ln>
            </p:spPr>
            <p:txBody>
              <a:bodyPr rtlCol="0" anchor="ctr"/>
              <a:lstStyle/>
              <a:p>
                <a:endParaRPr lang="en-GB"/>
              </a:p>
            </p:txBody>
          </p:sp>
          <p:sp>
            <p:nvSpPr>
              <p:cNvPr id="943" name="Freeform 942">
                <a:extLst>
                  <a:ext uri="{FF2B5EF4-FFF2-40B4-BE49-F238E27FC236}">
                    <a16:creationId xmlns:a16="http://schemas.microsoft.com/office/drawing/2014/main" id="{BABD42F7-FC0C-9E8B-EE13-A9347506FB63}"/>
                  </a:ext>
                </a:extLst>
              </p:cNvPr>
              <p:cNvSpPr/>
              <p:nvPr/>
            </p:nvSpPr>
            <p:spPr>
              <a:xfrm>
                <a:off x="4596129"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002733"/>
              </a:solidFill>
              <a:ln w="6350" cap="flat">
                <a:noFill/>
                <a:prstDash val="solid"/>
                <a:miter/>
              </a:ln>
            </p:spPr>
            <p:txBody>
              <a:bodyPr rtlCol="0" anchor="ctr"/>
              <a:lstStyle/>
              <a:p>
                <a:endParaRPr lang="en-GB"/>
              </a:p>
            </p:txBody>
          </p:sp>
          <p:sp>
            <p:nvSpPr>
              <p:cNvPr id="944" name="Freeform 943">
                <a:extLst>
                  <a:ext uri="{FF2B5EF4-FFF2-40B4-BE49-F238E27FC236}">
                    <a16:creationId xmlns:a16="http://schemas.microsoft.com/office/drawing/2014/main" id="{575643D9-8258-3BAB-AE0A-AC0682F543C8}"/>
                  </a:ext>
                </a:extLst>
              </p:cNvPr>
              <p:cNvSpPr/>
              <p:nvPr/>
            </p:nvSpPr>
            <p:spPr>
              <a:xfrm>
                <a:off x="4654550" y="2520950"/>
                <a:ext cx="57181" cy="62864"/>
              </a:xfrm>
              <a:custGeom>
                <a:avLst/>
                <a:gdLst>
                  <a:gd name="connsiteX0" fmla="*/ 29845 w 57181"/>
                  <a:gd name="connsiteY0" fmla="*/ 0 h 62864"/>
                  <a:gd name="connsiteX1" fmla="*/ 0 w 57181"/>
                  <a:gd name="connsiteY1" fmla="*/ 31115 h 62864"/>
                  <a:gd name="connsiteX2" fmla="*/ 30480 w 57181"/>
                  <a:gd name="connsiteY2" fmla="*/ 62865 h 62864"/>
                  <a:gd name="connsiteX3" fmla="*/ 54610 w 57181"/>
                  <a:gd name="connsiteY3" fmla="*/ 57785 h 62864"/>
                  <a:gd name="connsiteX4" fmla="*/ 50800 w 57181"/>
                  <a:gd name="connsiteY4" fmla="*/ 45720 h 62864"/>
                  <a:gd name="connsiteX5" fmla="*/ 31750 w 57181"/>
                  <a:gd name="connsiteY5" fmla="*/ 49530 h 62864"/>
                  <a:gd name="connsiteX6" fmla="*/ 16510 w 57181"/>
                  <a:gd name="connsiteY6" fmla="*/ 36195 h 62864"/>
                  <a:gd name="connsiteX7" fmla="*/ 56515 w 57181"/>
                  <a:gd name="connsiteY7" fmla="*/ 36195 h 62864"/>
                  <a:gd name="connsiteX8" fmla="*/ 57150 w 57181"/>
                  <a:gd name="connsiteY8" fmla="*/ 25400 h 62864"/>
                  <a:gd name="connsiteX9" fmla="*/ 29845 w 57181"/>
                  <a:gd name="connsiteY9" fmla="*/ 0 h 62864"/>
                  <a:gd name="connsiteX10" fmla="*/ 41910 w 57181"/>
                  <a:gd name="connsiteY10" fmla="*/ 26035 h 62864"/>
                  <a:gd name="connsiteX11" fmla="*/ 16510 w 57181"/>
                  <a:gd name="connsiteY11" fmla="*/ 26035 h 62864"/>
                  <a:gd name="connsiteX12" fmla="*/ 29210 w 57181"/>
                  <a:gd name="connsiteY12" fmla="*/ 12065 h 62864"/>
                  <a:gd name="connsiteX13" fmla="*/ 41910 w 57181"/>
                  <a:gd name="connsiteY13" fmla="*/ 24130 h 62864"/>
                  <a:gd name="connsiteX14" fmla="*/ 41910 w 57181"/>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181" h="62864">
                    <a:moveTo>
                      <a:pt x="29845" y="0"/>
                    </a:move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150" y="29210"/>
                      <a:pt x="57150" y="25400"/>
                    </a:cubicBezTo>
                    <a:cubicBezTo>
                      <a:pt x="57785" y="11430"/>
                      <a:pt x="48895" y="0"/>
                      <a:pt x="29845" y="0"/>
                    </a:cubicBezTo>
                    <a:close/>
                    <a:moveTo>
                      <a:pt x="41910" y="26035"/>
                    </a:moveTo>
                    <a:lnTo>
                      <a:pt x="16510" y="26035"/>
                    </a:lnTo>
                    <a:cubicBezTo>
                      <a:pt x="17145" y="19050"/>
                      <a:pt x="20955" y="12065"/>
                      <a:pt x="29210" y="12065"/>
                    </a:cubicBezTo>
                    <a:cubicBezTo>
                      <a:pt x="38735" y="12065"/>
                      <a:pt x="41910" y="17780"/>
                      <a:pt x="41910" y="24130"/>
                    </a:cubicBezTo>
                    <a:cubicBezTo>
                      <a:pt x="42545" y="24765"/>
                      <a:pt x="42545" y="25400"/>
                      <a:pt x="41910" y="26035"/>
                    </a:cubicBezTo>
                    <a:close/>
                  </a:path>
                </a:pathLst>
              </a:custGeom>
              <a:solidFill>
                <a:srgbClr val="002733"/>
              </a:solidFill>
              <a:ln w="6350" cap="flat">
                <a:noFill/>
                <a:prstDash val="solid"/>
                <a:miter/>
              </a:ln>
            </p:spPr>
            <p:txBody>
              <a:bodyPr rtlCol="0" anchor="ctr"/>
              <a:lstStyle/>
              <a:p>
                <a:endParaRPr lang="en-GB"/>
              </a:p>
            </p:txBody>
          </p:sp>
          <p:sp>
            <p:nvSpPr>
              <p:cNvPr id="945" name="Freeform 944">
                <a:extLst>
                  <a:ext uri="{FF2B5EF4-FFF2-40B4-BE49-F238E27FC236}">
                    <a16:creationId xmlns:a16="http://schemas.microsoft.com/office/drawing/2014/main" id="{3D657A53-E8E7-1CA9-F269-22EB126F3390}"/>
                  </a:ext>
                </a:extLst>
              </p:cNvPr>
              <p:cNvSpPr/>
              <p:nvPr/>
            </p:nvSpPr>
            <p:spPr>
              <a:xfrm>
                <a:off x="4724400" y="2522854"/>
                <a:ext cx="55879" cy="60960"/>
              </a:xfrm>
              <a:custGeom>
                <a:avLst/>
                <a:gdLst>
                  <a:gd name="connsiteX0" fmla="*/ 39370 w 55879"/>
                  <a:gd name="connsiteY0" fmla="*/ 42545 h 60960"/>
                  <a:gd name="connsiteX1" fmla="*/ 26670 w 55879"/>
                  <a:gd name="connsiteY1" fmla="*/ 47625 h 60960"/>
                  <a:gd name="connsiteX2" fmla="*/ 16510 w 55879"/>
                  <a:gd name="connsiteY2" fmla="*/ 35560 h 60960"/>
                  <a:gd name="connsiteX3" fmla="*/ 16510 w 55879"/>
                  <a:gd name="connsiteY3" fmla="*/ 0 h 60960"/>
                  <a:gd name="connsiteX4" fmla="*/ 0 w 55879"/>
                  <a:gd name="connsiteY4" fmla="*/ 0 h 60960"/>
                  <a:gd name="connsiteX5" fmla="*/ 0 w 55879"/>
                  <a:gd name="connsiteY5" fmla="*/ 37465 h 60960"/>
                  <a:gd name="connsiteX6" fmla="*/ 21590 w 55879"/>
                  <a:gd name="connsiteY6" fmla="*/ 60960 h 60960"/>
                  <a:gd name="connsiteX7" fmla="*/ 40005 w 55879"/>
                  <a:gd name="connsiteY7" fmla="*/ 53340 h 60960"/>
                  <a:gd name="connsiteX8" fmla="*/ 40005 w 55879"/>
                  <a:gd name="connsiteY8" fmla="*/ 53340 h 60960"/>
                  <a:gd name="connsiteX9" fmla="*/ 42545 w 55879"/>
                  <a:gd name="connsiteY9" fmla="*/ 59055 h 60960"/>
                  <a:gd name="connsiteX10" fmla="*/ 55880 w 55879"/>
                  <a:gd name="connsiteY10" fmla="*/ 59055 h 60960"/>
                  <a:gd name="connsiteX11" fmla="*/ 55880 w 55879"/>
                  <a:gd name="connsiteY11" fmla="*/ 0 h 60960"/>
                  <a:gd name="connsiteX12" fmla="*/ 39370 w 55879"/>
                  <a:gd name="connsiteY12" fmla="*/ 0 h 60960"/>
                  <a:gd name="connsiteX13" fmla="*/ 39370 w 55879"/>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79"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002733"/>
              </a:solidFill>
              <a:ln w="6350" cap="flat">
                <a:noFill/>
                <a:prstDash val="solid"/>
                <a:miter/>
              </a:ln>
            </p:spPr>
            <p:txBody>
              <a:bodyPr rtlCol="0" anchor="ctr"/>
              <a:lstStyle/>
              <a:p>
                <a:endParaRPr lang="en-GB"/>
              </a:p>
            </p:txBody>
          </p:sp>
          <p:sp>
            <p:nvSpPr>
              <p:cNvPr id="946" name="Freeform 945">
                <a:extLst>
                  <a:ext uri="{FF2B5EF4-FFF2-40B4-BE49-F238E27FC236}">
                    <a16:creationId xmlns:a16="http://schemas.microsoft.com/office/drawing/2014/main" id="{DE2DA74F-F979-13A5-64EA-D52C699FF8B4}"/>
                  </a:ext>
                </a:extLst>
              </p:cNvPr>
              <p:cNvSpPr/>
              <p:nvPr/>
            </p:nvSpPr>
            <p:spPr>
              <a:xfrm>
                <a:off x="4793615" y="2520950"/>
                <a:ext cx="59689" cy="86995"/>
              </a:xfrm>
              <a:custGeom>
                <a:avLst/>
                <a:gdLst>
                  <a:gd name="connsiteX0" fmla="*/ 44450 w 59689"/>
                  <a:gd name="connsiteY0" fmla="*/ 6985 h 86995"/>
                  <a:gd name="connsiteX1" fmla="*/ 44450 w 59689"/>
                  <a:gd name="connsiteY1" fmla="*/ 6985 h 86995"/>
                  <a:gd name="connsiteX2" fmla="*/ 26035 w 59689"/>
                  <a:gd name="connsiteY2" fmla="*/ 0 h 86995"/>
                  <a:gd name="connsiteX3" fmla="*/ 0 w 59689"/>
                  <a:gd name="connsiteY3" fmla="*/ 31115 h 86995"/>
                  <a:gd name="connsiteX4" fmla="*/ 26035 w 59689"/>
                  <a:gd name="connsiteY4" fmla="*/ 61595 h 86995"/>
                  <a:gd name="connsiteX5" fmla="*/ 43180 w 59689"/>
                  <a:gd name="connsiteY5" fmla="*/ 55880 h 86995"/>
                  <a:gd name="connsiteX6" fmla="*/ 43180 w 59689"/>
                  <a:gd name="connsiteY6" fmla="*/ 55880 h 86995"/>
                  <a:gd name="connsiteX7" fmla="*/ 43180 w 59689"/>
                  <a:gd name="connsiteY7" fmla="*/ 60325 h 86995"/>
                  <a:gd name="connsiteX8" fmla="*/ 29210 w 59689"/>
                  <a:gd name="connsiteY8" fmla="*/ 73660 h 86995"/>
                  <a:gd name="connsiteX9" fmla="*/ 10795 w 59689"/>
                  <a:gd name="connsiteY9" fmla="*/ 69215 h 86995"/>
                  <a:gd name="connsiteX10" fmla="*/ 5715 w 59689"/>
                  <a:gd name="connsiteY10" fmla="*/ 81280 h 86995"/>
                  <a:gd name="connsiteX11" fmla="*/ 29210 w 59689"/>
                  <a:gd name="connsiteY11" fmla="*/ 86995 h 86995"/>
                  <a:gd name="connsiteX12" fmla="*/ 59690 w 59689"/>
                  <a:gd name="connsiteY12" fmla="*/ 57150 h 86995"/>
                  <a:gd name="connsiteX13" fmla="*/ 59690 w 59689"/>
                  <a:gd name="connsiteY13" fmla="*/ 1905 h 86995"/>
                  <a:gd name="connsiteX14" fmla="*/ 46990 w 59689"/>
                  <a:gd name="connsiteY14" fmla="*/ 1905 h 86995"/>
                  <a:gd name="connsiteX15" fmla="*/ 44450 w 59689"/>
                  <a:gd name="connsiteY15" fmla="*/ 6985 h 86995"/>
                  <a:gd name="connsiteX16" fmla="*/ 43180 w 59689"/>
                  <a:gd name="connsiteY16" fmla="*/ 45085 h 86995"/>
                  <a:gd name="connsiteX17" fmla="*/ 31115 w 59689"/>
                  <a:gd name="connsiteY17" fmla="*/ 48260 h 86995"/>
                  <a:gd name="connsiteX18" fmla="*/ 17145 w 59689"/>
                  <a:gd name="connsiteY18" fmla="*/ 31115 h 86995"/>
                  <a:gd name="connsiteX19" fmla="*/ 31115 w 59689"/>
                  <a:gd name="connsiteY19" fmla="*/ 13970 h 86995"/>
                  <a:gd name="connsiteX20" fmla="*/ 43180 w 59689"/>
                  <a:gd name="connsiteY20" fmla="*/ 17780 h 86995"/>
                  <a:gd name="connsiteX21" fmla="*/ 43180 w 59689"/>
                  <a:gd name="connsiteY21" fmla="*/ 4508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689" h="86995">
                    <a:moveTo>
                      <a:pt x="44450" y="6985"/>
                    </a:moveTo>
                    <a:lnTo>
                      <a:pt x="44450" y="6985"/>
                    </a:lnTo>
                    <a:cubicBezTo>
                      <a:pt x="40005" y="3810"/>
                      <a:pt x="34925" y="0"/>
                      <a:pt x="26035" y="0"/>
                    </a:cubicBezTo>
                    <a:cubicBezTo>
                      <a:pt x="8890" y="0"/>
                      <a:pt x="0" y="13970"/>
                      <a:pt x="0" y="31115"/>
                    </a:cubicBezTo>
                    <a:cubicBezTo>
                      <a:pt x="0" y="48260"/>
                      <a:pt x="8890" y="61595"/>
                      <a:pt x="26035" y="61595"/>
                    </a:cubicBezTo>
                    <a:cubicBezTo>
                      <a:pt x="34290" y="61595"/>
                      <a:pt x="39370" y="58420"/>
                      <a:pt x="43180" y="55880"/>
                    </a:cubicBezTo>
                    <a:lnTo>
                      <a:pt x="43180" y="55880"/>
                    </a:lnTo>
                    <a:lnTo>
                      <a:pt x="43180" y="60325"/>
                    </a:lnTo>
                    <a:cubicBezTo>
                      <a:pt x="43180" y="69850"/>
                      <a:pt x="38735" y="73660"/>
                      <a:pt x="29210" y="73660"/>
                    </a:cubicBezTo>
                    <a:cubicBezTo>
                      <a:pt x="21590" y="73660"/>
                      <a:pt x="15875" y="71755"/>
                      <a:pt x="10795" y="69215"/>
                    </a:cubicBezTo>
                    <a:lnTo>
                      <a:pt x="5715" y="81280"/>
                    </a:lnTo>
                    <a:cubicBezTo>
                      <a:pt x="11430" y="84455"/>
                      <a:pt x="19050" y="86995"/>
                      <a:pt x="29210" y="86995"/>
                    </a:cubicBezTo>
                    <a:cubicBezTo>
                      <a:pt x="48895" y="86995"/>
                      <a:pt x="59690" y="76835"/>
                      <a:pt x="59690" y="57150"/>
                    </a:cubicBezTo>
                    <a:lnTo>
                      <a:pt x="59690" y="1905"/>
                    </a:lnTo>
                    <a:lnTo>
                      <a:pt x="46990" y="1905"/>
                    </a:lnTo>
                    <a:lnTo>
                      <a:pt x="44450" y="6985"/>
                    </a:lnTo>
                    <a:close/>
                    <a:moveTo>
                      <a:pt x="43180" y="45085"/>
                    </a:moveTo>
                    <a:cubicBezTo>
                      <a:pt x="40005" y="46990"/>
                      <a:pt x="35560" y="48260"/>
                      <a:pt x="31115" y="48260"/>
                    </a:cubicBezTo>
                    <a:cubicBezTo>
                      <a:pt x="20955" y="48260"/>
                      <a:pt x="17145" y="41910"/>
                      <a:pt x="17145" y="31115"/>
                    </a:cubicBezTo>
                    <a:cubicBezTo>
                      <a:pt x="17145" y="20320"/>
                      <a:pt x="21590" y="13970"/>
                      <a:pt x="31115" y="13970"/>
                    </a:cubicBezTo>
                    <a:cubicBezTo>
                      <a:pt x="35560" y="13970"/>
                      <a:pt x="40005" y="15875"/>
                      <a:pt x="43180" y="17780"/>
                    </a:cubicBezTo>
                    <a:lnTo>
                      <a:pt x="43180" y="45085"/>
                    </a:lnTo>
                    <a:close/>
                  </a:path>
                </a:pathLst>
              </a:custGeom>
              <a:solidFill>
                <a:srgbClr val="002733"/>
              </a:solidFill>
              <a:ln w="6350" cap="flat">
                <a:noFill/>
                <a:prstDash val="solid"/>
                <a:miter/>
              </a:ln>
            </p:spPr>
            <p:txBody>
              <a:bodyPr rtlCol="0" anchor="ctr"/>
              <a:lstStyle/>
              <a:p>
                <a:endParaRPr lang="en-GB"/>
              </a:p>
            </p:txBody>
          </p:sp>
          <p:sp>
            <p:nvSpPr>
              <p:cNvPr id="947" name="Freeform 946">
                <a:extLst>
                  <a:ext uri="{FF2B5EF4-FFF2-40B4-BE49-F238E27FC236}">
                    <a16:creationId xmlns:a16="http://schemas.microsoft.com/office/drawing/2014/main" id="{81A36D4B-843C-C1F7-F653-EC42700E2A92}"/>
                  </a:ext>
                </a:extLst>
              </p:cNvPr>
              <p:cNvSpPr/>
              <p:nvPr/>
            </p:nvSpPr>
            <p:spPr>
              <a:xfrm>
                <a:off x="4866004" y="2520950"/>
                <a:ext cx="57785" cy="62864"/>
              </a:xfrm>
              <a:custGeom>
                <a:avLst/>
                <a:gdLst>
                  <a:gd name="connsiteX0" fmla="*/ 57785 w 57785"/>
                  <a:gd name="connsiteY0" fmla="*/ 25400 h 62864"/>
                  <a:gd name="connsiteX1" fmla="*/ 29845 w 57785"/>
                  <a:gd name="connsiteY1" fmla="*/ 0 h 62864"/>
                  <a:gd name="connsiteX2" fmla="*/ 0 w 57785"/>
                  <a:gd name="connsiteY2" fmla="*/ 31115 h 62864"/>
                  <a:gd name="connsiteX3" fmla="*/ 30480 w 57785"/>
                  <a:gd name="connsiteY3" fmla="*/ 62865 h 62864"/>
                  <a:gd name="connsiteX4" fmla="*/ 54610 w 57785"/>
                  <a:gd name="connsiteY4" fmla="*/ 57785 h 62864"/>
                  <a:gd name="connsiteX5" fmla="*/ 50800 w 57785"/>
                  <a:gd name="connsiteY5" fmla="*/ 45720 h 62864"/>
                  <a:gd name="connsiteX6" fmla="*/ 31750 w 57785"/>
                  <a:gd name="connsiteY6" fmla="*/ 49530 h 62864"/>
                  <a:gd name="connsiteX7" fmla="*/ 16510 w 57785"/>
                  <a:gd name="connsiteY7" fmla="*/ 36195 h 62864"/>
                  <a:gd name="connsiteX8" fmla="*/ 56515 w 57785"/>
                  <a:gd name="connsiteY8" fmla="*/ 36195 h 62864"/>
                  <a:gd name="connsiteX9" fmla="*/ 57785 w 57785"/>
                  <a:gd name="connsiteY9" fmla="*/ 25400 h 62864"/>
                  <a:gd name="connsiteX10" fmla="*/ 42545 w 57785"/>
                  <a:gd name="connsiteY10" fmla="*/ 26035 h 62864"/>
                  <a:gd name="connsiteX11" fmla="*/ 17145 w 57785"/>
                  <a:gd name="connsiteY11" fmla="*/ 26035 h 62864"/>
                  <a:gd name="connsiteX12" fmla="*/ 29845 w 57785"/>
                  <a:gd name="connsiteY12" fmla="*/ 12065 h 62864"/>
                  <a:gd name="connsiteX13" fmla="*/ 42545 w 57785"/>
                  <a:gd name="connsiteY13" fmla="*/ 24130 h 62864"/>
                  <a:gd name="connsiteX14" fmla="*/ 42545 w 57785"/>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785" h="62864">
                    <a:moveTo>
                      <a:pt x="57785" y="25400"/>
                    </a:moveTo>
                    <a:cubicBezTo>
                      <a:pt x="57785" y="11430"/>
                      <a:pt x="49530" y="0"/>
                      <a:pt x="29845" y="0"/>
                    </a:cubicBez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785" y="29210"/>
                      <a:pt x="57785" y="25400"/>
                    </a:cubicBezTo>
                    <a:close/>
                    <a:moveTo>
                      <a:pt x="42545" y="26035"/>
                    </a:moveTo>
                    <a:lnTo>
                      <a:pt x="17145" y="26035"/>
                    </a:lnTo>
                    <a:cubicBezTo>
                      <a:pt x="17780" y="19050"/>
                      <a:pt x="21590" y="12065"/>
                      <a:pt x="29845" y="12065"/>
                    </a:cubicBezTo>
                    <a:cubicBezTo>
                      <a:pt x="39370" y="12065"/>
                      <a:pt x="42545" y="17780"/>
                      <a:pt x="42545" y="24130"/>
                    </a:cubicBezTo>
                    <a:cubicBezTo>
                      <a:pt x="42545" y="24765"/>
                      <a:pt x="42545" y="25400"/>
                      <a:pt x="42545" y="26035"/>
                    </a:cubicBezTo>
                    <a:close/>
                  </a:path>
                </a:pathLst>
              </a:custGeom>
              <a:solidFill>
                <a:srgbClr val="002733"/>
              </a:solidFill>
              <a:ln w="6350" cap="flat">
                <a:noFill/>
                <a:prstDash val="solid"/>
                <a:miter/>
              </a:ln>
            </p:spPr>
            <p:txBody>
              <a:bodyPr rtlCol="0" anchor="ctr"/>
              <a:lstStyle/>
              <a:p>
                <a:endParaRPr lang="en-GB"/>
              </a:p>
            </p:txBody>
          </p:sp>
          <p:sp>
            <p:nvSpPr>
              <p:cNvPr id="948" name="Freeform 947">
                <a:extLst>
                  <a:ext uri="{FF2B5EF4-FFF2-40B4-BE49-F238E27FC236}">
                    <a16:creationId xmlns:a16="http://schemas.microsoft.com/office/drawing/2014/main" id="{2EF3DCC0-B750-4F8D-25E7-185EC130BD63}"/>
                  </a:ext>
                </a:extLst>
              </p:cNvPr>
              <p:cNvSpPr/>
              <p:nvPr/>
            </p:nvSpPr>
            <p:spPr>
              <a:xfrm>
                <a:off x="4258309" y="1875154"/>
                <a:ext cx="500380" cy="496570"/>
              </a:xfrm>
              <a:custGeom>
                <a:avLst/>
                <a:gdLst>
                  <a:gd name="connsiteX0" fmla="*/ 250190 w 500380"/>
                  <a:gd name="connsiteY0" fmla="*/ 496570 h 496570"/>
                  <a:gd name="connsiteX1" fmla="*/ 250190 w 500380"/>
                  <a:gd name="connsiteY1" fmla="*/ 496570 h 496570"/>
                  <a:gd name="connsiteX2" fmla="*/ 500380 w 500380"/>
                  <a:gd name="connsiteY2" fmla="*/ 248285 h 496570"/>
                  <a:gd name="connsiteX3" fmla="*/ 250190 w 500380"/>
                  <a:gd name="connsiteY3" fmla="*/ 0 h 496570"/>
                  <a:gd name="connsiteX4" fmla="*/ 0 w 500380"/>
                  <a:gd name="connsiteY4" fmla="*/ 248285 h 496570"/>
                  <a:gd name="connsiteX5" fmla="*/ 250190 w 500380"/>
                  <a:gd name="connsiteY5" fmla="*/ 496570 h 496570"/>
                  <a:gd name="connsiteX6" fmla="*/ 250190 w 500380"/>
                  <a:gd name="connsiteY6" fmla="*/ 22225 h 496570"/>
                  <a:gd name="connsiteX7" fmla="*/ 324485 w 500380"/>
                  <a:gd name="connsiteY7" fmla="*/ 34925 h 496570"/>
                  <a:gd name="connsiteX8" fmla="*/ 253365 w 500380"/>
                  <a:gd name="connsiteY8" fmla="*/ 193675 h 496570"/>
                  <a:gd name="connsiteX9" fmla="*/ 250825 w 500380"/>
                  <a:gd name="connsiteY9" fmla="*/ 196215 h 496570"/>
                  <a:gd name="connsiteX10" fmla="*/ 250825 w 500380"/>
                  <a:gd name="connsiteY10" fmla="*/ 196215 h 496570"/>
                  <a:gd name="connsiteX11" fmla="*/ 248285 w 500380"/>
                  <a:gd name="connsiteY11" fmla="*/ 193675 h 496570"/>
                  <a:gd name="connsiteX12" fmla="*/ 177165 w 500380"/>
                  <a:gd name="connsiteY12" fmla="*/ 34925 h 496570"/>
                  <a:gd name="connsiteX13" fmla="*/ 250190 w 500380"/>
                  <a:gd name="connsiteY13" fmla="*/ 22225 h 496570"/>
                  <a:gd name="connsiteX14" fmla="*/ 140970 w 500380"/>
                  <a:gd name="connsiteY14" fmla="*/ 50800 h 496570"/>
                  <a:gd name="connsiteX15" fmla="*/ 223520 w 500380"/>
                  <a:gd name="connsiteY15" fmla="*/ 234315 h 496570"/>
                  <a:gd name="connsiteX16" fmla="*/ 229870 w 500380"/>
                  <a:gd name="connsiteY16" fmla="*/ 238760 h 496570"/>
                  <a:gd name="connsiteX17" fmla="*/ 269875 w 500380"/>
                  <a:gd name="connsiteY17" fmla="*/ 238760 h 496570"/>
                  <a:gd name="connsiteX18" fmla="*/ 276225 w 500380"/>
                  <a:gd name="connsiteY18" fmla="*/ 234315 h 496570"/>
                  <a:gd name="connsiteX19" fmla="*/ 358775 w 500380"/>
                  <a:gd name="connsiteY19" fmla="*/ 50800 h 496570"/>
                  <a:gd name="connsiteX20" fmla="*/ 440055 w 500380"/>
                  <a:gd name="connsiteY20" fmla="*/ 127000 h 496570"/>
                  <a:gd name="connsiteX21" fmla="*/ 324485 w 500380"/>
                  <a:gd name="connsiteY21" fmla="*/ 358140 h 496570"/>
                  <a:gd name="connsiteX22" fmla="*/ 321945 w 500380"/>
                  <a:gd name="connsiteY22" fmla="*/ 360680 h 496570"/>
                  <a:gd name="connsiteX23" fmla="*/ 319405 w 500380"/>
                  <a:gd name="connsiteY23" fmla="*/ 358140 h 496570"/>
                  <a:gd name="connsiteX24" fmla="*/ 276225 w 500380"/>
                  <a:gd name="connsiteY24" fmla="*/ 259715 h 496570"/>
                  <a:gd name="connsiteX25" fmla="*/ 269875 w 500380"/>
                  <a:gd name="connsiteY25" fmla="*/ 255270 h 496570"/>
                  <a:gd name="connsiteX26" fmla="*/ 229870 w 500380"/>
                  <a:gd name="connsiteY26" fmla="*/ 255270 h 496570"/>
                  <a:gd name="connsiteX27" fmla="*/ 223520 w 500380"/>
                  <a:gd name="connsiteY27" fmla="*/ 259715 h 496570"/>
                  <a:gd name="connsiteX28" fmla="*/ 180340 w 500380"/>
                  <a:gd name="connsiteY28" fmla="*/ 358140 h 496570"/>
                  <a:gd name="connsiteX29" fmla="*/ 177800 w 500380"/>
                  <a:gd name="connsiteY29" fmla="*/ 360680 h 496570"/>
                  <a:gd name="connsiteX30" fmla="*/ 177800 w 500380"/>
                  <a:gd name="connsiteY30" fmla="*/ 360680 h 496570"/>
                  <a:gd name="connsiteX31" fmla="*/ 175260 w 500380"/>
                  <a:gd name="connsiteY31" fmla="*/ 358140 h 496570"/>
                  <a:gd name="connsiteX32" fmla="*/ 59690 w 500380"/>
                  <a:gd name="connsiteY32" fmla="*/ 126365 h 496570"/>
                  <a:gd name="connsiteX33" fmla="*/ 140970 w 500380"/>
                  <a:gd name="connsiteY33" fmla="*/ 50800 h 496570"/>
                  <a:gd name="connsiteX34" fmla="*/ 38100 w 500380"/>
                  <a:gd name="connsiteY34" fmla="*/ 169545 h 496570"/>
                  <a:gd name="connsiteX35" fmla="*/ 170815 w 500380"/>
                  <a:gd name="connsiteY35" fmla="*/ 434340 h 496570"/>
                  <a:gd name="connsiteX36" fmla="*/ 179070 w 500380"/>
                  <a:gd name="connsiteY36" fmla="*/ 440690 h 496570"/>
                  <a:gd name="connsiteX37" fmla="*/ 187325 w 500380"/>
                  <a:gd name="connsiteY37" fmla="*/ 434340 h 496570"/>
                  <a:gd name="connsiteX38" fmla="*/ 248285 w 500380"/>
                  <a:gd name="connsiteY38" fmla="*/ 298450 h 496570"/>
                  <a:gd name="connsiteX39" fmla="*/ 250825 w 500380"/>
                  <a:gd name="connsiteY39" fmla="*/ 295910 h 496570"/>
                  <a:gd name="connsiteX40" fmla="*/ 253365 w 500380"/>
                  <a:gd name="connsiteY40" fmla="*/ 298450 h 496570"/>
                  <a:gd name="connsiteX41" fmla="*/ 314325 w 500380"/>
                  <a:gd name="connsiteY41" fmla="*/ 434340 h 496570"/>
                  <a:gd name="connsiteX42" fmla="*/ 322580 w 500380"/>
                  <a:gd name="connsiteY42" fmla="*/ 440690 h 496570"/>
                  <a:gd name="connsiteX43" fmla="*/ 330835 w 500380"/>
                  <a:gd name="connsiteY43" fmla="*/ 434340 h 496570"/>
                  <a:gd name="connsiteX44" fmla="*/ 463550 w 500380"/>
                  <a:gd name="connsiteY44" fmla="*/ 169545 h 496570"/>
                  <a:gd name="connsiteX45" fmla="*/ 478155 w 500380"/>
                  <a:gd name="connsiteY45" fmla="*/ 248285 h 496570"/>
                  <a:gd name="connsiteX46" fmla="*/ 251460 w 500380"/>
                  <a:gd name="connsiteY46" fmla="*/ 473710 h 496570"/>
                  <a:gd name="connsiteX47" fmla="*/ 24765 w 500380"/>
                  <a:gd name="connsiteY47" fmla="*/ 248285 h 496570"/>
                  <a:gd name="connsiteX48" fmla="*/ 38100 w 500380"/>
                  <a:gd name="connsiteY48" fmla="*/ 169545 h 496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00380" h="496570">
                    <a:moveTo>
                      <a:pt x="250190" y="496570"/>
                    </a:moveTo>
                    <a:lnTo>
                      <a:pt x="250190" y="496570"/>
                    </a:lnTo>
                    <a:cubicBezTo>
                      <a:pt x="388620" y="496570"/>
                      <a:pt x="500380" y="385445"/>
                      <a:pt x="500380" y="248285"/>
                    </a:cubicBezTo>
                    <a:cubicBezTo>
                      <a:pt x="500380" y="111125"/>
                      <a:pt x="388620" y="0"/>
                      <a:pt x="250190" y="0"/>
                    </a:cubicBezTo>
                    <a:cubicBezTo>
                      <a:pt x="111760" y="0"/>
                      <a:pt x="0" y="111125"/>
                      <a:pt x="0" y="248285"/>
                    </a:cubicBezTo>
                    <a:cubicBezTo>
                      <a:pt x="0" y="385445"/>
                      <a:pt x="111760" y="496570"/>
                      <a:pt x="250190" y="496570"/>
                    </a:cubicBezTo>
                    <a:close/>
                    <a:moveTo>
                      <a:pt x="250190" y="22225"/>
                    </a:moveTo>
                    <a:cubicBezTo>
                      <a:pt x="276225" y="22225"/>
                      <a:pt x="300990" y="26670"/>
                      <a:pt x="324485" y="34925"/>
                    </a:cubicBezTo>
                    <a:lnTo>
                      <a:pt x="253365" y="193675"/>
                    </a:lnTo>
                    <a:cubicBezTo>
                      <a:pt x="252730" y="194945"/>
                      <a:pt x="252095" y="196215"/>
                      <a:pt x="250825" y="196215"/>
                    </a:cubicBezTo>
                    <a:lnTo>
                      <a:pt x="250825" y="196215"/>
                    </a:lnTo>
                    <a:cubicBezTo>
                      <a:pt x="249555" y="196215"/>
                      <a:pt x="248920" y="194945"/>
                      <a:pt x="248285" y="193675"/>
                    </a:cubicBezTo>
                    <a:lnTo>
                      <a:pt x="177165" y="34925"/>
                    </a:lnTo>
                    <a:cubicBezTo>
                      <a:pt x="199390" y="26670"/>
                      <a:pt x="224155" y="22225"/>
                      <a:pt x="250190" y="22225"/>
                    </a:cubicBezTo>
                    <a:close/>
                    <a:moveTo>
                      <a:pt x="140970" y="50800"/>
                    </a:moveTo>
                    <a:lnTo>
                      <a:pt x="223520" y="234315"/>
                    </a:lnTo>
                    <a:cubicBezTo>
                      <a:pt x="224790" y="237490"/>
                      <a:pt x="227330" y="238760"/>
                      <a:pt x="229870" y="238760"/>
                    </a:cubicBezTo>
                    <a:lnTo>
                      <a:pt x="269875" y="238760"/>
                    </a:lnTo>
                    <a:cubicBezTo>
                      <a:pt x="272415" y="238760"/>
                      <a:pt x="274955" y="238125"/>
                      <a:pt x="276225" y="234315"/>
                    </a:cubicBezTo>
                    <a:lnTo>
                      <a:pt x="358775" y="50800"/>
                    </a:lnTo>
                    <a:cubicBezTo>
                      <a:pt x="391795" y="69215"/>
                      <a:pt x="419735" y="95885"/>
                      <a:pt x="440055" y="127000"/>
                    </a:cubicBezTo>
                    <a:lnTo>
                      <a:pt x="324485" y="358140"/>
                    </a:lnTo>
                    <a:cubicBezTo>
                      <a:pt x="323850" y="359410"/>
                      <a:pt x="323215" y="360680"/>
                      <a:pt x="321945" y="360680"/>
                    </a:cubicBezTo>
                    <a:cubicBezTo>
                      <a:pt x="320675" y="360680"/>
                      <a:pt x="320040" y="359410"/>
                      <a:pt x="319405" y="358140"/>
                    </a:cubicBezTo>
                    <a:lnTo>
                      <a:pt x="276225" y="259715"/>
                    </a:lnTo>
                    <a:cubicBezTo>
                      <a:pt x="274955" y="256540"/>
                      <a:pt x="272415" y="255270"/>
                      <a:pt x="269875" y="255270"/>
                    </a:cubicBezTo>
                    <a:lnTo>
                      <a:pt x="229870" y="255270"/>
                    </a:lnTo>
                    <a:cubicBezTo>
                      <a:pt x="227330" y="255270"/>
                      <a:pt x="224790" y="255905"/>
                      <a:pt x="223520" y="259715"/>
                    </a:cubicBezTo>
                    <a:lnTo>
                      <a:pt x="180340" y="358140"/>
                    </a:lnTo>
                    <a:cubicBezTo>
                      <a:pt x="179705" y="359410"/>
                      <a:pt x="179070" y="360680"/>
                      <a:pt x="177800" y="360680"/>
                    </a:cubicBezTo>
                    <a:lnTo>
                      <a:pt x="177800" y="360680"/>
                    </a:lnTo>
                    <a:cubicBezTo>
                      <a:pt x="176530" y="360680"/>
                      <a:pt x="175895" y="359410"/>
                      <a:pt x="175260" y="358140"/>
                    </a:cubicBezTo>
                    <a:lnTo>
                      <a:pt x="59690" y="126365"/>
                    </a:lnTo>
                    <a:cubicBezTo>
                      <a:pt x="80645" y="95250"/>
                      <a:pt x="107950" y="69215"/>
                      <a:pt x="140970" y="50800"/>
                    </a:cubicBezTo>
                    <a:close/>
                    <a:moveTo>
                      <a:pt x="38100" y="169545"/>
                    </a:moveTo>
                    <a:lnTo>
                      <a:pt x="170815" y="434340"/>
                    </a:lnTo>
                    <a:cubicBezTo>
                      <a:pt x="172720" y="437515"/>
                      <a:pt x="174625" y="440690"/>
                      <a:pt x="179070" y="440690"/>
                    </a:cubicBezTo>
                    <a:cubicBezTo>
                      <a:pt x="183515" y="440690"/>
                      <a:pt x="185420" y="438150"/>
                      <a:pt x="187325" y="434340"/>
                    </a:cubicBezTo>
                    <a:lnTo>
                      <a:pt x="248285" y="298450"/>
                    </a:lnTo>
                    <a:cubicBezTo>
                      <a:pt x="248920" y="297180"/>
                      <a:pt x="249555" y="295910"/>
                      <a:pt x="250825" y="295910"/>
                    </a:cubicBezTo>
                    <a:cubicBezTo>
                      <a:pt x="252095" y="295910"/>
                      <a:pt x="252730" y="297180"/>
                      <a:pt x="253365" y="298450"/>
                    </a:cubicBezTo>
                    <a:lnTo>
                      <a:pt x="314325" y="434340"/>
                    </a:lnTo>
                    <a:cubicBezTo>
                      <a:pt x="315595" y="437515"/>
                      <a:pt x="318135" y="440690"/>
                      <a:pt x="322580" y="440690"/>
                    </a:cubicBezTo>
                    <a:cubicBezTo>
                      <a:pt x="327025" y="440690"/>
                      <a:pt x="328930" y="438150"/>
                      <a:pt x="330835" y="434340"/>
                    </a:cubicBezTo>
                    <a:lnTo>
                      <a:pt x="463550" y="169545"/>
                    </a:lnTo>
                    <a:cubicBezTo>
                      <a:pt x="473075" y="194310"/>
                      <a:pt x="478155" y="220345"/>
                      <a:pt x="478155" y="248285"/>
                    </a:cubicBezTo>
                    <a:cubicBezTo>
                      <a:pt x="478155" y="372110"/>
                      <a:pt x="375920" y="473710"/>
                      <a:pt x="251460" y="473710"/>
                    </a:cubicBezTo>
                    <a:cubicBezTo>
                      <a:pt x="127000" y="473710"/>
                      <a:pt x="24765" y="371475"/>
                      <a:pt x="24765" y="248285"/>
                    </a:cubicBezTo>
                    <a:cubicBezTo>
                      <a:pt x="23495" y="220345"/>
                      <a:pt x="28575" y="193675"/>
                      <a:pt x="38100" y="169545"/>
                    </a:cubicBezTo>
                    <a:close/>
                  </a:path>
                </a:pathLst>
              </a:custGeom>
              <a:solidFill>
                <a:srgbClr val="002733"/>
              </a:solidFill>
              <a:ln w="6350" cap="flat">
                <a:noFill/>
                <a:prstDash val="solid"/>
                <a:miter/>
              </a:ln>
            </p:spPr>
            <p:txBody>
              <a:bodyPr rtlCol="0" anchor="ctr"/>
              <a:lstStyle/>
              <a:p>
                <a:endParaRPr lang="en-GB"/>
              </a:p>
            </p:txBody>
          </p:sp>
        </p:grpSp>
      </p:grpSp>
      <p:grpSp>
        <p:nvGrpSpPr>
          <p:cNvPr id="964" name="Graphic 79">
            <a:extLst>
              <a:ext uri="{FF2B5EF4-FFF2-40B4-BE49-F238E27FC236}">
                <a16:creationId xmlns:a16="http://schemas.microsoft.com/office/drawing/2014/main" id="{78540286-3E46-46BE-FFD4-A741CC50D193}"/>
              </a:ext>
            </a:extLst>
          </p:cNvPr>
          <p:cNvGrpSpPr/>
          <p:nvPr/>
        </p:nvGrpSpPr>
        <p:grpSpPr>
          <a:xfrm>
            <a:off x="4136390" y="4263390"/>
            <a:ext cx="775969" cy="435609"/>
            <a:chOff x="4136390" y="4263390"/>
            <a:chExt cx="775969" cy="435609"/>
          </a:xfrm>
          <a:solidFill>
            <a:srgbClr val="002733"/>
          </a:solidFill>
        </p:grpSpPr>
        <p:sp>
          <p:nvSpPr>
            <p:cNvPr id="965" name="Freeform 964">
              <a:extLst>
                <a:ext uri="{FF2B5EF4-FFF2-40B4-BE49-F238E27FC236}">
                  <a16:creationId xmlns:a16="http://schemas.microsoft.com/office/drawing/2014/main" id="{681B015A-C670-4F8B-6DE4-541DE958A107}"/>
                </a:ext>
              </a:extLst>
            </p:cNvPr>
            <p:cNvSpPr/>
            <p:nvPr/>
          </p:nvSpPr>
          <p:spPr>
            <a:xfrm>
              <a:off x="4645659" y="4580890"/>
              <a:ext cx="197485" cy="118109"/>
            </a:xfrm>
            <a:custGeom>
              <a:avLst/>
              <a:gdLst>
                <a:gd name="connsiteX0" fmla="*/ 139700 w 197485"/>
                <a:gd name="connsiteY0" fmla="*/ 52705 h 118109"/>
                <a:gd name="connsiteX1" fmla="*/ 58420 w 197485"/>
                <a:gd name="connsiteY1" fmla="*/ 0 h 118109"/>
                <a:gd name="connsiteX2" fmla="*/ 0 w 197485"/>
                <a:gd name="connsiteY2" fmla="*/ 0 h 118109"/>
                <a:gd name="connsiteX3" fmla="*/ 0 w 197485"/>
                <a:gd name="connsiteY3" fmla="*/ 118110 h 118109"/>
                <a:gd name="connsiteX4" fmla="*/ 62865 w 197485"/>
                <a:gd name="connsiteY4" fmla="*/ 118110 h 118109"/>
                <a:gd name="connsiteX5" fmla="*/ 62865 w 197485"/>
                <a:gd name="connsiteY5" fmla="*/ 66675 h 118109"/>
                <a:gd name="connsiteX6" fmla="*/ 136525 w 197485"/>
                <a:gd name="connsiteY6" fmla="*/ 118110 h 118109"/>
                <a:gd name="connsiteX7" fmla="*/ 197485 w 197485"/>
                <a:gd name="connsiteY7" fmla="*/ 118110 h 118109"/>
                <a:gd name="connsiteX8" fmla="*/ 197485 w 197485"/>
                <a:gd name="connsiteY8" fmla="*/ 0 h 118109"/>
                <a:gd name="connsiteX9" fmla="*/ 139700 w 197485"/>
                <a:gd name="connsiteY9"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485" h="118109">
                  <a:moveTo>
                    <a:pt x="139700" y="52705"/>
                  </a:moveTo>
                  <a:lnTo>
                    <a:pt x="58420" y="0"/>
                  </a:lnTo>
                  <a:lnTo>
                    <a:pt x="0" y="0"/>
                  </a:lnTo>
                  <a:lnTo>
                    <a:pt x="0" y="118110"/>
                  </a:lnTo>
                  <a:lnTo>
                    <a:pt x="62865" y="118110"/>
                  </a:lnTo>
                  <a:lnTo>
                    <a:pt x="62865" y="66675"/>
                  </a:lnTo>
                  <a:lnTo>
                    <a:pt x="136525" y="118110"/>
                  </a:lnTo>
                  <a:lnTo>
                    <a:pt x="197485" y="118110"/>
                  </a:lnTo>
                  <a:lnTo>
                    <a:pt x="197485" y="0"/>
                  </a:lnTo>
                  <a:lnTo>
                    <a:pt x="139700" y="0"/>
                  </a:lnTo>
                  <a:close/>
                </a:path>
              </a:pathLst>
            </a:custGeom>
            <a:solidFill>
              <a:srgbClr val="002733"/>
            </a:solidFill>
            <a:ln w="6350" cap="flat">
              <a:noFill/>
              <a:prstDash val="solid"/>
              <a:miter/>
            </a:ln>
          </p:spPr>
          <p:txBody>
            <a:bodyPr rtlCol="0" anchor="ctr"/>
            <a:lstStyle/>
            <a:p>
              <a:endParaRPr lang="en-GB"/>
            </a:p>
          </p:txBody>
        </p:sp>
        <p:sp>
          <p:nvSpPr>
            <p:cNvPr id="966" name="Freeform 965">
              <a:extLst>
                <a:ext uri="{FF2B5EF4-FFF2-40B4-BE49-F238E27FC236}">
                  <a16:creationId xmlns:a16="http://schemas.microsoft.com/office/drawing/2014/main" id="{6CF55EAE-EB12-F440-D5C5-21B2237DDB50}"/>
                </a:ext>
              </a:extLst>
            </p:cNvPr>
            <p:cNvSpPr/>
            <p:nvPr/>
          </p:nvSpPr>
          <p:spPr>
            <a:xfrm>
              <a:off x="4420870" y="4580890"/>
              <a:ext cx="219075" cy="118109"/>
            </a:xfrm>
            <a:custGeom>
              <a:avLst/>
              <a:gdLst>
                <a:gd name="connsiteX0" fmla="*/ 78105 w 219075"/>
                <a:gd name="connsiteY0" fmla="*/ 0 h 118109"/>
                <a:gd name="connsiteX1" fmla="*/ 0 w 219075"/>
                <a:gd name="connsiteY1" fmla="*/ 118110 h 118109"/>
                <a:gd name="connsiteX2" fmla="*/ 66675 w 219075"/>
                <a:gd name="connsiteY2" fmla="*/ 118110 h 118109"/>
                <a:gd name="connsiteX3" fmla="*/ 76200 w 219075"/>
                <a:gd name="connsiteY3" fmla="*/ 106045 h 118109"/>
                <a:gd name="connsiteX4" fmla="*/ 141605 w 219075"/>
                <a:gd name="connsiteY4" fmla="*/ 106045 h 118109"/>
                <a:gd name="connsiteX5" fmla="*/ 152400 w 219075"/>
                <a:gd name="connsiteY5" fmla="*/ 118110 h 118109"/>
                <a:gd name="connsiteX6" fmla="*/ 219075 w 219075"/>
                <a:gd name="connsiteY6" fmla="*/ 118110 h 118109"/>
                <a:gd name="connsiteX7" fmla="*/ 142875 w 219075"/>
                <a:gd name="connsiteY7" fmla="*/ 0 h 118109"/>
                <a:gd name="connsiteX8" fmla="*/ 78105 w 219075"/>
                <a:gd name="connsiteY8" fmla="*/ 0 h 118109"/>
                <a:gd name="connsiteX9" fmla="*/ 96520 w 219075"/>
                <a:gd name="connsiteY9" fmla="*/ 74930 h 118109"/>
                <a:gd name="connsiteX10" fmla="*/ 108585 w 219075"/>
                <a:gd name="connsiteY10" fmla="*/ 50165 h 118109"/>
                <a:gd name="connsiteX11" fmla="*/ 121920 w 219075"/>
                <a:gd name="connsiteY11" fmla="*/ 74930 h 118109"/>
                <a:gd name="connsiteX12" fmla="*/ 96520 w 219075"/>
                <a:gd name="connsiteY12" fmla="*/ 7493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075" h="118109">
                  <a:moveTo>
                    <a:pt x="78105" y="0"/>
                  </a:moveTo>
                  <a:lnTo>
                    <a:pt x="0" y="118110"/>
                  </a:lnTo>
                  <a:lnTo>
                    <a:pt x="66675" y="118110"/>
                  </a:lnTo>
                  <a:lnTo>
                    <a:pt x="76200" y="106045"/>
                  </a:lnTo>
                  <a:lnTo>
                    <a:pt x="141605" y="106045"/>
                  </a:lnTo>
                  <a:lnTo>
                    <a:pt x="152400" y="118110"/>
                  </a:lnTo>
                  <a:lnTo>
                    <a:pt x="219075" y="118110"/>
                  </a:lnTo>
                  <a:lnTo>
                    <a:pt x="142875" y="0"/>
                  </a:lnTo>
                  <a:lnTo>
                    <a:pt x="78105" y="0"/>
                  </a:lnTo>
                  <a:close/>
                  <a:moveTo>
                    <a:pt x="96520" y="74930"/>
                  </a:moveTo>
                  <a:lnTo>
                    <a:pt x="108585" y="50165"/>
                  </a:lnTo>
                  <a:lnTo>
                    <a:pt x="121920" y="74930"/>
                  </a:lnTo>
                  <a:lnTo>
                    <a:pt x="96520" y="74930"/>
                  </a:lnTo>
                  <a:close/>
                </a:path>
              </a:pathLst>
            </a:custGeom>
            <a:solidFill>
              <a:srgbClr val="002733"/>
            </a:solidFill>
            <a:ln w="6350" cap="flat">
              <a:noFill/>
              <a:prstDash val="solid"/>
              <a:miter/>
            </a:ln>
          </p:spPr>
          <p:txBody>
            <a:bodyPr rtlCol="0" anchor="ctr"/>
            <a:lstStyle/>
            <a:p>
              <a:endParaRPr lang="en-GB"/>
            </a:p>
          </p:txBody>
        </p:sp>
        <p:sp>
          <p:nvSpPr>
            <p:cNvPr id="967" name="Freeform 966">
              <a:extLst>
                <a:ext uri="{FF2B5EF4-FFF2-40B4-BE49-F238E27FC236}">
                  <a16:creationId xmlns:a16="http://schemas.microsoft.com/office/drawing/2014/main" id="{F30062CA-7FE8-BA47-4209-BBABE4327E6E}"/>
                </a:ext>
              </a:extLst>
            </p:cNvPr>
            <p:cNvSpPr/>
            <p:nvPr/>
          </p:nvSpPr>
          <p:spPr>
            <a:xfrm>
              <a:off x="4216400" y="4580890"/>
              <a:ext cx="198120" cy="118109"/>
            </a:xfrm>
            <a:custGeom>
              <a:avLst/>
              <a:gdLst>
                <a:gd name="connsiteX0" fmla="*/ 99060 w 198120"/>
                <a:gd name="connsiteY0" fmla="*/ 44450 h 118109"/>
                <a:gd name="connsiteX1" fmla="*/ 60325 w 198120"/>
                <a:gd name="connsiteY1" fmla="*/ 0 h 118109"/>
                <a:gd name="connsiteX2" fmla="*/ 0 w 198120"/>
                <a:gd name="connsiteY2" fmla="*/ 0 h 118109"/>
                <a:gd name="connsiteX3" fmla="*/ 0 w 198120"/>
                <a:gd name="connsiteY3" fmla="*/ 118110 h 118109"/>
                <a:gd name="connsiteX4" fmla="*/ 59690 w 198120"/>
                <a:gd name="connsiteY4" fmla="*/ 118110 h 118109"/>
                <a:gd name="connsiteX5" fmla="*/ 59690 w 198120"/>
                <a:gd name="connsiteY5" fmla="*/ 75565 h 118109"/>
                <a:gd name="connsiteX6" fmla="*/ 100330 w 198120"/>
                <a:gd name="connsiteY6" fmla="*/ 111760 h 118109"/>
                <a:gd name="connsiteX7" fmla="*/ 138430 w 198120"/>
                <a:gd name="connsiteY7" fmla="*/ 75565 h 118109"/>
                <a:gd name="connsiteX8" fmla="*/ 138430 w 198120"/>
                <a:gd name="connsiteY8" fmla="*/ 118110 h 118109"/>
                <a:gd name="connsiteX9" fmla="*/ 198120 w 198120"/>
                <a:gd name="connsiteY9" fmla="*/ 118110 h 118109"/>
                <a:gd name="connsiteX10" fmla="*/ 198120 w 198120"/>
                <a:gd name="connsiteY10" fmla="*/ 0 h 118109"/>
                <a:gd name="connsiteX11" fmla="*/ 140970 w 198120"/>
                <a:gd name="connsiteY11"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120" h="118109">
                  <a:moveTo>
                    <a:pt x="99060" y="44450"/>
                  </a:moveTo>
                  <a:lnTo>
                    <a:pt x="60325" y="0"/>
                  </a:lnTo>
                  <a:lnTo>
                    <a:pt x="0" y="0"/>
                  </a:lnTo>
                  <a:lnTo>
                    <a:pt x="0" y="118110"/>
                  </a:lnTo>
                  <a:lnTo>
                    <a:pt x="59690" y="118110"/>
                  </a:lnTo>
                  <a:lnTo>
                    <a:pt x="59690" y="75565"/>
                  </a:lnTo>
                  <a:lnTo>
                    <a:pt x="100330" y="111760"/>
                  </a:lnTo>
                  <a:lnTo>
                    <a:pt x="138430" y="75565"/>
                  </a:lnTo>
                  <a:lnTo>
                    <a:pt x="138430" y="118110"/>
                  </a:lnTo>
                  <a:lnTo>
                    <a:pt x="198120" y="118110"/>
                  </a:lnTo>
                  <a:lnTo>
                    <a:pt x="198120" y="0"/>
                  </a:lnTo>
                  <a:lnTo>
                    <a:pt x="140970" y="0"/>
                  </a:lnTo>
                  <a:close/>
                </a:path>
              </a:pathLst>
            </a:custGeom>
            <a:solidFill>
              <a:srgbClr val="002733"/>
            </a:solidFill>
            <a:ln w="6350" cap="flat">
              <a:noFill/>
              <a:prstDash val="solid"/>
              <a:miter/>
            </a:ln>
          </p:spPr>
          <p:txBody>
            <a:bodyPr rtlCol="0" anchor="ctr"/>
            <a:lstStyle/>
            <a:p>
              <a:endParaRPr lang="en-GB"/>
            </a:p>
          </p:txBody>
        </p:sp>
        <p:sp>
          <p:nvSpPr>
            <p:cNvPr id="968" name="Freeform 967">
              <a:extLst>
                <a:ext uri="{FF2B5EF4-FFF2-40B4-BE49-F238E27FC236}">
                  <a16:creationId xmlns:a16="http://schemas.microsoft.com/office/drawing/2014/main" id="{E8B0983A-E4E5-30D1-23F3-94A028890673}"/>
                </a:ext>
              </a:extLst>
            </p:cNvPr>
            <p:cNvSpPr/>
            <p:nvPr/>
          </p:nvSpPr>
          <p:spPr>
            <a:xfrm>
              <a:off x="4136390" y="4263390"/>
              <a:ext cx="775969" cy="431800"/>
            </a:xfrm>
            <a:custGeom>
              <a:avLst/>
              <a:gdLst>
                <a:gd name="connsiteX0" fmla="*/ 387985 w 775969"/>
                <a:gd name="connsiteY0" fmla="*/ 0 h 431800"/>
                <a:gd name="connsiteX1" fmla="*/ 0 w 775969"/>
                <a:gd name="connsiteY1" fmla="*/ 390525 h 431800"/>
                <a:gd name="connsiteX2" fmla="*/ 1905 w 775969"/>
                <a:gd name="connsiteY2" fmla="*/ 431800 h 431800"/>
                <a:gd name="connsiteX3" fmla="*/ 48895 w 775969"/>
                <a:gd name="connsiteY3" fmla="*/ 431800 h 431800"/>
                <a:gd name="connsiteX4" fmla="*/ 46355 w 775969"/>
                <a:gd name="connsiteY4" fmla="*/ 390525 h 431800"/>
                <a:gd name="connsiteX5" fmla="*/ 387985 w 775969"/>
                <a:gd name="connsiteY5" fmla="*/ 46990 h 431800"/>
                <a:gd name="connsiteX6" fmla="*/ 729615 w 775969"/>
                <a:gd name="connsiteY6" fmla="*/ 390525 h 431800"/>
                <a:gd name="connsiteX7" fmla="*/ 727075 w 775969"/>
                <a:gd name="connsiteY7" fmla="*/ 431800 h 431800"/>
                <a:gd name="connsiteX8" fmla="*/ 774065 w 775969"/>
                <a:gd name="connsiteY8" fmla="*/ 431800 h 431800"/>
                <a:gd name="connsiteX9" fmla="*/ 775970 w 775969"/>
                <a:gd name="connsiteY9" fmla="*/ 390525 h 431800"/>
                <a:gd name="connsiteX10" fmla="*/ 387985 w 775969"/>
                <a:gd name="connsiteY10" fmla="*/ 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5969" h="431800">
                  <a:moveTo>
                    <a:pt x="387985" y="0"/>
                  </a:moveTo>
                  <a:cubicBezTo>
                    <a:pt x="173990" y="0"/>
                    <a:pt x="0" y="175895"/>
                    <a:pt x="0" y="390525"/>
                  </a:cubicBezTo>
                  <a:cubicBezTo>
                    <a:pt x="0" y="404495"/>
                    <a:pt x="635" y="418465"/>
                    <a:pt x="1905" y="431800"/>
                  </a:cubicBezTo>
                  <a:lnTo>
                    <a:pt x="48895" y="431800"/>
                  </a:lnTo>
                  <a:cubicBezTo>
                    <a:pt x="46990" y="418465"/>
                    <a:pt x="46355" y="404495"/>
                    <a:pt x="46355" y="390525"/>
                  </a:cubicBezTo>
                  <a:cubicBezTo>
                    <a:pt x="46355" y="201295"/>
                    <a:pt x="200025" y="46990"/>
                    <a:pt x="387985" y="46990"/>
                  </a:cubicBezTo>
                  <a:cubicBezTo>
                    <a:pt x="575945" y="46990"/>
                    <a:pt x="729615" y="201295"/>
                    <a:pt x="729615" y="390525"/>
                  </a:cubicBezTo>
                  <a:cubicBezTo>
                    <a:pt x="729615" y="404495"/>
                    <a:pt x="728345" y="418465"/>
                    <a:pt x="727075" y="431800"/>
                  </a:cubicBezTo>
                  <a:lnTo>
                    <a:pt x="774065" y="431800"/>
                  </a:lnTo>
                  <a:cubicBezTo>
                    <a:pt x="775335" y="418465"/>
                    <a:pt x="775970" y="404495"/>
                    <a:pt x="775970" y="390525"/>
                  </a:cubicBezTo>
                  <a:cubicBezTo>
                    <a:pt x="775970" y="175260"/>
                    <a:pt x="601980" y="0"/>
                    <a:pt x="387985" y="0"/>
                  </a:cubicBezTo>
                  <a:close/>
                </a:path>
              </a:pathLst>
            </a:custGeom>
            <a:solidFill>
              <a:srgbClr val="002733"/>
            </a:solidFill>
            <a:ln w="6350" cap="flat">
              <a:noFill/>
              <a:prstDash val="solid"/>
              <a:miter/>
            </a:ln>
          </p:spPr>
          <p:txBody>
            <a:bodyPr rtlCol="0" anchor="ctr"/>
            <a:lstStyle/>
            <a:p>
              <a:endParaRPr lang="en-GB"/>
            </a:p>
          </p:txBody>
        </p:sp>
      </p:grpSp>
      <p:grpSp>
        <p:nvGrpSpPr>
          <p:cNvPr id="969" name="Graphic 79">
            <a:extLst>
              <a:ext uri="{FF2B5EF4-FFF2-40B4-BE49-F238E27FC236}">
                <a16:creationId xmlns:a16="http://schemas.microsoft.com/office/drawing/2014/main" id="{F89C2984-DC51-90C1-D9A1-3B815211DB1D}"/>
              </a:ext>
            </a:extLst>
          </p:cNvPr>
          <p:cNvGrpSpPr/>
          <p:nvPr/>
        </p:nvGrpSpPr>
        <p:grpSpPr>
          <a:xfrm>
            <a:off x="5635625" y="4225448"/>
            <a:ext cx="920115" cy="476726"/>
            <a:chOff x="5635625" y="4225448"/>
            <a:chExt cx="920115" cy="476726"/>
          </a:xfrm>
          <a:solidFill>
            <a:srgbClr val="002733"/>
          </a:solidFill>
        </p:grpSpPr>
        <p:sp>
          <p:nvSpPr>
            <p:cNvPr id="970" name="Freeform 969">
              <a:extLst>
                <a:ext uri="{FF2B5EF4-FFF2-40B4-BE49-F238E27FC236}">
                  <a16:creationId xmlns:a16="http://schemas.microsoft.com/office/drawing/2014/main" id="{945B9512-583F-DA36-2C8D-CC804F1D51DE}"/>
                </a:ext>
              </a:extLst>
            </p:cNvPr>
            <p:cNvSpPr/>
            <p:nvPr/>
          </p:nvSpPr>
          <p:spPr>
            <a:xfrm>
              <a:off x="6320154" y="4557395"/>
              <a:ext cx="235585" cy="139700"/>
            </a:xfrm>
            <a:custGeom>
              <a:avLst/>
              <a:gdLst>
                <a:gd name="connsiteX0" fmla="*/ 182245 w 235585"/>
                <a:gd name="connsiteY0" fmla="*/ 0 h 139700"/>
                <a:gd name="connsiteX1" fmla="*/ 97155 w 235585"/>
                <a:gd name="connsiteY1" fmla="*/ 0 h 139700"/>
                <a:gd name="connsiteX2" fmla="*/ 53340 w 235585"/>
                <a:gd name="connsiteY2" fmla="*/ 113665 h 139700"/>
                <a:gd name="connsiteX3" fmla="*/ 53340 w 235585"/>
                <a:gd name="connsiteY3" fmla="*/ 0 h 139700"/>
                <a:gd name="connsiteX4" fmla="*/ 0 w 235585"/>
                <a:gd name="connsiteY4" fmla="*/ 0 h 139700"/>
                <a:gd name="connsiteX5" fmla="*/ 0 w 235585"/>
                <a:gd name="connsiteY5" fmla="*/ 139700 h 139700"/>
                <a:gd name="connsiteX6" fmla="*/ 97790 w 235585"/>
                <a:gd name="connsiteY6" fmla="*/ 139700 h 139700"/>
                <a:gd name="connsiteX7" fmla="*/ 105410 w 235585"/>
                <a:gd name="connsiteY7" fmla="*/ 119380 h 139700"/>
                <a:gd name="connsiteX8" fmla="*/ 172085 w 235585"/>
                <a:gd name="connsiteY8" fmla="*/ 119380 h 139700"/>
                <a:gd name="connsiteX9" fmla="*/ 179705 w 235585"/>
                <a:gd name="connsiteY9" fmla="*/ 139700 h 139700"/>
                <a:gd name="connsiteX10" fmla="*/ 235585 w 235585"/>
                <a:gd name="connsiteY10" fmla="*/ 139700 h 139700"/>
                <a:gd name="connsiteX11" fmla="*/ 182245 w 235585"/>
                <a:gd name="connsiteY11" fmla="*/ 0 h 139700"/>
                <a:gd name="connsiteX12" fmla="*/ 120015 w 235585"/>
                <a:gd name="connsiteY12" fmla="*/ 82550 h 139700"/>
                <a:gd name="connsiteX13" fmla="*/ 139065 w 235585"/>
                <a:gd name="connsiteY13" fmla="*/ 32385 h 139700"/>
                <a:gd name="connsiteX14" fmla="*/ 158115 w 235585"/>
                <a:gd name="connsiteY14" fmla="*/ 82550 h 139700"/>
                <a:gd name="connsiteX15" fmla="*/ 120015 w 235585"/>
                <a:gd name="connsiteY15" fmla="*/ 82550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5585" h="139700">
                  <a:moveTo>
                    <a:pt x="182245" y="0"/>
                  </a:moveTo>
                  <a:lnTo>
                    <a:pt x="97155" y="0"/>
                  </a:lnTo>
                  <a:lnTo>
                    <a:pt x="53340" y="113665"/>
                  </a:lnTo>
                  <a:lnTo>
                    <a:pt x="53340" y="0"/>
                  </a:lnTo>
                  <a:lnTo>
                    <a:pt x="0" y="0"/>
                  </a:lnTo>
                  <a:lnTo>
                    <a:pt x="0" y="139700"/>
                  </a:lnTo>
                  <a:lnTo>
                    <a:pt x="97790" y="139700"/>
                  </a:lnTo>
                  <a:lnTo>
                    <a:pt x="105410" y="119380"/>
                  </a:lnTo>
                  <a:lnTo>
                    <a:pt x="172085" y="119380"/>
                  </a:lnTo>
                  <a:lnTo>
                    <a:pt x="179705" y="139700"/>
                  </a:lnTo>
                  <a:lnTo>
                    <a:pt x="235585" y="139700"/>
                  </a:lnTo>
                  <a:lnTo>
                    <a:pt x="182245" y="0"/>
                  </a:lnTo>
                  <a:close/>
                  <a:moveTo>
                    <a:pt x="120015" y="82550"/>
                  </a:moveTo>
                  <a:lnTo>
                    <a:pt x="139065" y="32385"/>
                  </a:lnTo>
                  <a:lnTo>
                    <a:pt x="158115" y="82550"/>
                  </a:lnTo>
                  <a:lnTo>
                    <a:pt x="120015" y="82550"/>
                  </a:lnTo>
                  <a:close/>
                </a:path>
              </a:pathLst>
            </a:custGeom>
            <a:solidFill>
              <a:srgbClr val="002733"/>
            </a:solidFill>
            <a:ln w="6350" cap="flat">
              <a:noFill/>
              <a:prstDash val="solid"/>
              <a:miter/>
            </a:ln>
          </p:spPr>
          <p:txBody>
            <a:bodyPr rtlCol="0" anchor="ctr"/>
            <a:lstStyle/>
            <a:p>
              <a:endParaRPr lang="en-GB"/>
            </a:p>
          </p:txBody>
        </p:sp>
        <p:sp>
          <p:nvSpPr>
            <p:cNvPr id="971" name="Freeform 970">
              <a:extLst>
                <a:ext uri="{FF2B5EF4-FFF2-40B4-BE49-F238E27FC236}">
                  <a16:creationId xmlns:a16="http://schemas.microsoft.com/office/drawing/2014/main" id="{BE2C8866-7A6A-FB3A-4208-73A1E19D8F98}"/>
                </a:ext>
              </a:extLst>
            </p:cNvPr>
            <p:cNvSpPr/>
            <p:nvPr/>
          </p:nvSpPr>
          <p:spPr>
            <a:xfrm>
              <a:off x="5635625" y="4550409"/>
              <a:ext cx="671195" cy="151765"/>
            </a:xfrm>
            <a:custGeom>
              <a:avLst/>
              <a:gdLst>
                <a:gd name="connsiteX0" fmla="*/ 619125 w 671195"/>
                <a:gd name="connsiteY0" fmla="*/ 80645 h 151765"/>
                <a:gd name="connsiteX1" fmla="*/ 563880 w 671195"/>
                <a:gd name="connsiteY1" fmla="*/ 6985 h 151765"/>
                <a:gd name="connsiteX2" fmla="*/ 497840 w 671195"/>
                <a:gd name="connsiteY2" fmla="*/ 6985 h 151765"/>
                <a:gd name="connsiteX3" fmla="*/ 497840 w 671195"/>
                <a:gd name="connsiteY3" fmla="*/ 120650 h 151765"/>
                <a:gd name="connsiteX4" fmla="*/ 453390 w 671195"/>
                <a:gd name="connsiteY4" fmla="*/ 6985 h 151765"/>
                <a:gd name="connsiteX5" fmla="*/ 368300 w 671195"/>
                <a:gd name="connsiteY5" fmla="*/ 6985 h 151765"/>
                <a:gd name="connsiteX6" fmla="*/ 336550 w 671195"/>
                <a:gd name="connsiteY6" fmla="*/ 89535 h 151765"/>
                <a:gd name="connsiteX7" fmla="*/ 284480 w 671195"/>
                <a:gd name="connsiteY7" fmla="*/ 89535 h 151765"/>
                <a:gd name="connsiteX8" fmla="*/ 255905 w 671195"/>
                <a:gd name="connsiteY8" fmla="*/ 114935 h 151765"/>
                <a:gd name="connsiteX9" fmla="*/ 226060 w 671195"/>
                <a:gd name="connsiteY9" fmla="*/ 76835 h 151765"/>
                <a:gd name="connsiteX10" fmla="*/ 255905 w 671195"/>
                <a:gd name="connsiteY10" fmla="*/ 38735 h 151765"/>
                <a:gd name="connsiteX11" fmla="*/ 283845 w 671195"/>
                <a:gd name="connsiteY11" fmla="*/ 60325 h 151765"/>
                <a:gd name="connsiteX12" fmla="*/ 341630 w 671195"/>
                <a:gd name="connsiteY12" fmla="*/ 60325 h 151765"/>
                <a:gd name="connsiteX13" fmla="*/ 341630 w 671195"/>
                <a:gd name="connsiteY13" fmla="*/ 56515 h 151765"/>
                <a:gd name="connsiteX14" fmla="*/ 256540 w 671195"/>
                <a:gd name="connsiteY14" fmla="*/ 0 h 151765"/>
                <a:gd name="connsiteX15" fmla="*/ 169545 w 671195"/>
                <a:gd name="connsiteY15" fmla="*/ 76200 h 151765"/>
                <a:gd name="connsiteX16" fmla="*/ 169545 w 671195"/>
                <a:gd name="connsiteY16" fmla="*/ 79375 h 151765"/>
                <a:gd name="connsiteX17" fmla="*/ 121285 w 671195"/>
                <a:gd name="connsiteY17" fmla="*/ 60325 h 151765"/>
                <a:gd name="connsiteX18" fmla="*/ 85090 w 671195"/>
                <a:gd name="connsiteY18" fmla="*/ 54610 h 151765"/>
                <a:gd name="connsiteX19" fmla="*/ 62865 w 671195"/>
                <a:gd name="connsiteY19" fmla="*/ 44450 h 151765"/>
                <a:gd name="connsiteX20" fmla="*/ 83185 w 671195"/>
                <a:gd name="connsiteY20" fmla="*/ 32385 h 151765"/>
                <a:gd name="connsiteX21" fmla="*/ 109220 w 671195"/>
                <a:gd name="connsiteY21" fmla="*/ 48895 h 151765"/>
                <a:gd name="connsiteX22" fmla="*/ 167640 w 671195"/>
                <a:gd name="connsiteY22" fmla="*/ 48895 h 151765"/>
                <a:gd name="connsiteX23" fmla="*/ 167640 w 671195"/>
                <a:gd name="connsiteY23" fmla="*/ 46990 h 151765"/>
                <a:gd name="connsiteX24" fmla="*/ 85090 w 671195"/>
                <a:gd name="connsiteY24" fmla="*/ 635 h 151765"/>
                <a:gd name="connsiteX25" fmla="*/ 3810 w 671195"/>
                <a:gd name="connsiteY25" fmla="*/ 50165 h 151765"/>
                <a:gd name="connsiteX26" fmla="*/ 53340 w 671195"/>
                <a:gd name="connsiteY26" fmla="*/ 90805 h 151765"/>
                <a:gd name="connsiteX27" fmla="*/ 94615 w 671195"/>
                <a:gd name="connsiteY27" fmla="*/ 96520 h 151765"/>
                <a:gd name="connsiteX28" fmla="*/ 114300 w 671195"/>
                <a:gd name="connsiteY28" fmla="*/ 107315 h 151765"/>
                <a:gd name="connsiteX29" fmla="*/ 89535 w 671195"/>
                <a:gd name="connsiteY29" fmla="*/ 119380 h 151765"/>
                <a:gd name="connsiteX30" fmla="*/ 61595 w 671195"/>
                <a:gd name="connsiteY30" fmla="*/ 99695 h 151765"/>
                <a:gd name="connsiteX31" fmla="*/ 0 w 671195"/>
                <a:gd name="connsiteY31" fmla="*/ 99695 h 151765"/>
                <a:gd name="connsiteX32" fmla="*/ 0 w 671195"/>
                <a:gd name="connsiteY32" fmla="*/ 102870 h 151765"/>
                <a:gd name="connsiteX33" fmla="*/ 86995 w 671195"/>
                <a:gd name="connsiteY33" fmla="*/ 151765 h 151765"/>
                <a:gd name="connsiteX34" fmla="*/ 175895 w 671195"/>
                <a:gd name="connsiteY34" fmla="*/ 110490 h 151765"/>
                <a:gd name="connsiteX35" fmla="*/ 256540 w 671195"/>
                <a:gd name="connsiteY35" fmla="*/ 151765 h 151765"/>
                <a:gd name="connsiteX36" fmla="*/ 321310 w 671195"/>
                <a:gd name="connsiteY36" fmla="*/ 128270 h 151765"/>
                <a:gd name="connsiteX37" fmla="*/ 314960 w 671195"/>
                <a:gd name="connsiteY37" fmla="*/ 145415 h 151765"/>
                <a:gd name="connsiteX38" fmla="*/ 369570 w 671195"/>
                <a:gd name="connsiteY38" fmla="*/ 145415 h 151765"/>
                <a:gd name="connsiteX39" fmla="*/ 377825 w 671195"/>
                <a:gd name="connsiteY39" fmla="*/ 125730 h 151765"/>
                <a:gd name="connsiteX40" fmla="*/ 444500 w 671195"/>
                <a:gd name="connsiteY40" fmla="*/ 125730 h 151765"/>
                <a:gd name="connsiteX41" fmla="*/ 452120 w 671195"/>
                <a:gd name="connsiteY41" fmla="*/ 146050 h 151765"/>
                <a:gd name="connsiteX42" fmla="*/ 549910 w 671195"/>
                <a:gd name="connsiteY42" fmla="*/ 146050 h 151765"/>
                <a:gd name="connsiteX43" fmla="*/ 549910 w 671195"/>
                <a:gd name="connsiteY43" fmla="*/ 66040 h 151765"/>
                <a:gd name="connsiteX44" fmla="*/ 610235 w 671195"/>
                <a:gd name="connsiteY44" fmla="*/ 146685 h 151765"/>
                <a:gd name="connsiteX45" fmla="*/ 671195 w 671195"/>
                <a:gd name="connsiteY45" fmla="*/ 146685 h 151765"/>
                <a:gd name="connsiteX46" fmla="*/ 671195 w 671195"/>
                <a:gd name="connsiteY46" fmla="*/ 6985 h 151765"/>
                <a:gd name="connsiteX47" fmla="*/ 619125 w 671195"/>
                <a:gd name="connsiteY47" fmla="*/ 6985 h 151765"/>
                <a:gd name="connsiteX48" fmla="*/ 619125 w 671195"/>
                <a:gd name="connsiteY48" fmla="*/ 80645 h 151765"/>
                <a:gd name="connsiteX49" fmla="*/ 391160 w 671195"/>
                <a:gd name="connsiteY49" fmla="*/ 89535 h 151765"/>
                <a:gd name="connsiteX50" fmla="*/ 410210 w 671195"/>
                <a:gd name="connsiteY50" fmla="*/ 39370 h 151765"/>
                <a:gd name="connsiteX51" fmla="*/ 429260 w 671195"/>
                <a:gd name="connsiteY51" fmla="*/ 89535 h 151765"/>
                <a:gd name="connsiteX52" fmla="*/ 391160 w 671195"/>
                <a:gd name="connsiteY52" fmla="*/ 89535 h 15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71195" h="151765">
                  <a:moveTo>
                    <a:pt x="619125" y="80645"/>
                  </a:moveTo>
                  <a:lnTo>
                    <a:pt x="563880" y="6985"/>
                  </a:lnTo>
                  <a:lnTo>
                    <a:pt x="497840" y="6985"/>
                  </a:lnTo>
                  <a:lnTo>
                    <a:pt x="497840" y="120650"/>
                  </a:lnTo>
                  <a:lnTo>
                    <a:pt x="453390" y="6985"/>
                  </a:lnTo>
                  <a:lnTo>
                    <a:pt x="368300" y="6985"/>
                  </a:lnTo>
                  <a:lnTo>
                    <a:pt x="336550" y="89535"/>
                  </a:lnTo>
                  <a:lnTo>
                    <a:pt x="284480" y="89535"/>
                  </a:lnTo>
                  <a:cubicBezTo>
                    <a:pt x="281940" y="106045"/>
                    <a:pt x="272415" y="114935"/>
                    <a:pt x="255905" y="114935"/>
                  </a:cubicBezTo>
                  <a:cubicBezTo>
                    <a:pt x="236855" y="114935"/>
                    <a:pt x="226060" y="99695"/>
                    <a:pt x="226060" y="76835"/>
                  </a:cubicBezTo>
                  <a:cubicBezTo>
                    <a:pt x="226060" y="53340"/>
                    <a:pt x="236855" y="38735"/>
                    <a:pt x="255905" y="38735"/>
                  </a:cubicBezTo>
                  <a:cubicBezTo>
                    <a:pt x="271780" y="38735"/>
                    <a:pt x="281940" y="46990"/>
                    <a:pt x="283845" y="60325"/>
                  </a:cubicBezTo>
                  <a:lnTo>
                    <a:pt x="341630" y="60325"/>
                  </a:lnTo>
                  <a:lnTo>
                    <a:pt x="341630" y="56515"/>
                  </a:lnTo>
                  <a:cubicBezTo>
                    <a:pt x="341630" y="25400"/>
                    <a:pt x="314960" y="0"/>
                    <a:pt x="256540" y="0"/>
                  </a:cubicBezTo>
                  <a:cubicBezTo>
                    <a:pt x="193675" y="0"/>
                    <a:pt x="169545" y="31750"/>
                    <a:pt x="169545" y="76200"/>
                  </a:cubicBezTo>
                  <a:cubicBezTo>
                    <a:pt x="169545" y="77470"/>
                    <a:pt x="169545" y="78105"/>
                    <a:pt x="169545" y="79375"/>
                  </a:cubicBezTo>
                  <a:cubicBezTo>
                    <a:pt x="161925" y="69850"/>
                    <a:pt x="146685" y="64135"/>
                    <a:pt x="121285" y="60325"/>
                  </a:cubicBezTo>
                  <a:lnTo>
                    <a:pt x="85090" y="54610"/>
                  </a:lnTo>
                  <a:cubicBezTo>
                    <a:pt x="71120" y="52705"/>
                    <a:pt x="62865" y="50800"/>
                    <a:pt x="62865" y="44450"/>
                  </a:cubicBezTo>
                  <a:cubicBezTo>
                    <a:pt x="62865" y="38735"/>
                    <a:pt x="68580" y="32385"/>
                    <a:pt x="83185" y="32385"/>
                  </a:cubicBezTo>
                  <a:cubicBezTo>
                    <a:pt x="99695" y="32385"/>
                    <a:pt x="109220" y="38735"/>
                    <a:pt x="109220" y="48895"/>
                  </a:cubicBezTo>
                  <a:lnTo>
                    <a:pt x="167640" y="48895"/>
                  </a:lnTo>
                  <a:lnTo>
                    <a:pt x="167640" y="46990"/>
                  </a:lnTo>
                  <a:cubicBezTo>
                    <a:pt x="167640" y="19050"/>
                    <a:pt x="139700" y="635"/>
                    <a:pt x="85090" y="635"/>
                  </a:cubicBezTo>
                  <a:cubicBezTo>
                    <a:pt x="28575" y="635"/>
                    <a:pt x="3810" y="20955"/>
                    <a:pt x="3810" y="50165"/>
                  </a:cubicBezTo>
                  <a:cubicBezTo>
                    <a:pt x="3810" y="72390"/>
                    <a:pt x="18415" y="85725"/>
                    <a:pt x="53340" y="90805"/>
                  </a:cubicBezTo>
                  <a:lnTo>
                    <a:pt x="94615" y="96520"/>
                  </a:lnTo>
                  <a:cubicBezTo>
                    <a:pt x="109220" y="98425"/>
                    <a:pt x="114300" y="101600"/>
                    <a:pt x="114300" y="107315"/>
                  </a:cubicBezTo>
                  <a:cubicBezTo>
                    <a:pt x="114300" y="115570"/>
                    <a:pt x="106680" y="119380"/>
                    <a:pt x="89535" y="119380"/>
                  </a:cubicBezTo>
                  <a:cubicBezTo>
                    <a:pt x="70485" y="119380"/>
                    <a:pt x="61595" y="111125"/>
                    <a:pt x="61595" y="99695"/>
                  </a:cubicBezTo>
                  <a:lnTo>
                    <a:pt x="0" y="99695"/>
                  </a:lnTo>
                  <a:lnTo>
                    <a:pt x="0" y="102870"/>
                  </a:lnTo>
                  <a:cubicBezTo>
                    <a:pt x="0" y="133985"/>
                    <a:pt x="29210" y="151765"/>
                    <a:pt x="86995" y="151765"/>
                  </a:cubicBezTo>
                  <a:cubicBezTo>
                    <a:pt x="140335" y="151765"/>
                    <a:pt x="170815" y="140335"/>
                    <a:pt x="175895" y="110490"/>
                  </a:cubicBezTo>
                  <a:cubicBezTo>
                    <a:pt x="186690" y="135890"/>
                    <a:pt x="211455" y="151765"/>
                    <a:pt x="256540" y="151765"/>
                  </a:cubicBezTo>
                  <a:cubicBezTo>
                    <a:pt x="290830" y="151765"/>
                    <a:pt x="309880" y="142240"/>
                    <a:pt x="321310" y="128270"/>
                  </a:cubicBezTo>
                  <a:lnTo>
                    <a:pt x="314960" y="145415"/>
                  </a:lnTo>
                  <a:lnTo>
                    <a:pt x="369570" y="145415"/>
                  </a:lnTo>
                  <a:lnTo>
                    <a:pt x="377825" y="125730"/>
                  </a:lnTo>
                  <a:lnTo>
                    <a:pt x="444500" y="125730"/>
                  </a:lnTo>
                  <a:lnTo>
                    <a:pt x="452120" y="146050"/>
                  </a:lnTo>
                  <a:lnTo>
                    <a:pt x="549910" y="146050"/>
                  </a:lnTo>
                  <a:lnTo>
                    <a:pt x="549910" y="66040"/>
                  </a:lnTo>
                  <a:lnTo>
                    <a:pt x="610235" y="146685"/>
                  </a:lnTo>
                  <a:lnTo>
                    <a:pt x="671195" y="146685"/>
                  </a:lnTo>
                  <a:lnTo>
                    <a:pt x="671195" y="6985"/>
                  </a:lnTo>
                  <a:lnTo>
                    <a:pt x="619125" y="6985"/>
                  </a:lnTo>
                  <a:lnTo>
                    <a:pt x="619125" y="80645"/>
                  </a:lnTo>
                  <a:close/>
                  <a:moveTo>
                    <a:pt x="391160" y="89535"/>
                  </a:moveTo>
                  <a:lnTo>
                    <a:pt x="410210" y="39370"/>
                  </a:lnTo>
                  <a:lnTo>
                    <a:pt x="429260" y="89535"/>
                  </a:lnTo>
                  <a:lnTo>
                    <a:pt x="391160" y="89535"/>
                  </a:lnTo>
                  <a:close/>
                </a:path>
              </a:pathLst>
            </a:custGeom>
            <a:solidFill>
              <a:srgbClr val="002733"/>
            </a:solidFill>
            <a:ln w="6350" cap="flat">
              <a:noFill/>
              <a:prstDash val="solid"/>
              <a:miter/>
            </a:ln>
          </p:spPr>
          <p:txBody>
            <a:bodyPr rtlCol="0" anchor="ctr"/>
            <a:lstStyle/>
            <a:p>
              <a:endParaRPr lang="en-GB"/>
            </a:p>
          </p:txBody>
        </p:sp>
        <p:sp>
          <p:nvSpPr>
            <p:cNvPr id="972" name="Freeform 971">
              <a:extLst>
                <a:ext uri="{FF2B5EF4-FFF2-40B4-BE49-F238E27FC236}">
                  <a16:creationId xmlns:a16="http://schemas.microsoft.com/office/drawing/2014/main" id="{06886CC2-4627-152F-F985-8880826C640F}"/>
                </a:ext>
              </a:extLst>
            </p:cNvPr>
            <p:cNvSpPr/>
            <p:nvPr/>
          </p:nvSpPr>
          <p:spPr>
            <a:xfrm>
              <a:off x="6117590" y="4321175"/>
              <a:ext cx="13334" cy="10159"/>
            </a:xfrm>
            <a:custGeom>
              <a:avLst/>
              <a:gdLst>
                <a:gd name="connsiteX0" fmla="*/ 13335 w 13334"/>
                <a:gd name="connsiteY0" fmla="*/ 0 h 10159"/>
                <a:gd name="connsiteX1" fmla="*/ 0 w 13334"/>
                <a:gd name="connsiteY1" fmla="*/ 6985 h 10159"/>
                <a:gd name="connsiteX2" fmla="*/ 1270 w 13334"/>
                <a:gd name="connsiteY2" fmla="*/ 10160 h 10159"/>
                <a:gd name="connsiteX3" fmla="*/ 13335 w 13334"/>
                <a:gd name="connsiteY3" fmla="*/ 0 h 10159"/>
              </a:gdLst>
              <a:ahLst/>
              <a:cxnLst>
                <a:cxn ang="0">
                  <a:pos x="connsiteX0" y="connsiteY0"/>
                </a:cxn>
                <a:cxn ang="0">
                  <a:pos x="connsiteX1" y="connsiteY1"/>
                </a:cxn>
                <a:cxn ang="0">
                  <a:pos x="connsiteX2" y="connsiteY2"/>
                </a:cxn>
                <a:cxn ang="0">
                  <a:pos x="connsiteX3" y="connsiteY3"/>
                </a:cxn>
              </a:cxnLst>
              <a:rect l="l" t="t" r="r" b="b"/>
              <a:pathLst>
                <a:path w="13334" h="10159">
                  <a:moveTo>
                    <a:pt x="13335" y="0"/>
                  </a:moveTo>
                  <a:cubicBezTo>
                    <a:pt x="8255" y="1270"/>
                    <a:pt x="3810" y="3810"/>
                    <a:pt x="0" y="6985"/>
                  </a:cubicBezTo>
                  <a:lnTo>
                    <a:pt x="1270" y="10160"/>
                  </a:lnTo>
                  <a:cubicBezTo>
                    <a:pt x="6985" y="8890"/>
                    <a:pt x="11430" y="5080"/>
                    <a:pt x="13335" y="0"/>
                  </a:cubicBezTo>
                  <a:close/>
                </a:path>
              </a:pathLst>
            </a:custGeom>
            <a:solidFill>
              <a:srgbClr val="002733"/>
            </a:solidFill>
            <a:ln w="6350" cap="flat">
              <a:noFill/>
              <a:prstDash val="solid"/>
              <a:miter/>
            </a:ln>
          </p:spPr>
          <p:txBody>
            <a:bodyPr rtlCol="0" anchor="ctr"/>
            <a:lstStyle/>
            <a:p>
              <a:endParaRPr lang="en-GB"/>
            </a:p>
          </p:txBody>
        </p:sp>
        <p:sp>
          <p:nvSpPr>
            <p:cNvPr id="973" name="Freeform 972">
              <a:extLst>
                <a:ext uri="{FF2B5EF4-FFF2-40B4-BE49-F238E27FC236}">
                  <a16:creationId xmlns:a16="http://schemas.microsoft.com/office/drawing/2014/main" id="{3DE6D370-F8B6-5198-C6F5-4F1A7D7BB25F}"/>
                </a:ext>
              </a:extLst>
            </p:cNvPr>
            <p:cNvSpPr/>
            <p:nvPr/>
          </p:nvSpPr>
          <p:spPr>
            <a:xfrm>
              <a:off x="6084570" y="4344670"/>
              <a:ext cx="45170" cy="46989"/>
            </a:xfrm>
            <a:custGeom>
              <a:avLst/>
              <a:gdLst>
                <a:gd name="connsiteX0" fmla="*/ 18415 w 45170"/>
                <a:gd name="connsiteY0" fmla="*/ 22225 h 46989"/>
                <a:gd name="connsiteX1" fmla="*/ 15240 w 45170"/>
                <a:gd name="connsiteY1" fmla="*/ 19050 h 46989"/>
                <a:gd name="connsiteX2" fmla="*/ 15240 w 45170"/>
                <a:gd name="connsiteY2" fmla="*/ 24130 h 46989"/>
                <a:gd name="connsiteX3" fmla="*/ 10160 w 45170"/>
                <a:gd name="connsiteY3" fmla="*/ 34925 h 46989"/>
                <a:gd name="connsiteX4" fmla="*/ 9525 w 45170"/>
                <a:gd name="connsiteY4" fmla="*/ 25400 h 46989"/>
                <a:gd name="connsiteX5" fmla="*/ 5715 w 45170"/>
                <a:gd name="connsiteY5" fmla="*/ 27305 h 46989"/>
                <a:gd name="connsiteX6" fmla="*/ 3810 w 45170"/>
                <a:gd name="connsiteY6" fmla="*/ 37465 h 46989"/>
                <a:gd name="connsiteX7" fmla="*/ 0 w 45170"/>
                <a:gd name="connsiteY7" fmla="*/ 41275 h 46989"/>
                <a:gd name="connsiteX8" fmla="*/ 5080 w 45170"/>
                <a:gd name="connsiteY8" fmla="*/ 41275 h 46989"/>
                <a:gd name="connsiteX9" fmla="*/ 18415 w 45170"/>
                <a:gd name="connsiteY9" fmla="*/ 31750 h 46989"/>
                <a:gd name="connsiteX10" fmla="*/ 15240 w 45170"/>
                <a:gd name="connsiteY10" fmla="*/ 42545 h 46989"/>
                <a:gd name="connsiteX11" fmla="*/ 12700 w 45170"/>
                <a:gd name="connsiteY11" fmla="*/ 46990 h 46989"/>
                <a:gd name="connsiteX12" fmla="*/ 17780 w 45170"/>
                <a:gd name="connsiteY12" fmla="*/ 45720 h 46989"/>
                <a:gd name="connsiteX13" fmla="*/ 29845 w 45170"/>
                <a:gd name="connsiteY13" fmla="*/ 37465 h 46989"/>
                <a:gd name="connsiteX14" fmla="*/ 33020 w 45170"/>
                <a:gd name="connsiteY14" fmla="*/ 22225 h 46989"/>
                <a:gd name="connsiteX15" fmla="*/ 36195 w 45170"/>
                <a:gd name="connsiteY15" fmla="*/ 34925 h 46989"/>
                <a:gd name="connsiteX16" fmla="*/ 36195 w 45170"/>
                <a:gd name="connsiteY16" fmla="*/ 40640 h 46989"/>
                <a:gd name="connsiteX17" fmla="*/ 40005 w 45170"/>
                <a:gd name="connsiteY17" fmla="*/ 36195 h 46989"/>
                <a:gd name="connsiteX18" fmla="*/ 36195 w 45170"/>
                <a:gd name="connsiteY18" fmla="*/ 0 h 46989"/>
                <a:gd name="connsiteX19" fmla="*/ 34925 w 45170"/>
                <a:gd name="connsiteY19" fmla="*/ 4445 h 46989"/>
                <a:gd name="connsiteX20" fmla="*/ 40005 w 45170"/>
                <a:gd name="connsiteY20" fmla="*/ 27940 h 46989"/>
                <a:gd name="connsiteX21" fmla="*/ 30480 w 45170"/>
                <a:gd name="connsiteY21" fmla="*/ 15240 h 46989"/>
                <a:gd name="connsiteX22" fmla="*/ 26670 w 45170"/>
                <a:gd name="connsiteY22" fmla="*/ 13970 h 46989"/>
                <a:gd name="connsiteX23" fmla="*/ 27940 w 45170"/>
                <a:gd name="connsiteY23" fmla="*/ 17780 h 46989"/>
                <a:gd name="connsiteX24" fmla="*/ 26670 w 45170"/>
                <a:gd name="connsiteY24" fmla="*/ 34925 h 46989"/>
                <a:gd name="connsiteX25" fmla="*/ 22225 w 45170"/>
                <a:gd name="connsiteY25" fmla="*/ 39370 h 46989"/>
                <a:gd name="connsiteX26" fmla="*/ 18415 w 45170"/>
                <a:gd name="connsiteY26" fmla="*/ 22225 h 4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170" h="46989">
                  <a:moveTo>
                    <a:pt x="18415" y="22225"/>
                  </a:moveTo>
                  <a:cubicBezTo>
                    <a:pt x="18415" y="21590"/>
                    <a:pt x="15240" y="19050"/>
                    <a:pt x="15240" y="19050"/>
                  </a:cubicBezTo>
                  <a:lnTo>
                    <a:pt x="15240" y="24130"/>
                  </a:lnTo>
                  <a:cubicBezTo>
                    <a:pt x="15240" y="28575"/>
                    <a:pt x="13335" y="32385"/>
                    <a:pt x="10160" y="34925"/>
                  </a:cubicBezTo>
                  <a:cubicBezTo>
                    <a:pt x="11430" y="31750"/>
                    <a:pt x="10795" y="28575"/>
                    <a:pt x="9525" y="25400"/>
                  </a:cubicBezTo>
                  <a:lnTo>
                    <a:pt x="5715" y="27305"/>
                  </a:lnTo>
                  <a:cubicBezTo>
                    <a:pt x="7620" y="31115"/>
                    <a:pt x="6350" y="34925"/>
                    <a:pt x="3810" y="37465"/>
                  </a:cubicBezTo>
                  <a:lnTo>
                    <a:pt x="0" y="41275"/>
                  </a:lnTo>
                  <a:cubicBezTo>
                    <a:pt x="0" y="41275"/>
                    <a:pt x="3810" y="41275"/>
                    <a:pt x="5080" y="41275"/>
                  </a:cubicBezTo>
                  <a:cubicBezTo>
                    <a:pt x="10795" y="40640"/>
                    <a:pt x="15875" y="36830"/>
                    <a:pt x="18415" y="31750"/>
                  </a:cubicBezTo>
                  <a:cubicBezTo>
                    <a:pt x="18415" y="35560"/>
                    <a:pt x="17145" y="39370"/>
                    <a:pt x="15240" y="42545"/>
                  </a:cubicBezTo>
                  <a:lnTo>
                    <a:pt x="12700" y="46990"/>
                  </a:lnTo>
                  <a:cubicBezTo>
                    <a:pt x="12700" y="46990"/>
                    <a:pt x="17145" y="46355"/>
                    <a:pt x="17780" y="45720"/>
                  </a:cubicBezTo>
                  <a:cubicBezTo>
                    <a:pt x="22860" y="44450"/>
                    <a:pt x="26670" y="41275"/>
                    <a:pt x="29845" y="37465"/>
                  </a:cubicBezTo>
                  <a:cubicBezTo>
                    <a:pt x="32385" y="33020"/>
                    <a:pt x="33655" y="27940"/>
                    <a:pt x="33020" y="22225"/>
                  </a:cubicBezTo>
                  <a:cubicBezTo>
                    <a:pt x="35560" y="26035"/>
                    <a:pt x="36830" y="30480"/>
                    <a:pt x="36195" y="34925"/>
                  </a:cubicBezTo>
                  <a:lnTo>
                    <a:pt x="36195" y="40640"/>
                  </a:lnTo>
                  <a:cubicBezTo>
                    <a:pt x="37465" y="39370"/>
                    <a:pt x="38735" y="38100"/>
                    <a:pt x="40005" y="36195"/>
                  </a:cubicBezTo>
                  <a:cubicBezTo>
                    <a:pt x="48260" y="24765"/>
                    <a:pt x="46355" y="9525"/>
                    <a:pt x="36195" y="0"/>
                  </a:cubicBezTo>
                  <a:lnTo>
                    <a:pt x="34925" y="4445"/>
                  </a:lnTo>
                  <a:cubicBezTo>
                    <a:pt x="40640" y="10795"/>
                    <a:pt x="42545" y="19685"/>
                    <a:pt x="40005" y="27940"/>
                  </a:cubicBezTo>
                  <a:cubicBezTo>
                    <a:pt x="39370" y="22225"/>
                    <a:pt x="35560" y="17780"/>
                    <a:pt x="30480" y="15240"/>
                  </a:cubicBezTo>
                  <a:cubicBezTo>
                    <a:pt x="29210" y="14605"/>
                    <a:pt x="27940" y="13970"/>
                    <a:pt x="26670" y="13970"/>
                  </a:cubicBezTo>
                  <a:lnTo>
                    <a:pt x="27940" y="17780"/>
                  </a:lnTo>
                  <a:cubicBezTo>
                    <a:pt x="29845" y="23495"/>
                    <a:pt x="29210" y="29845"/>
                    <a:pt x="26670" y="34925"/>
                  </a:cubicBezTo>
                  <a:cubicBezTo>
                    <a:pt x="25400" y="36830"/>
                    <a:pt x="24130" y="38100"/>
                    <a:pt x="22225" y="39370"/>
                  </a:cubicBezTo>
                  <a:cubicBezTo>
                    <a:pt x="22860" y="32385"/>
                    <a:pt x="22225" y="26670"/>
                    <a:pt x="18415" y="22225"/>
                  </a:cubicBezTo>
                  <a:close/>
                </a:path>
              </a:pathLst>
            </a:custGeom>
            <a:solidFill>
              <a:srgbClr val="002733"/>
            </a:solidFill>
            <a:ln w="6350" cap="flat">
              <a:noFill/>
              <a:prstDash val="solid"/>
              <a:miter/>
            </a:ln>
          </p:spPr>
          <p:txBody>
            <a:bodyPr rtlCol="0" anchor="ctr"/>
            <a:lstStyle/>
            <a:p>
              <a:endParaRPr lang="en-GB"/>
            </a:p>
          </p:txBody>
        </p:sp>
        <p:sp>
          <p:nvSpPr>
            <p:cNvPr id="974" name="Freeform 973">
              <a:extLst>
                <a:ext uri="{FF2B5EF4-FFF2-40B4-BE49-F238E27FC236}">
                  <a16:creationId xmlns:a16="http://schemas.microsoft.com/office/drawing/2014/main" id="{00702E57-C2CF-D70E-0A3D-940FD63B5FEB}"/>
                </a:ext>
              </a:extLst>
            </p:cNvPr>
            <p:cNvSpPr/>
            <p:nvPr/>
          </p:nvSpPr>
          <p:spPr>
            <a:xfrm>
              <a:off x="6015990" y="4277359"/>
              <a:ext cx="135254" cy="172085"/>
            </a:xfrm>
            <a:custGeom>
              <a:avLst/>
              <a:gdLst>
                <a:gd name="connsiteX0" fmla="*/ 6350 w 135254"/>
                <a:gd name="connsiteY0" fmla="*/ 78740 h 172085"/>
                <a:gd name="connsiteX1" fmla="*/ 33020 w 135254"/>
                <a:gd name="connsiteY1" fmla="*/ 81280 h 172085"/>
                <a:gd name="connsiteX2" fmla="*/ 53975 w 135254"/>
                <a:gd name="connsiteY2" fmla="*/ 80645 h 172085"/>
                <a:gd name="connsiteX3" fmla="*/ 55880 w 135254"/>
                <a:gd name="connsiteY3" fmla="*/ 81915 h 172085"/>
                <a:gd name="connsiteX4" fmla="*/ 53340 w 135254"/>
                <a:gd name="connsiteY4" fmla="*/ 83820 h 172085"/>
                <a:gd name="connsiteX5" fmla="*/ 36195 w 135254"/>
                <a:gd name="connsiteY5" fmla="*/ 85090 h 172085"/>
                <a:gd name="connsiteX6" fmla="*/ 31115 w 135254"/>
                <a:gd name="connsiteY6" fmla="*/ 83185 h 172085"/>
                <a:gd name="connsiteX7" fmla="*/ 31115 w 135254"/>
                <a:gd name="connsiteY7" fmla="*/ 85725 h 172085"/>
                <a:gd name="connsiteX8" fmla="*/ 34925 w 135254"/>
                <a:gd name="connsiteY8" fmla="*/ 94615 h 172085"/>
                <a:gd name="connsiteX9" fmla="*/ 46990 w 135254"/>
                <a:gd name="connsiteY9" fmla="*/ 99060 h 172085"/>
                <a:gd name="connsiteX10" fmla="*/ 38735 w 135254"/>
                <a:gd name="connsiteY10" fmla="*/ 115570 h 172085"/>
                <a:gd name="connsiteX11" fmla="*/ 40640 w 135254"/>
                <a:gd name="connsiteY11" fmla="*/ 124460 h 172085"/>
                <a:gd name="connsiteX12" fmla="*/ 41910 w 135254"/>
                <a:gd name="connsiteY12" fmla="*/ 127635 h 172085"/>
                <a:gd name="connsiteX13" fmla="*/ 44450 w 135254"/>
                <a:gd name="connsiteY13" fmla="*/ 125095 h 172085"/>
                <a:gd name="connsiteX14" fmla="*/ 50800 w 135254"/>
                <a:gd name="connsiteY14" fmla="*/ 119380 h 172085"/>
                <a:gd name="connsiteX15" fmla="*/ 46990 w 135254"/>
                <a:gd name="connsiteY15" fmla="*/ 133985 h 172085"/>
                <a:gd name="connsiteX16" fmla="*/ 46990 w 135254"/>
                <a:gd name="connsiteY16" fmla="*/ 135890 h 172085"/>
                <a:gd name="connsiteX17" fmla="*/ 62230 w 135254"/>
                <a:gd name="connsiteY17" fmla="*/ 160655 h 172085"/>
                <a:gd name="connsiteX18" fmla="*/ 65405 w 135254"/>
                <a:gd name="connsiteY18" fmla="*/ 163195 h 172085"/>
                <a:gd name="connsiteX19" fmla="*/ 65405 w 135254"/>
                <a:gd name="connsiteY19" fmla="*/ 158750 h 172085"/>
                <a:gd name="connsiteX20" fmla="*/ 69850 w 135254"/>
                <a:gd name="connsiteY20" fmla="*/ 136525 h 172085"/>
                <a:gd name="connsiteX21" fmla="*/ 71755 w 135254"/>
                <a:gd name="connsiteY21" fmla="*/ 153035 h 172085"/>
                <a:gd name="connsiteX22" fmla="*/ 71755 w 135254"/>
                <a:gd name="connsiteY22" fmla="*/ 157480 h 172085"/>
                <a:gd name="connsiteX23" fmla="*/ 69850 w 135254"/>
                <a:gd name="connsiteY23" fmla="*/ 166370 h 172085"/>
                <a:gd name="connsiteX24" fmla="*/ 66675 w 135254"/>
                <a:gd name="connsiteY24" fmla="*/ 172085 h 172085"/>
                <a:gd name="connsiteX25" fmla="*/ 70485 w 135254"/>
                <a:gd name="connsiteY25" fmla="*/ 172085 h 172085"/>
                <a:gd name="connsiteX26" fmla="*/ 91440 w 135254"/>
                <a:gd name="connsiteY26" fmla="*/ 161925 h 172085"/>
                <a:gd name="connsiteX27" fmla="*/ 97155 w 135254"/>
                <a:gd name="connsiteY27" fmla="*/ 144145 h 172085"/>
                <a:gd name="connsiteX28" fmla="*/ 96520 w 135254"/>
                <a:gd name="connsiteY28" fmla="*/ 135890 h 172085"/>
                <a:gd name="connsiteX29" fmla="*/ 102235 w 135254"/>
                <a:gd name="connsiteY29" fmla="*/ 148590 h 172085"/>
                <a:gd name="connsiteX30" fmla="*/ 101600 w 135254"/>
                <a:gd name="connsiteY30" fmla="*/ 153035 h 172085"/>
                <a:gd name="connsiteX31" fmla="*/ 100965 w 135254"/>
                <a:gd name="connsiteY31" fmla="*/ 156845 h 172085"/>
                <a:gd name="connsiteX32" fmla="*/ 104140 w 135254"/>
                <a:gd name="connsiteY32" fmla="*/ 155575 h 172085"/>
                <a:gd name="connsiteX33" fmla="*/ 121285 w 135254"/>
                <a:gd name="connsiteY33" fmla="*/ 135890 h 172085"/>
                <a:gd name="connsiteX34" fmla="*/ 121920 w 135254"/>
                <a:gd name="connsiteY34" fmla="*/ 128905 h 172085"/>
                <a:gd name="connsiteX35" fmla="*/ 117475 w 135254"/>
                <a:gd name="connsiteY35" fmla="*/ 113030 h 172085"/>
                <a:gd name="connsiteX36" fmla="*/ 125730 w 135254"/>
                <a:gd name="connsiteY36" fmla="*/ 123190 h 172085"/>
                <a:gd name="connsiteX37" fmla="*/ 127000 w 135254"/>
                <a:gd name="connsiteY37" fmla="*/ 127635 h 172085"/>
                <a:gd name="connsiteX38" fmla="*/ 129540 w 135254"/>
                <a:gd name="connsiteY38" fmla="*/ 123825 h 172085"/>
                <a:gd name="connsiteX39" fmla="*/ 134620 w 135254"/>
                <a:gd name="connsiteY39" fmla="*/ 105410 h 172085"/>
                <a:gd name="connsiteX40" fmla="*/ 122555 w 135254"/>
                <a:gd name="connsiteY40" fmla="*/ 78105 h 172085"/>
                <a:gd name="connsiteX41" fmla="*/ 131445 w 135254"/>
                <a:gd name="connsiteY41" fmla="*/ 83185 h 172085"/>
                <a:gd name="connsiteX42" fmla="*/ 135255 w 135254"/>
                <a:gd name="connsiteY42" fmla="*/ 89535 h 172085"/>
                <a:gd name="connsiteX43" fmla="*/ 135255 w 135254"/>
                <a:gd name="connsiteY43" fmla="*/ 82550 h 172085"/>
                <a:gd name="connsiteX44" fmla="*/ 116840 w 135254"/>
                <a:gd name="connsiteY44" fmla="*/ 53975 h 172085"/>
                <a:gd name="connsiteX45" fmla="*/ 116840 w 135254"/>
                <a:gd name="connsiteY45" fmla="*/ 53975 h 172085"/>
                <a:gd name="connsiteX46" fmla="*/ 125095 w 135254"/>
                <a:gd name="connsiteY46" fmla="*/ 38100 h 172085"/>
                <a:gd name="connsiteX47" fmla="*/ 125730 w 135254"/>
                <a:gd name="connsiteY47" fmla="*/ 35560 h 172085"/>
                <a:gd name="connsiteX48" fmla="*/ 123190 w 135254"/>
                <a:gd name="connsiteY48" fmla="*/ 35560 h 172085"/>
                <a:gd name="connsiteX49" fmla="*/ 107315 w 135254"/>
                <a:gd name="connsiteY49" fmla="*/ 38735 h 172085"/>
                <a:gd name="connsiteX50" fmla="*/ 107315 w 135254"/>
                <a:gd name="connsiteY50" fmla="*/ 38735 h 172085"/>
                <a:gd name="connsiteX51" fmla="*/ 121920 w 135254"/>
                <a:gd name="connsiteY51" fmla="*/ 3175 h 172085"/>
                <a:gd name="connsiteX52" fmla="*/ 120015 w 135254"/>
                <a:gd name="connsiteY52" fmla="*/ 3175 h 172085"/>
                <a:gd name="connsiteX53" fmla="*/ 111760 w 135254"/>
                <a:gd name="connsiteY53" fmla="*/ 11430 h 172085"/>
                <a:gd name="connsiteX54" fmla="*/ 113030 w 135254"/>
                <a:gd name="connsiteY54" fmla="*/ 15875 h 172085"/>
                <a:gd name="connsiteX55" fmla="*/ 102870 w 135254"/>
                <a:gd name="connsiteY55" fmla="*/ 15875 h 172085"/>
                <a:gd name="connsiteX56" fmla="*/ 102870 w 135254"/>
                <a:gd name="connsiteY56" fmla="*/ 26035 h 172085"/>
                <a:gd name="connsiteX57" fmla="*/ 107950 w 135254"/>
                <a:gd name="connsiteY57" fmla="*/ 27940 h 172085"/>
                <a:gd name="connsiteX58" fmla="*/ 109220 w 135254"/>
                <a:gd name="connsiteY58" fmla="*/ 27940 h 172085"/>
                <a:gd name="connsiteX59" fmla="*/ 96520 w 135254"/>
                <a:gd name="connsiteY59" fmla="*/ 34290 h 172085"/>
                <a:gd name="connsiteX60" fmla="*/ 85725 w 135254"/>
                <a:gd name="connsiteY60" fmla="*/ 24130 h 172085"/>
                <a:gd name="connsiteX61" fmla="*/ 89535 w 135254"/>
                <a:gd name="connsiteY61" fmla="*/ 25400 h 172085"/>
                <a:gd name="connsiteX62" fmla="*/ 96520 w 135254"/>
                <a:gd name="connsiteY62" fmla="*/ 18415 h 172085"/>
                <a:gd name="connsiteX63" fmla="*/ 89535 w 135254"/>
                <a:gd name="connsiteY63" fmla="*/ 11430 h 172085"/>
                <a:gd name="connsiteX64" fmla="*/ 89535 w 135254"/>
                <a:gd name="connsiteY64" fmla="*/ 11430 h 172085"/>
                <a:gd name="connsiteX65" fmla="*/ 86360 w 135254"/>
                <a:gd name="connsiteY65" fmla="*/ 12065 h 172085"/>
                <a:gd name="connsiteX66" fmla="*/ 88265 w 135254"/>
                <a:gd name="connsiteY66" fmla="*/ 6985 h 172085"/>
                <a:gd name="connsiteX67" fmla="*/ 81280 w 135254"/>
                <a:gd name="connsiteY67" fmla="*/ 0 h 172085"/>
                <a:gd name="connsiteX68" fmla="*/ 74295 w 135254"/>
                <a:gd name="connsiteY68" fmla="*/ 6985 h 172085"/>
                <a:gd name="connsiteX69" fmla="*/ 76200 w 135254"/>
                <a:gd name="connsiteY69" fmla="*/ 12065 h 172085"/>
                <a:gd name="connsiteX70" fmla="*/ 73025 w 135254"/>
                <a:gd name="connsiteY70" fmla="*/ 11430 h 172085"/>
                <a:gd name="connsiteX71" fmla="*/ 66040 w 135254"/>
                <a:gd name="connsiteY71" fmla="*/ 18415 h 172085"/>
                <a:gd name="connsiteX72" fmla="*/ 66040 w 135254"/>
                <a:gd name="connsiteY72" fmla="*/ 18415 h 172085"/>
                <a:gd name="connsiteX73" fmla="*/ 73025 w 135254"/>
                <a:gd name="connsiteY73" fmla="*/ 25400 h 172085"/>
                <a:gd name="connsiteX74" fmla="*/ 76835 w 135254"/>
                <a:gd name="connsiteY74" fmla="*/ 24130 h 172085"/>
                <a:gd name="connsiteX75" fmla="*/ 66040 w 135254"/>
                <a:gd name="connsiteY75" fmla="*/ 34290 h 172085"/>
                <a:gd name="connsiteX76" fmla="*/ 53340 w 135254"/>
                <a:gd name="connsiteY76" fmla="*/ 27940 h 172085"/>
                <a:gd name="connsiteX77" fmla="*/ 54610 w 135254"/>
                <a:gd name="connsiteY77" fmla="*/ 27940 h 172085"/>
                <a:gd name="connsiteX78" fmla="*/ 60960 w 135254"/>
                <a:gd name="connsiteY78" fmla="*/ 20320 h 172085"/>
                <a:gd name="connsiteX79" fmla="*/ 54610 w 135254"/>
                <a:gd name="connsiteY79" fmla="*/ 13970 h 172085"/>
                <a:gd name="connsiteX80" fmla="*/ 48895 w 135254"/>
                <a:gd name="connsiteY80" fmla="*/ 15875 h 172085"/>
                <a:gd name="connsiteX81" fmla="*/ 45720 w 135254"/>
                <a:gd name="connsiteY81" fmla="*/ 4445 h 172085"/>
                <a:gd name="connsiteX82" fmla="*/ 41910 w 135254"/>
                <a:gd name="connsiteY82" fmla="*/ 3175 h 172085"/>
                <a:gd name="connsiteX83" fmla="*/ 40005 w 135254"/>
                <a:gd name="connsiteY83" fmla="*/ 3175 h 172085"/>
                <a:gd name="connsiteX84" fmla="*/ 55880 w 135254"/>
                <a:gd name="connsiteY84" fmla="*/ 41275 h 172085"/>
                <a:gd name="connsiteX85" fmla="*/ 104140 w 135254"/>
                <a:gd name="connsiteY85" fmla="*/ 41275 h 172085"/>
                <a:gd name="connsiteX86" fmla="*/ 104775 w 135254"/>
                <a:gd name="connsiteY86" fmla="*/ 40640 h 172085"/>
                <a:gd name="connsiteX87" fmla="*/ 104140 w 135254"/>
                <a:gd name="connsiteY87" fmla="*/ 41275 h 172085"/>
                <a:gd name="connsiteX88" fmla="*/ 97155 w 135254"/>
                <a:gd name="connsiteY88" fmla="*/ 47625 h 172085"/>
                <a:gd name="connsiteX89" fmla="*/ 100330 w 135254"/>
                <a:gd name="connsiteY89" fmla="*/ 50165 h 172085"/>
                <a:gd name="connsiteX90" fmla="*/ 121920 w 135254"/>
                <a:gd name="connsiteY90" fmla="*/ 39370 h 172085"/>
                <a:gd name="connsiteX91" fmla="*/ 102870 w 135254"/>
                <a:gd name="connsiteY91" fmla="*/ 58420 h 172085"/>
                <a:gd name="connsiteX92" fmla="*/ 103505 w 135254"/>
                <a:gd name="connsiteY92" fmla="*/ 62865 h 172085"/>
                <a:gd name="connsiteX93" fmla="*/ 114935 w 135254"/>
                <a:gd name="connsiteY93" fmla="*/ 57150 h 172085"/>
                <a:gd name="connsiteX94" fmla="*/ 114935 w 135254"/>
                <a:gd name="connsiteY94" fmla="*/ 57150 h 172085"/>
                <a:gd name="connsiteX95" fmla="*/ 130175 w 135254"/>
                <a:gd name="connsiteY95" fmla="*/ 76200 h 172085"/>
                <a:gd name="connsiteX96" fmla="*/ 118110 w 135254"/>
                <a:gd name="connsiteY96" fmla="*/ 74295 h 172085"/>
                <a:gd name="connsiteX97" fmla="*/ 114300 w 135254"/>
                <a:gd name="connsiteY97" fmla="*/ 74930 h 172085"/>
                <a:gd name="connsiteX98" fmla="*/ 117475 w 135254"/>
                <a:gd name="connsiteY98" fmla="*/ 77470 h 172085"/>
                <a:gd name="connsiteX99" fmla="*/ 131445 w 135254"/>
                <a:gd name="connsiteY99" fmla="*/ 104775 h 172085"/>
                <a:gd name="connsiteX100" fmla="*/ 128905 w 135254"/>
                <a:gd name="connsiteY100" fmla="*/ 116840 h 172085"/>
                <a:gd name="connsiteX101" fmla="*/ 114935 w 135254"/>
                <a:gd name="connsiteY101" fmla="*/ 107315 h 172085"/>
                <a:gd name="connsiteX102" fmla="*/ 111125 w 135254"/>
                <a:gd name="connsiteY102" fmla="*/ 107315 h 172085"/>
                <a:gd name="connsiteX103" fmla="*/ 113030 w 135254"/>
                <a:gd name="connsiteY103" fmla="*/ 110490 h 172085"/>
                <a:gd name="connsiteX104" fmla="*/ 119380 w 135254"/>
                <a:gd name="connsiteY104" fmla="*/ 128270 h 172085"/>
                <a:gd name="connsiteX105" fmla="*/ 118745 w 135254"/>
                <a:gd name="connsiteY105" fmla="*/ 133985 h 172085"/>
                <a:gd name="connsiteX106" fmla="*/ 107950 w 135254"/>
                <a:gd name="connsiteY106" fmla="*/ 148590 h 172085"/>
                <a:gd name="connsiteX107" fmla="*/ 107950 w 135254"/>
                <a:gd name="connsiteY107" fmla="*/ 148590 h 172085"/>
                <a:gd name="connsiteX108" fmla="*/ 95885 w 135254"/>
                <a:gd name="connsiteY108" fmla="*/ 128905 h 172085"/>
                <a:gd name="connsiteX109" fmla="*/ 92710 w 135254"/>
                <a:gd name="connsiteY109" fmla="*/ 128270 h 172085"/>
                <a:gd name="connsiteX110" fmla="*/ 93345 w 135254"/>
                <a:gd name="connsiteY110" fmla="*/ 132080 h 172085"/>
                <a:gd name="connsiteX111" fmla="*/ 94615 w 135254"/>
                <a:gd name="connsiteY111" fmla="*/ 144780 h 172085"/>
                <a:gd name="connsiteX112" fmla="*/ 90170 w 135254"/>
                <a:gd name="connsiteY112" fmla="*/ 160020 h 172085"/>
                <a:gd name="connsiteX113" fmla="*/ 75565 w 135254"/>
                <a:gd name="connsiteY113" fmla="*/ 168275 h 172085"/>
                <a:gd name="connsiteX114" fmla="*/ 77470 w 135254"/>
                <a:gd name="connsiteY114" fmla="*/ 158750 h 172085"/>
                <a:gd name="connsiteX115" fmla="*/ 77470 w 135254"/>
                <a:gd name="connsiteY115" fmla="*/ 154305 h 172085"/>
                <a:gd name="connsiteX116" fmla="*/ 74295 w 135254"/>
                <a:gd name="connsiteY116" fmla="*/ 132715 h 172085"/>
                <a:gd name="connsiteX117" fmla="*/ 73660 w 135254"/>
                <a:gd name="connsiteY117" fmla="*/ 129540 h 172085"/>
                <a:gd name="connsiteX118" fmla="*/ 66675 w 135254"/>
                <a:gd name="connsiteY118" fmla="*/ 139065 h 172085"/>
                <a:gd name="connsiteX119" fmla="*/ 63500 w 135254"/>
                <a:gd name="connsiteY119" fmla="*/ 155575 h 172085"/>
                <a:gd name="connsiteX120" fmla="*/ 53975 w 135254"/>
                <a:gd name="connsiteY120" fmla="*/ 136525 h 172085"/>
                <a:gd name="connsiteX121" fmla="*/ 53975 w 135254"/>
                <a:gd name="connsiteY121" fmla="*/ 134620 h 172085"/>
                <a:gd name="connsiteX122" fmla="*/ 60960 w 135254"/>
                <a:gd name="connsiteY122" fmla="*/ 116205 h 172085"/>
                <a:gd name="connsiteX123" fmla="*/ 65405 w 135254"/>
                <a:gd name="connsiteY123" fmla="*/ 111125 h 172085"/>
                <a:gd name="connsiteX124" fmla="*/ 58420 w 135254"/>
                <a:gd name="connsiteY124" fmla="*/ 113030 h 172085"/>
                <a:gd name="connsiteX125" fmla="*/ 46990 w 135254"/>
                <a:gd name="connsiteY125" fmla="*/ 120015 h 172085"/>
                <a:gd name="connsiteX126" fmla="*/ 46355 w 135254"/>
                <a:gd name="connsiteY126" fmla="*/ 115570 h 172085"/>
                <a:gd name="connsiteX127" fmla="*/ 58420 w 135254"/>
                <a:gd name="connsiteY127" fmla="*/ 98425 h 172085"/>
                <a:gd name="connsiteX128" fmla="*/ 71755 w 135254"/>
                <a:gd name="connsiteY128" fmla="*/ 92710 h 172085"/>
                <a:gd name="connsiteX129" fmla="*/ 57150 w 135254"/>
                <a:gd name="connsiteY129" fmla="*/ 94615 h 172085"/>
                <a:gd name="connsiteX130" fmla="*/ 41275 w 135254"/>
                <a:gd name="connsiteY130" fmla="*/ 91440 h 172085"/>
                <a:gd name="connsiteX131" fmla="*/ 39370 w 135254"/>
                <a:gd name="connsiteY131" fmla="*/ 88265 h 172085"/>
                <a:gd name="connsiteX132" fmla="*/ 59055 w 135254"/>
                <a:gd name="connsiteY132" fmla="*/ 86360 h 172085"/>
                <a:gd name="connsiteX133" fmla="*/ 69850 w 135254"/>
                <a:gd name="connsiteY133" fmla="*/ 76835 h 172085"/>
                <a:gd name="connsiteX134" fmla="*/ 69850 w 135254"/>
                <a:gd name="connsiteY134" fmla="*/ 76200 h 172085"/>
                <a:gd name="connsiteX135" fmla="*/ 69850 w 135254"/>
                <a:gd name="connsiteY135" fmla="*/ 74930 h 172085"/>
                <a:gd name="connsiteX136" fmla="*/ 59055 w 135254"/>
                <a:gd name="connsiteY136" fmla="*/ 67310 h 172085"/>
                <a:gd name="connsiteX137" fmla="*/ 48895 w 135254"/>
                <a:gd name="connsiteY137" fmla="*/ 60325 h 172085"/>
                <a:gd name="connsiteX138" fmla="*/ 48260 w 135254"/>
                <a:gd name="connsiteY138" fmla="*/ 59690 h 172085"/>
                <a:gd name="connsiteX139" fmla="*/ 28575 w 135254"/>
                <a:gd name="connsiteY139" fmla="*/ 60325 h 172085"/>
                <a:gd name="connsiteX140" fmla="*/ 38735 w 135254"/>
                <a:gd name="connsiteY140" fmla="*/ 45720 h 172085"/>
                <a:gd name="connsiteX141" fmla="*/ 53340 w 135254"/>
                <a:gd name="connsiteY141" fmla="*/ 47625 h 172085"/>
                <a:gd name="connsiteX142" fmla="*/ 62230 w 135254"/>
                <a:gd name="connsiteY142" fmla="*/ 59055 h 172085"/>
                <a:gd name="connsiteX143" fmla="*/ 73660 w 135254"/>
                <a:gd name="connsiteY143" fmla="*/ 52070 h 172085"/>
                <a:gd name="connsiteX144" fmla="*/ 74295 w 135254"/>
                <a:gd name="connsiteY144" fmla="*/ 50800 h 172085"/>
                <a:gd name="connsiteX145" fmla="*/ 76200 w 135254"/>
                <a:gd name="connsiteY145" fmla="*/ 52070 h 172085"/>
                <a:gd name="connsiteX146" fmla="*/ 79375 w 135254"/>
                <a:gd name="connsiteY146" fmla="*/ 49530 h 172085"/>
                <a:gd name="connsiteX147" fmla="*/ 76200 w 135254"/>
                <a:gd name="connsiteY147" fmla="*/ 46990 h 172085"/>
                <a:gd name="connsiteX148" fmla="*/ 65405 w 135254"/>
                <a:gd name="connsiteY148" fmla="*/ 45720 h 172085"/>
                <a:gd name="connsiteX149" fmla="*/ 65405 w 135254"/>
                <a:gd name="connsiteY149" fmla="*/ 45720 h 172085"/>
                <a:gd name="connsiteX150" fmla="*/ 58420 w 135254"/>
                <a:gd name="connsiteY150" fmla="*/ 45720 h 172085"/>
                <a:gd name="connsiteX151" fmla="*/ 61595 w 135254"/>
                <a:gd name="connsiteY151" fmla="*/ 41910 h 172085"/>
                <a:gd name="connsiteX152" fmla="*/ 64135 w 135254"/>
                <a:gd name="connsiteY152" fmla="*/ 40005 h 172085"/>
                <a:gd name="connsiteX153" fmla="*/ 57785 w 135254"/>
                <a:gd name="connsiteY153" fmla="*/ 40005 h 172085"/>
                <a:gd name="connsiteX154" fmla="*/ 55245 w 135254"/>
                <a:gd name="connsiteY154" fmla="*/ 43815 h 172085"/>
                <a:gd name="connsiteX155" fmla="*/ 38735 w 135254"/>
                <a:gd name="connsiteY155" fmla="*/ 42545 h 172085"/>
                <a:gd name="connsiteX156" fmla="*/ 24765 w 135254"/>
                <a:gd name="connsiteY156" fmla="*/ 64770 h 172085"/>
                <a:gd name="connsiteX157" fmla="*/ 23495 w 135254"/>
                <a:gd name="connsiteY157" fmla="*/ 70485 h 172085"/>
                <a:gd name="connsiteX158" fmla="*/ 27940 w 135254"/>
                <a:gd name="connsiteY158" fmla="*/ 67310 h 172085"/>
                <a:gd name="connsiteX159" fmla="*/ 46990 w 135254"/>
                <a:gd name="connsiteY159" fmla="*/ 63500 h 172085"/>
                <a:gd name="connsiteX160" fmla="*/ 59055 w 135254"/>
                <a:gd name="connsiteY160" fmla="*/ 71755 h 172085"/>
                <a:gd name="connsiteX161" fmla="*/ 66675 w 135254"/>
                <a:gd name="connsiteY161" fmla="*/ 76200 h 172085"/>
                <a:gd name="connsiteX162" fmla="*/ 62865 w 135254"/>
                <a:gd name="connsiteY162" fmla="*/ 80010 h 172085"/>
                <a:gd name="connsiteX163" fmla="*/ 60960 w 135254"/>
                <a:gd name="connsiteY163" fmla="*/ 77470 h 172085"/>
                <a:gd name="connsiteX164" fmla="*/ 40005 w 135254"/>
                <a:gd name="connsiteY164" fmla="*/ 69850 h 172085"/>
                <a:gd name="connsiteX165" fmla="*/ 40005 w 135254"/>
                <a:gd name="connsiteY165" fmla="*/ 69850 h 172085"/>
                <a:gd name="connsiteX166" fmla="*/ 6350 w 135254"/>
                <a:gd name="connsiteY166" fmla="*/ 65405 h 172085"/>
                <a:gd name="connsiteX167" fmla="*/ 0 w 135254"/>
                <a:gd name="connsiteY167" fmla="*/ 60325 h 172085"/>
                <a:gd name="connsiteX168" fmla="*/ 3175 w 135254"/>
                <a:gd name="connsiteY168" fmla="*/ 67310 h 172085"/>
                <a:gd name="connsiteX169" fmla="*/ 6350 w 135254"/>
                <a:gd name="connsiteY169" fmla="*/ 78740 h 172085"/>
                <a:gd name="connsiteX170" fmla="*/ 104775 w 135254"/>
                <a:gd name="connsiteY170" fmla="*/ 40005 h 172085"/>
                <a:gd name="connsiteX171" fmla="*/ 104775 w 135254"/>
                <a:gd name="connsiteY171" fmla="*/ 40005 h 172085"/>
                <a:gd name="connsiteX172" fmla="*/ 104775 w 135254"/>
                <a:gd name="connsiteY172" fmla="*/ 40005 h 172085"/>
                <a:gd name="connsiteX173" fmla="*/ 104775 w 135254"/>
                <a:gd name="connsiteY173" fmla="*/ 40005 h 172085"/>
                <a:gd name="connsiteX174" fmla="*/ 57785 w 135254"/>
                <a:gd name="connsiteY174" fmla="*/ 51435 h 172085"/>
                <a:gd name="connsiteX175" fmla="*/ 62230 w 135254"/>
                <a:gd name="connsiteY175" fmla="*/ 54610 h 172085"/>
                <a:gd name="connsiteX176" fmla="*/ 65405 w 135254"/>
                <a:gd name="connsiteY176" fmla="*/ 50800 h 172085"/>
                <a:gd name="connsiteX177" fmla="*/ 67945 w 135254"/>
                <a:gd name="connsiteY177" fmla="*/ 50800 h 172085"/>
                <a:gd name="connsiteX178" fmla="*/ 67310 w 135254"/>
                <a:gd name="connsiteY178" fmla="*/ 52070 h 172085"/>
                <a:gd name="connsiteX179" fmla="*/ 60960 w 135254"/>
                <a:gd name="connsiteY179" fmla="*/ 56515 h 172085"/>
                <a:gd name="connsiteX180" fmla="*/ 55880 w 135254"/>
                <a:gd name="connsiteY180" fmla="*/ 50800 h 172085"/>
                <a:gd name="connsiteX181" fmla="*/ 57785 w 135254"/>
                <a:gd name="connsiteY181" fmla="*/ 51435 h 172085"/>
                <a:gd name="connsiteX182" fmla="*/ 57785 w 135254"/>
                <a:gd name="connsiteY182" fmla="*/ 51435 h 172085"/>
                <a:gd name="connsiteX183" fmla="*/ 36830 w 135254"/>
                <a:gd name="connsiteY183" fmla="*/ 74295 h 172085"/>
                <a:gd name="connsiteX184" fmla="*/ 45720 w 135254"/>
                <a:gd name="connsiteY184" fmla="*/ 74930 h 172085"/>
                <a:gd name="connsiteX185" fmla="*/ 31750 w 135254"/>
                <a:gd name="connsiteY185" fmla="*/ 77470 h 172085"/>
                <a:gd name="connsiteX186" fmla="*/ 8890 w 135254"/>
                <a:gd name="connsiteY186" fmla="*/ 75565 h 172085"/>
                <a:gd name="connsiteX187" fmla="*/ 6350 w 135254"/>
                <a:gd name="connsiteY187" fmla="*/ 72390 h 172085"/>
                <a:gd name="connsiteX188" fmla="*/ 36830 w 135254"/>
                <a:gd name="connsiteY188" fmla="*/ 74295 h 172085"/>
                <a:gd name="connsiteX189" fmla="*/ 36830 w 135254"/>
                <a:gd name="connsiteY189" fmla="*/ 74295 h 17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135254" h="172085">
                  <a:moveTo>
                    <a:pt x="6350" y="78740"/>
                  </a:moveTo>
                  <a:cubicBezTo>
                    <a:pt x="15240" y="86360"/>
                    <a:pt x="24130" y="83820"/>
                    <a:pt x="33020" y="81280"/>
                  </a:cubicBezTo>
                  <a:cubicBezTo>
                    <a:pt x="40005" y="79375"/>
                    <a:pt x="46990" y="76835"/>
                    <a:pt x="53975" y="80645"/>
                  </a:cubicBezTo>
                  <a:lnTo>
                    <a:pt x="55880" y="81915"/>
                  </a:lnTo>
                  <a:lnTo>
                    <a:pt x="53340" y="83820"/>
                  </a:lnTo>
                  <a:cubicBezTo>
                    <a:pt x="48260" y="86995"/>
                    <a:pt x="41275" y="87630"/>
                    <a:pt x="36195" y="85090"/>
                  </a:cubicBezTo>
                  <a:cubicBezTo>
                    <a:pt x="32385" y="83820"/>
                    <a:pt x="31115" y="83185"/>
                    <a:pt x="31115" y="83185"/>
                  </a:cubicBezTo>
                  <a:lnTo>
                    <a:pt x="31115" y="85725"/>
                  </a:lnTo>
                  <a:cubicBezTo>
                    <a:pt x="31115" y="88900"/>
                    <a:pt x="32385" y="92075"/>
                    <a:pt x="34925" y="94615"/>
                  </a:cubicBezTo>
                  <a:cubicBezTo>
                    <a:pt x="38100" y="97790"/>
                    <a:pt x="42545" y="99060"/>
                    <a:pt x="46990" y="99060"/>
                  </a:cubicBezTo>
                  <a:cubicBezTo>
                    <a:pt x="41910" y="102870"/>
                    <a:pt x="38735" y="109220"/>
                    <a:pt x="38735" y="115570"/>
                  </a:cubicBezTo>
                  <a:cubicBezTo>
                    <a:pt x="38735" y="118745"/>
                    <a:pt x="39370" y="121920"/>
                    <a:pt x="40640" y="124460"/>
                  </a:cubicBezTo>
                  <a:lnTo>
                    <a:pt x="41910" y="127635"/>
                  </a:lnTo>
                  <a:lnTo>
                    <a:pt x="44450" y="125095"/>
                  </a:lnTo>
                  <a:cubicBezTo>
                    <a:pt x="46355" y="123190"/>
                    <a:pt x="48260" y="121285"/>
                    <a:pt x="50800" y="119380"/>
                  </a:cubicBezTo>
                  <a:cubicBezTo>
                    <a:pt x="48260" y="123825"/>
                    <a:pt x="46990" y="128905"/>
                    <a:pt x="46990" y="133985"/>
                  </a:cubicBezTo>
                  <a:cubicBezTo>
                    <a:pt x="46990" y="134620"/>
                    <a:pt x="46990" y="135255"/>
                    <a:pt x="46990" y="135890"/>
                  </a:cubicBezTo>
                  <a:cubicBezTo>
                    <a:pt x="48260" y="146050"/>
                    <a:pt x="53975" y="154940"/>
                    <a:pt x="62230" y="160655"/>
                  </a:cubicBezTo>
                  <a:lnTo>
                    <a:pt x="65405" y="163195"/>
                  </a:lnTo>
                  <a:lnTo>
                    <a:pt x="65405" y="158750"/>
                  </a:lnTo>
                  <a:cubicBezTo>
                    <a:pt x="65405" y="151130"/>
                    <a:pt x="66675" y="143510"/>
                    <a:pt x="69850" y="136525"/>
                  </a:cubicBezTo>
                  <a:cubicBezTo>
                    <a:pt x="71120" y="141605"/>
                    <a:pt x="71755" y="147320"/>
                    <a:pt x="71755" y="153035"/>
                  </a:cubicBezTo>
                  <a:cubicBezTo>
                    <a:pt x="71755" y="154305"/>
                    <a:pt x="71755" y="155575"/>
                    <a:pt x="71755" y="157480"/>
                  </a:cubicBezTo>
                  <a:cubicBezTo>
                    <a:pt x="71120" y="160655"/>
                    <a:pt x="71120" y="163195"/>
                    <a:pt x="69850" y="166370"/>
                  </a:cubicBezTo>
                  <a:cubicBezTo>
                    <a:pt x="69215" y="168275"/>
                    <a:pt x="67945" y="170180"/>
                    <a:pt x="66675" y="172085"/>
                  </a:cubicBezTo>
                  <a:lnTo>
                    <a:pt x="70485" y="172085"/>
                  </a:lnTo>
                  <a:cubicBezTo>
                    <a:pt x="78740" y="171450"/>
                    <a:pt x="86360" y="168275"/>
                    <a:pt x="91440" y="161925"/>
                  </a:cubicBezTo>
                  <a:cubicBezTo>
                    <a:pt x="95250" y="156845"/>
                    <a:pt x="97155" y="150495"/>
                    <a:pt x="97155" y="144145"/>
                  </a:cubicBezTo>
                  <a:cubicBezTo>
                    <a:pt x="97155" y="141605"/>
                    <a:pt x="97155" y="138430"/>
                    <a:pt x="96520" y="135890"/>
                  </a:cubicBezTo>
                  <a:cubicBezTo>
                    <a:pt x="100330" y="139065"/>
                    <a:pt x="102235" y="144145"/>
                    <a:pt x="102235" y="148590"/>
                  </a:cubicBezTo>
                  <a:cubicBezTo>
                    <a:pt x="102235" y="149860"/>
                    <a:pt x="102235" y="151765"/>
                    <a:pt x="101600" y="153035"/>
                  </a:cubicBezTo>
                  <a:lnTo>
                    <a:pt x="100965" y="156845"/>
                  </a:lnTo>
                  <a:cubicBezTo>
                    <a:pt x="100965" y="156845"/>
                    <a:pt x="102870" y="156210"/>
                    <a:pt x="104140" y="155575"/>
                  </a:cubicBezTo>
                  <a:cubicBezTo>
                    <a:pt x="112395" y="151765"/>
                    <a:pt x="118110" y="144145"/>
                    <a:pt x="121285" y="135890"/>
                  </a:cubicBezTo>
                  <a:cubicBezTo>
                    <a:pt x="121920" y="133350"/>
                    <a:pt x="121920" y="131445"/>
                    <a:pt x="121920" y="128905"/>
                  </a:cubicBezTo>
                  <a:cubicBezTo>
                    <a:pt x="121920" y="123190"/>
                    <a:pt x="120015" y="118110"/>
                    <a:pt x="117475" y="113030"/>
                  </a:cubicBezTo>
                  <a:cubicBezTo>
                    <a:pt x="121285" y="114935"/>
                    <a:pt x="124460" y="118745"/>
                    <a:pt x="125730" y="123190"/>
                  </a:cubicBezTo>
                  <a:cubicBezTo>
                    <a:pt x="126365" y="124460"/>
                    <a:pt x="126365" y="126365"/>
                    <a:pt x="127000" y="127635"/>
                  </a:cubicBezTo>
                  <a:cubicBezTo>
                    <a:pt x="127000" y="127635"/>
                    <a:pt x="128905" y="125095"/>
                    <a:pt x="129540" y="123825"/>
                  </a:cubicBezTo>
                  <a:cubicBezTo>
                    <a:pt x="132715" y="118110"/>
                    <a:pt x="134620" y="111760"/>
                    <a:pt x="134620" y="105410"/>
                  </a:cubicBezTo>
                  <a:cubicBezTo>
                    <a:pt x="134620" y="95250"/>
                    <a:pt x="130175" y="85090"/>
                    <a:pt x="122555" y="78105"/>
                  </a:cubicBezTo>
                  <a:cubicBezTo>
                    <a:pt x="125730" y="78740"/>
                    <a:pt x="128905" y="80010"/>
                    <a:pt x="131445" y="83185"/>
                  </a:cubicBezTo>
                  <a:cubicBezTo>
                    <a:pt x="132715" y="85090"/>
                    <a:pt x="133985" y="86995"/>
                    <a:pt x="135255" y="89535"/>
                  </a:cubicBezTo>
                  <a:cubicBezTo>
                    <a:pt x="135255" y="86995"/>
                    <a:pt x="135255" y="85090"/>
                    <a:pt x="135255" y="82550"/>
                  </a:cubicBezTo>
                  <a:cubicBezTo>
                    <a:pt x="133985" y="70485"/>
                    <a:pt x="127635" y="60325"/>
                    <a:pt x="116840" y="53975"/>
                  </a:cubicBezTo>
                  <a:lnTo>
                    <a:pt x="116840" y="53975"/>
                  </a:lnTo>
                  <a:cubicBezTo>
                    <a:pt x="120650" y="49530"/>
                    <a:pt x="123190" y="43815"/>
                    <a:pt x="125095" y="38100"/>
                  </a:cubicBezTo>
                  <a:lnTo>
                    <a:pt x="125730" y="35560"/>
                  </a:lnTo>
                  <a:lnTo>
                    <a:pt x="123190" y="35560"/>
                  </a:lnTo>
                  <a:cubicBezTo>
                    <a:pt x="117475" y="34925"/>
                    <a:pt x="112395" y="36195"/>
                    <a:pt x="107315" y="38735"/>
                  </a:cubicBezTo>
                  <a:lnTo>
                    <a:pt x="107315" y="38735"/>
                  </a:lnTo>
                  <a:lnTo>
                    <a:pt x="121920" y="3175"/>
                  </a:lnTo>
                  <a:cubicBezTo>
                    <a:pt x="121285" y="3175"/>
                    <a:pt x="120650" y="3175"/>
                    <a:pt x="120015" y="3175"/>
                  </a:cubicBezTo>
                  <a:cubicBezTo>
                    <a:pt x="115570" y="3175"/>
                    <a:pt x="111760" y="6985"/>
                    <a:pt x="111760" y="11430"/>
                  </a:cubicBezTo>
                  <a:cubicBezTo>
                    <a:pt x="111760" y="12700"/>
                    <a:pt x="112395" y="14605"/>
                    <a:pt x="113030" y="15875"/>
                  </a:cubicBezTo>
                  <a:cubicBezTo>
                    <a:pt x="110490" y="13335"/>
                    <a:pt x="105410" y="13335"/>
                    <a:pt x="102870" y="15875"/>
                  </a:cubicBezTo>
                  <a:cubicBezTo>
                    <a:pt x="100330" y="18415"/>
                    <a:pt x="100330" y="23495"/>
                    <a:pt x="102870" y="26035"/>
                  </a:cubicBezTo>
                  <a:cubicBezTo>
                    <a:pt x="104140" y="27305"/>
                    <a:pt x="106045" y="27940"/>
                    <a:pt x="107950" y="27940"/>
                  </a:cubicBezTo>
                  <a:cubicBezTo>
                    <a:pt x="108585" y="27940"/>
                    <a:pt x="108585" y="27940"/>
                    <a:pt x="109220" y="27940"/>
                  </a:cubicBezTo>
                  <a:cubicBezTo>
                    <a:pt x="106680" y="33020"/>
                    <a:pt x="101600" y="35560"/>
                    <a:pt x="96520" y="34290"/>
                  </a:cubicBezTo>
                  <a:cubicBezTo>
                    <a:pt x="91440" y="33020"/>
                    <a:pt x="87630" y="29210"/>
                    <a:pt x="85725" y="24130"/>
                  </a:cubicBezTo>
                  <a:cubicBezTo>
                    <a:pt x="86995" y="24765"/>
                    <a:pt x="88265" y="25400"/>
                    <a:pt x="89535" y="25400"/>
                  </a:cubicBezTo>
                  <a:cubicBezTo>
                    <a:pt x="93345" y="25400"/>
                    <a:pt x="96520" y="22225"/>
                    <a:pt x="96520" y="18415"/>
                  </a:cubicBezTo>
                  <a:cubicBezTo>
                    <a:pt x="96520" y="14605"/>
                    <a:pt x="93345" y="11430"/>
                    <a:pt x="89535" y="11430"/>
                  </a:cubicBezTo>
                  <a:cubicBezTo>
                    <a:pt x="89535" y="11430"/>
                    <a:pt x="89535" y="11430"/>
                    <a:pt x="89535" y="11430"/>
                  </a:cubicBezTo>
                  <a:cubicBezTo>
                    <a:pt x="88265" y="11430"/>
                    <a:pt x="87630" y="11430"/>
                    <a:pt x="86360" y="12065"/>
                  </a:cubicBezTo>
                  <a:cubicBezTo>
                    <a:pt x="87630" y="10795"/>
                    <a:pt x="88265" y="8890"/>
                    <a:pt x="88265" y="6985"/>
                  </a:cubicBezTo>
                  <a:cubicBezTo>
                    <a:pt x="88265" y="3175"/>
                    <a:pt x="85090" y="0"/>
                    <a:pt x="81280" y="0"/>
                  </a:cubicBezTo>
                  <a:cubicBezTo>
                    <a:pt x="77470" y="0"/>
                    <a:pt x="74295" y="3175"/>
                    <a:pt x="74295" y="6985"/>
                  </a:cubicBezTo>
                  <a:cubicBezTo>
                    <a:pt x="74295" y="8890"/>
                    <a:pt x="74930" y="10795"/>
                    <a:pt x="76200" y="12065"/>
                  </a:cubicBezTo>
                  <a:cubicBezTo>
                    <a:pt x="74930" y="11430"/>
                    <a:pt x="74295" y="11430"/>
                    <a:pt x="73025" y="11430"/>
                  </a:cubicBezTo>
                  <a:cubicBezTo>
                    <a:pt x="69215" y="11430"/>
                    <a:pt x="66040" y="14605"/>
                    <a:pt x="66040" y="18415"/>
                  </a:cubicBezTo>
                  <a:cubicBezTo>
                    <a:pt x="66040" y="18415"/>
                    <a:pt x="66040" y="18415"/>
                    <a:pt x="66040" y="18415"/>
                  </a:cubicBezTo>
                  <a:cubicBezTo>
                    <a:pt x="66040" y="22225"/>
                    <a:pt x="69215" y="25400"/>
                    <a:pt x="73025" y="25400"/>
                  </a:cubicBezTo>
                  <a:cubicBezTo>
                    <a:pt x="74295" y="25400"/>
                    <a:pt x="75565" y="24765"/>
                    <a:pt x="76835" y="24130"/>
                  </a:cubicBezTo>
                  <a:cubicBezTo>
                    <a:pt x="74930" y="28575"/>
                    <a:pt x="71120" y="32385"/>
                    <a:pt x="66040" y="34290"/>
                  </a:cubicBezTo>
                  <a:cubicBezTo>
                    <a:pt x="60960" y="35560"/>
                    <a:pt x="55245" y="32385"/>
                    <a:pt x="53340" y="27940"/>
                  </a:cubicBezTo>
                  <a:cubicBezTo>
                    <a:pt x="53975" y="27940"/>
                    <a:pt x="53975" y="27940"/>
                    <a:pt x="54610" y="27940"/>
                  </a:cubicBezTo>
                  <a:cubicBezTo>
                    <a:pt x="58420" y="27305"/>
                    <a:pt x="61595" y="24130"/>
                    <a:pt x="60960" y="20320"/>
                  </a:cubicBezTo>
                  <a:cubicBezTo>
                    <a:pt x="60960" y="16510"/>
                    <a:pt x="57785" y="13970"/>
                    <a:pt x="54610" y="13970"/>
                  </a:cubicBezTo>
                  <a:cubicBezTo>
                    <a:pt x="52705" y="13970"/>
                    <a:pt x="50800" y="14605"/>
                    <a:pt x="48895" y="15875"/>
                  </a:cubicBezTo>
                  <a:cubicBezTo>
                    <a:pt x="51435" y="12065"/>
                    <a:pt x="49530" y="6985"/>
                    <a:pt x="45720" y="4445"/>
                  </a:cubicBezTo>
                  <a:cubicBezTo>
                    <a:pt x="44450" y="3810"/>
                    <a:pt x="43180" y="3175"/>
                    <a:pt x="41910" y="3175"/>
                  </a:cubicBezTo>
                  <a:cubicBezTo>
                    <a:pt x="41275" y="3175"/>
                    <a:pt x="40640" y="3175"/>
                    <a:pt x="40005" y="3175"/>
                  </a:cubicBezTo>
                  <a:lnTo>
                    <a:pt x="55880" y="41275"/>
                  </a:lnTo>
                  <a:lnTo>
                    <a:pt x="104140" y="41275"/>
                  </a:lnTo>
                  <a:lnTo>
                    <a:pt x="104775" y="40640"/>
                  </a:lnTo>
                  <a:cubicBezTo>
                    <a:pt x="104775" y="40640"/>
                    <a:pt x="104140" y="40640"/>
                    <a:pt x="104140" y="41275"/>
                  </a:cubicBezTo>
                  <a:cubicBezTo>
                    <a:pt x="101600" y="43180"/>
                    <a:pt x="99060" y="45085"/>
                    <a:pt x="97155" y="47625"/>
                  </a:cubicBezTo>
                  <a:lnTo>
                    <a:pt x="100330" y="50165"/>
                  </a:lnTo>
                  <a:cubicBezTo>
                    <a:pt x="105410" y="43815"/>
                    <a:pt x="113665" y="40005"/>
                    <a:pt x="121920" y="39370"/>
                  </a:cubicBezTo>
                  <a:cubicBezTo>
                    <a:pt x="119380" y="48260"/>
                    <a:pt x="112395" y="55880"/>
                    <a:pt x="102870" y="58420"/>
                  </a:cubicBezTo>
                  <a:lnTo>
                    <a:pt x="103505" y="62865"/>
                  </a:lnTo>
                  <a:cubicBezTo>
                    <a:pt x="107950" y="62230"/>
                    <a:pt x="111760" y="60325"/>
                    <a:pt x="114935" y="57150"/>
                  </a:cubicBezTo>
                  <a:lnTo>
                    <a:pt x="114935" y="57150"/>
                  </a:lnTo>
                  <a:cubicBezTo>
                    <a:pt x="122555" y="60960"/>
                    <a:pt x="128270" y="67945"/>
                    <a:pt x="130175" y="76200"/>
                  </a:cubicBezTo>
                  <a:cubicBezTo>
                    <a:pt x="126365" y="74295"/>
                    <a:pt x="121920" y="73660"/>
                    <a:pt x="118110" y="74295"/>
                  </a:cubicBezTo>
                  <a:cubicBezTo>
                    <a:pt x="116840" y="74295"/>
                    <a:pt x="114300" y="74930"/>
                    <a:pt x="114300" y="74930"/>
                  </a:cubicBezTo>
                  <a:lnTo>
                    <a:pt x="117475" y="77470"/>
                  </a:lnTo>
                  <a:cubicBezTo>
                    <a:pt x="125730" y="83820"/>
                    <a:pt x="130810" y="93980"/>
                    <a:pt x="131445" y="104775"/>
                  </a:cubicBezTo>
                  <a:cubicBezTo>
                    <a:pt x="131445" y="108585"/>
                    <a:pt x="130810" y="113030"/>
                    <a:pt x="128905" y="116840"/>
                  </a:cubicBezTo>
                  <a:cubicBezTo>
                    <a:pt x="126365" y="111125"/>
                    <a:pt x="120650" y="107315"/>
                    <a:pt x="114935" y="107315"/>
                  </a:cubicBezTo>
                  <a:cubicBezTo>
                    <a:pt x="113665" y="107315"/>
                    <a:pt x="112395" y="107315"/>
                    <a:pt x="111125" y="107315"/>
                  </a:cubicBezTo>
                  <a:lnTo>
                    <a:pt x="113030" y="110490"/>
                  </a:lnTo>
                  <a:cubicBezTo>
                    <a:pt x="116840" y="115570"/>
                    <a:pt x="118745" y="121920"/>
                    <a:pt x="119380" y="128270"/>
                  </a:cubicBezTo>
                  <a:cubicBezTo>
                    <a:pt x="119380" y="130175"/>
                    <a:pt x="119380" y="132080"/>
                    <a:pt x="118745" y="133985"/>
                  </a:cubicBezTo>
                  <a:cubicBezTo>
                    <a:pt x="116840" y="139700"/>
                    <a:pt x="113030" y="145415"/>
                    <a:pt x="107950" y="148590"/>
                  </a:cubicBezTo>
                  <a:lnTo>
                    <a:pt x="107950" y="148590"/>
                  </a:lnTo>
                  <a:cubicBezTo>
                    <a:pt x="108585" y="140335"/>
                    <a:pt x="103505" y="132080"/>
                    <a:pt x="95885" y="128905"/>
                  </a:cubicBezTo>
                  <a:lnTo>
                    <a:pt x="92710" y="128270"/>
                  </a:lnTo>
                  <a:lnTo>
                    <a:pt x="93345" y="132080"/>
                  </a:lnTo>
                  <a:cubicBezTo>
                    <a:pt x="94615" y="135890"/>
                    <a:pt x="94615" y="140335"/>
                    <a:pt x="94615" y="144780"/>
                  </a:cubicBezTo>
                  <a:cubicBezTo>
                    <a:pt x="94615" y="150495"/>
                    <a:pt x="93345" y="155575"/>
                    <a:pt x="90170" y="160020"/>
                  </a:cubicBezTo>
                  <a:cubicBezTo>
                    <a:pt x="86360" y="164465"/>
                    <a:pt x="81280" y="167640"/>
                    <a:pt x="75565" y="168275"/>
                  </a:cubicBezTo>
                  <a:cubicBezTo>
                    <a:pt x="76200" y="165100"/>
                    <a:pt x="76835" y="161925"/>
                    <a:pt x="77470" y="158750"/>
                  </a:cubicBezTo>
                  <a:cubicBezTo>
                    <a:pt x="77470" y="156845"/>
                    <a:pt x="77470" y="154940"/>
                    <a:pt x="77470" y="154305"/>
                  </a:cubicBezTo>
                  <a:cubicBezTo>
                    <a:pt x="77470" y="146685"/>
                    <a:pt x="76200" y="139700"/>
                    <a:pt x="74295" y="132715"/>
                  </a:cubicBezTo>
                  <a:lnTo>
                    <a:pt x="73660" y="129540"/>
                  </a:lnTo>
                  <a:cubicBezTo>
                    <a:pt x="70485" y="132080"/>
                    <a:pt x="67945" y="135255"/>
                    <a:pt x="66675" y="139065"/>
                  </a:cubicBezTo>
                  <a:cubicBezTo>
                    <a:pt x="64770" y="144145"/>
                    <a:pt x="63500" y="149860"/>
                    <a:pt x="63500" y="155575"/>
                  </a:cubicBezTo>
                  <a:cubicBezTo>
                    <a:pt x="57785" y="150495"/>
                    <a:pt x="54610" y="143510"/>
                    <a:pt x="53975" y="136525"/>
                  </a:cubicBezTo>
                  <a:cubicBezTo>
                    <a:pt x="53975" y="135890"/>
                    <a:pt x="53975" y="135255"/>
                    <a:pt x="53975" y="134620"/>
                  </a:cubicBezTo>
                  <a:cubicBezTo>
                    <a:pt x="53975" y="127635"/>
                    <a:pt x="56515" y="121285"/>
                    <a:pt x="60960" y="116205"/>
                  </a:cubicBezTo>
                  <a:lnTo>
                    <a:pt x="65405" y="111125"/>
                  </a:lnTo>
                  <a:cubicBezTo>
                    <a:pt x="62865" y="111760"/>
                    <a:pt x="60960" y="112395"/>
                    <a:pt x="58420" y="113030"/>
                  </a:cubicBezTo>
                  <a:cubicBezTo>
                    <a:pt x="53975" y="114300"/>
                    <a:pt x="50165" y="116840"/>
                    <a:pt x="46990" y="120015"/>
                  </a:cubicBezTo>
                  <a:cubicBezTo>
                    <a:pt x="46990" y="118745"/>
                    <a:pt x="46355" y="117475"/>
                    <a:pt x="46355" y="115570"/>
                  </a:cubicBezTo>
                  <a:cubicBezTo>
                    <a:pt x="46990" y="107950"/>
                    <a:pt x="51435" y="101600"/>
                    <a:pt x="58420" y="98425"/>
                  </a:cubicBezTo>
                  <a:lnTo>
                    <a:pt x="71755" y="92710"/>
                  </a:lnTo>
                  <a:lnTo>
                    <a:pt x="57150" y="94615"/>
                  </a:lnTo>
                  <a:cubicBezTo>
                    <a:pt x="54610" y="94615"/>
                    <a:pt x="45720" y="95885"/>
                    <a:pt x="41275" y="91440"/>
                  </a:cubicBezTo>
                  <a:cubicBezTo>
                    <a:pt x="40640" y="90805"/>
                    <a:pt x="40005" y="89535"/>
                    <a:pt x="39370" y="88265"/>
                  </a:cubicBezTo>
                  <a:cubicBezTo>
                    <a:pt x="45720" y="91440"/>
                    <a:pt x="53340" y="90805"/>
                    <a:pt x="59055" y="86360"/>
                  </a:cubicBezTo>
                  <a:cubicBezTo>
                    <a:pt x="67945" y="80645"/>
                    <a:pt x="69215" y="77470"/>
                    <a:pt x="69850" y="76835"/>
                  </a:cubicBezTo>
                  <a:lnTo>
                    <a:pt x="69850" y="76200"/>
                  </a:lnTo>
                  <a:lnTo>
                    <a:pt x="69850" y="74930"/>
                  </a:lnTo>
                  <a:cubicBezTo>
                    <a:pt x="69215" y="71755"/>
                    <a:pt x="67945" y="69215"/>
                    <a:pt x="59055" y="67310"/>
                  </a:cubicBezTo>
                  <a:cubicBezTo>
                    <a:pt x="55245" y="66040"/>
                    <a:pt x="51435" y="64135"/>
                    <a:pt x="48895" y="60325"/>
                  </a:cubicBezTo>
                  <a:lnTo>
                    <a:pt x="48260" y="59690"/>
                  </a:lnTo>
                  <a:cubicBezTo>
                    <a:pt x="41910" y="54610"/>
                    <a:pt x="33655" y="57785"/>
                    <a:pt x="28575" y="60325"/>
                  </a:cubicBezTo>
                  <a:cubicBezTo>
                    <a:pt x="29845" y="53975"/>
                    <a:pt x="33655" y="48895"/>
                    <a:pt x="38735" y="45720"/>
                  </a:cubicBezTo>
                  <a:cubicBezTo>
                    <a:pt x="43815" y="44450"/>
                    <a:pt x="48895" y="45085"/>
                    <a:pt x="53340" y="47625"/>
                  </a:cubicBezTo>
                  <a:cubicBezTo>
                    <a:pt x="53340" y="53340"/>
                    <a:pt x="56515" y="57785"/>
                    <a:pt x="62230" y="59055"/>
                  </a:cubicBezTo>
                  <a:cubicBezTo>
                    <a:pt x="67310" y="59690"/>
                    <a:pt x="72390" y="56515"/>
                    <a:pt x="73660" y="52070"/>
                  </a:cubicBezTo>
                  <a:cubicBezTo>
                    <a:pt x="74295" y="51435"/>
                    <a:pt x="74295" y="50800"/>
                    <a:pt x="74295" y="50800"/>
                  </a:cubicBezTo>
                  <a:cubicBezTo>
                    <a:pt x="74930" y="50800"/>
                    <a:pt x="75565" y="51435"/>
                    <a:pt x="76200" y="52070"/>
                  </a:cubicBezTo>
                  <a:lnTo>
                    <a:pt x="79375" y="49530"/>
                  </a:lnTo>
                  <a:cubicBezTo>
                    <a:pt x="78105" y="48260"/>
                    <a:pt x="77470" y="47625"/>
                    <a:pt x="76200" y="46990"/>
                  </a:cubicBezTo>
                  <a:cubicBezTo>
                    <a:pt x="73025" y="45085"/>
                    <a:pt x="69215" y="44450"/>
                    <a:pt x="65405" y="45720"/>
                  </a:cubicBezTo>
                  <a:lnTo>
                    <a:pt x="65405" y="45720"/>
                  </a:lnTo>
                  <a:cubicBezTo>
                    <a:pt x="62865" y="46355"/>
                    <a:pt x="60325" y="46355"/>
                    <a:pt x="58420" y="45720"/>
                  </a:cubicBezTo>
                  <a:cubicBezTo>
                    <a:pt x="59055" y="44450"/>
                    <a:pt x="60325" y="43180"/>
                    <a:pt x="61595" y="41910"/>
                  </a:cubicBezTo>
                  <a:cubicBezTo>
                    <a:pt x="62230" y="41275"/>
                    <a:pt x="63500" y="40640"/>
                    <a:pt x="64135" y="40005"/>
                  </a:cubicBezTo>
                  <a:lnTo>
                    <a:pt x="57785" y="40005"/>
                  </a:lnTo>
                  <a:cubicBezTo>
                    <a:pt x="56515" y="41275"/>
                    <a:pt x="55880" y="42545"/>
                    <a:pt x="55245" y="43815"/>
                  </a:cubicBezTo>
                  <a:cubicBezTo>
                    <a:pt x="50165" y="40640"/>
                    <a:pt x="43815" y="40640"/>
                    <a:pt x="38735" y="42545"/>
                  </a:cubicBezTo>
                  <a:cubicBezTo>
                    <a:pt x="31750" y="45085"/>
                    <a:pt x="27305" y="52705"/>
                    <a:pt x="24765" y="64770"/>
                  </a:cubicBezTo>
                  <a:lnTo>
                    <a:pt x="23495" y="70485"/>
                  </a:lnTo>
                  <a:lnTo>
                    <a:pt x="27940" y="67310"/>
                  </a:lnTo>
                  <a:cubicBezTo>
                    <a:pt x="27940" y="67310"/>
                    <a:pt x="40640" y="58420"/>
                    <a:pt x="46990" y="63500"/>
                  </a:cubicBezTo>
                  <a:cubicBezTo>
                    <a:pt x="50165" y="67310"/>
                    <a:pt x="54610" y="69850"/>
                    <a:pt x="59055" y="71755"/>
                  </a:cubicBezTo>
                  <a:cubicBezTo>
                    <a:pt x="66675" y="73660"/>
                    <a:pt x="66675" y="74930"/>
                    <a:pt x="66675" y="76200"/>
                  </a:cubicBezTo>
                  <a:cubicBezTo>
                    <a:pt x="65405" y="78105"/>
                    <a:pt x="64135" y="79375"/>
                    <a:pt x="62865" y="80010"/>
                  </a:cubicBezTo>
                  <a:lnTo>
                    <a:pt x="60960" y="77470"/>
                  </a:lnTo>
                  <a:cubicBezTo>
                    <a:pt x="55880" y="71120"/>
                    <a:pt x="47625" y="67945"/>
                    <a:pt x="40005" y="69850"/>
                  </a:cubicBezTo>
                  <a:lnTo>
                    <a:pt x="40005" y="69850"/>
                  </a:lnTo>
                  <a:cubicBezTo>
                    <a:pt x="28575" y="73025"/>
                    <a:pt x="16510" y="71755"/>
                    <a:pt x="6350" y="65405"/>
                  </a:cubicBezTo>
                  <a:lnTo>
                    <a:pt x="0" y="60325"/>
                  </a:lnTo>
                  <a:lnTo>
                    <a:pt x="3175" y="67310"/>
                  </a:lnTo>
                  <a:cubicBezTo>
                    <a:pt x="1270" y="72390"/>
                    <a:pt x="3810" y="75565"/>
                    <a:pt x="6350" y="78740"/>
                  </a:cubicBezTo>
                  <a:close/>
                  <a:moveTo>
                    <a:pt x="104775" y="40005"/>
                  </a:moveTo>
                  <a:lnTo>
                    <a:pt x="104775" y="40005"/>
                  </a:lnTo>
                  <a:lnTo>
                    <a:pt x="104775" y="40005"/>
                  </a:lnTo>
                  <a:lnTo>
                    <a:pt x="104775" y="40005"/>
                  </a:lnTo>
                  <a:close/>
                  <a:moveTo>
                    <a:pt x="57785" y="51435"/>
                  </a:moveTo>
                  <a:cubicBezTo>
                    <a:pt x="58420" y="53340"/>
                    <a:pt x="60325" y="55245"/>
                    <a:pt x="62230" y="54610"/>
                  </a:cubicBezTo>
                  <a:cubicBezTo>
                    <a:pt x="64135" y="54610"/>
                    <a:pt x="65405" y="52705"/>
                    <a:pt x="65405" y="50800"/>
                  </a:cubicBezTo>
                  <a:cubicBezTo>
                    <a:pt x="66040" y="50800"/>
                    <a:pt x="67310" y="50800"/>
                    <a:pt x="67945" y="50800"/>
                  </a:cubicBezTo>
                  <a:cubicBezTo>
                    <a:pt x="67945" y="51435"/>
                    <a:pt x="67310" y="51435"/>
                    <a:pt x="67310" y="52070"/>
                  </a:cubicBezTo>
                  <a:cubicBezTo>
                    <a:pt x="66675" y="55245"/>
                    <a:pt x="63500" y="57150"/>
                    <a:pt x="60960" y="56515"/>
                  </a:cubicBezTo>
                  <a:cubicBezTo>
                    <a:pt x="58420" y="55880"/>
                    <a:pt x="56515" y="53975"/>
                    <a:pt x="55880" y="50800"/>
                  </a:cubicBezTo>
                  <a:cubicBezTo>
                    <a:pt x="55880" y="51435"/>
                    <a:pt x="56515" y="51435"/>
                    <a:pt x="57785" y="51435"/>
                  </a:cubicBezTo>
                  <a:lnTo>
                    <a:pt x="57785" y="51435"/>
                  </a:lnTo>
                  <a:close/>
                  <a:moveTo>
                    <a:pt x="36830" y="74295"/>
                  </a:moveTo>
                  <a:cubicBezTo>
                    <a:pt x="40005" y="73660"/>
                    <a:pt x="42545" y="73660"/>
                    <a:pt x="45720" y="74930"/>
                  </a:cubicBezTo>
                  <a:cubicBezTo>
                    <a:pt x="41275" y="74930"/>
                    <a:pt x="36195" y="76200"/>
                    <a:pt x="31750" y="77470"/>
                  </a:cubicBezTo>
                  <a:cubicBezTo>
                    <a:pt x="23495" y="80010"/>
                    <a:pt x="16510" y="81915"/>
                    <a:pt x="8890" y="75565"/>
                  </a:cubicBezTo>
                  <a:cubicBezTo>
                    <a:pt x="8255" y="74930"/>
                    <a:pt x="6985" y="73660"/>
                    <a:pt x="6350" y="72390"/>
                  </a:cubicBezTo>
                  <a:cubicBezTo>
                    <a:pt x="16510" y="76200"/>
                    <a:pt x="27305" y="76835"/>
                    <a:pt x="36830" y="74295"/>
                  </a:cubicBezTo>
                  <a:lnTo>
                    <a:pt x="36830" y="74295"/>
                  </a:lnTo>
                  <a:close/>
                </a:path>
              </a:pathLst>
            </a:custGeom>
            <a:solidFill>
              <a:srgbClr val="002733"/>
            </a:solidFill>
            <a:ln w="6350" cap="flat">
              <a:noFill/>
              <a:prstDash val="solid"/>
              <a:miter/>
            </a:ln>
          </p:spPr>
          <p:txBody>
            <a:bodyPr rtlCol="0" anchor="ctr"/>
            <a:lstStyle/>
            <a:p>
              <a:endParaRPr lang="en-GB"/>
            </a:p>
          </p:txBody>
        </p:sp>
        <p:sp>
          <p:nvSpPr>
            <p:cNvPr id="975" name="Freeform 974">
              <a:extLst>
                <a:ext uri="{FF2B5EF4-FFF2-40B4-BE49-F238E27FC236}">
                  <a16:creationId xmlns:a16="http://schemas.microsoft.com/office/drawing/2014/main" id="{1FD3322B-6C40-4A5E-133A-20EEB0E6BEFB}"/>
                </a:ext>
              </a:extLst>
            </p:cNvPr>
            <p:cNvSpPr/>
            <p:nvPr/>
          </p:nvSpPr>
          <p:spPr>
            <a:xfrm>
              <a:off x="6080759" y="4345560"/>
              <a:ext cx="17145" cy="7632"/>
            </a:xfrm>
            <a:custGeom>
              <a:avLst/>
              <a:gdLst>
                <a:gd name="connsiteX0" fmla="*/ 6985 w 17145"/>
                <a:gd name="connsiteY0" fmla="*/ 1650 h 7632"/>
                <a:gd name="connsiteX1" fmla="*/ 0 w 17145"/>
                <a:gd name="connsiteY1" fmla="*/ 380 h 7632"/>
                <a:gd name="connsiteX2" fmla="*/ 13970 w 17145"/>
                <a:gd name="connsiteY2" fmla="*/ 7365 h 7632"/>
                <a:gd name="connsiteX3" fmla="*/ 17145 w 17145"/>
                <a:gd name="connsiteY3" fmla="*/ 6095 h 7632"/>
                <a:gd name="connsiteX4" fmla="*/ 6985 w 17145"/>
                <a:gd name="connsiteY4" fmla="*/ 1650 h 7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 h="7632">
                  <a:moveTo>
                    <a:pt x="6985" y="1650"/>
                  </a:moveTo>
                  <a:cubicBezTo>
                    <a:pt x="5080" y="-255"/>
                    <a:pt x="2540" y="-255"/>
                    <a:pt x="0" y="380"/>
                  </a:cubicBezTo>
                  <a:cubicBezTo>
                    <a:pt x="6350" y="380"/>
                    <a:pt x="6985" y="9270"/>
                    <a:pt x="13970" y="7365"/>
                  </a:cubicBezTo>
                  <a:cubicBezTo>
                    <a:pt x="15240" y="7365"/>
                    <a:pt x="16510" y="6730"/>
                    <a:pt x="17145" y="6095"/>
                  </a:cubicBezTo>
                  <a:cubicBezTo>
                    <a:pt x="13335" y="8000"/>
                    <a:pt x="10160" y="4190"/>
                    <a:pt x="6985" y="1650"/>
                  </a:cubicBezTo>
                  <a:close/>
                </a:path>
              </a:pathLst>
            </a:custGeom>
            <a:solidFill>
              <a:srgbClr val="002733"/>
            </a:solidFill>
            <a:ln w="6350" cap="flat">
              <a:noFill/>
              <a:prstDash val="solid"/>
              <a:miter/>
            </a:ln>
          </p:spPr>
          <p:txBody>
            <a:bodyPr rtlCol="0" anchor="ctr"/>
            <a:lstStyle/>
            <a:p>
              <a:endParaRPr lang="en-GB"/>
            </a:p>
          </p:txBody>
        </p:sp>
        <p:sp>
          <p:nvSpPr>
            <p:cNvPr id="976" name="Freeform 975">
              <a:extLst>
                <a:ext uri="{FF2B5EF4-FFF2-40B4-BE49-F238E27FC236}">
                  <a16:creationId xmlns:a16="http://schemas.microsoft.com/office/drawing/2014/main" id="{B218ADA9-0367-BDC3-2713-EBBC52AA3D36}"/>
                </a:ext>
              </a:extLst>
            </p:cNvPr>
            <p:cNvSpPr/>
            <p:nvPr/>
          </p:nvSpPr>
          <p:spPr>
            <a:xfrm>
              <a:off x="5948679" y="4225448"/>
              <a:ext cx="294004" cy="278288"/>
            </a:xfrm>
            <a:custGeom>
              <a:avLst/>
              <a:gdLst>
                <a:gd name="connsiteX0" fmla="*/ 19050 w 294004"/>
                <a:gd name="connsiteY0" fmla="*/ 117316 h 278288"/>
                <a:gd name="connsiteX1" fmla="*/ 18415 w 294004"/>
                <a:gd name="connsiteY1" fmla="*/ 128111 h 278288"/>
                <a:gd name="connsiteX2" fmla="*/ 92710 w 294004"/>
                <a:gd name="connsiteY2" fmla="*/ 244951 h 278288"/>
                <a:gd name="connsiteX3" fmla="*/ 100330 w 294004"/>
                <a:gd name="connsiteY3" fmla="*/ 268446 h 278288"/>
                <a:gd name="connsiteX4" fmla="*/ 100965 w 294004"/>
                <a:gd name="connsiteY4" fmla="*/ 270986 h 278288"/>
                <a:gd name="connsiteX5" fmla="*/ 102870 w 294004"/>
                <a:gd name="connsiteY5" fmla="*/ 271621 h 278288"/>
                <a:gd name="connsiteX6" fmla="*/ 191770 w 294004"/>
                <a:gd name="connsiteY6" fmla="*/ 271621 h 278288"/>
                <a:gd name="connsiteX7" fmla="*/ 194310 w 294004"/>
                <a:gd name="connsiteY7" fmla="*/ 270986 h 278288"/>
                <a:gd name="connsiteX8" fmla="*/ 194945 w 294004"/>
                <a:gd name="connsiteY8" fmla="*/ 269081 h 278288"/>
                <a:gd name="connsiteX9" fmla="*/ 202565 w 294004"/>
                <a:gd name="connsiteY9" fmla="*/ 244951 h 278288"/>
                <a:gd name="connsiteX10" fmla="*/ 276860 w 294004"/>
                <a:gd name="connsiteY10" fmla="*/ 128746 h 278288"/>
                <a:gd name="connsiteX11" fmla="*/ 276225 w 294004"/>
                <a:gd name="connsiteY11" fmla="*/ 117951 h 278288"/>
                <a:gd name="connsiteX12" fmla="*/ 292735 w 294004"/>
                <a:gd name="connsiteY12" fmla="*/ 99536 h 278288"/>
                <a:gd name="connsiteX13" fmla="*/ 294005 w 294004"/>
                <a:gd name="connsiteY13" fmla="*/ 97631 h 278288"/>
                <a:gd name="connsiteX14" fmla="*/ 293370 w 294004"/>
                <a:gd name="connsiteY14" fmla="*/ 95091 h 278288"/>
                <a:gd name="connsiteX15" fmla="*/ 249555 w 294004"/>
                <a:gd name="connsiteY15" fmla="*/ 18256 h 278288"/>
                <a:gd name="connsiteX16" fmla="*/ 247650 w 294004"/>
                <a:gd name="connsiteY16" fmla="*/ 16986 h 278288"/>
                <a:gd name="connsiteX17" fmla="*/ 245110 w 294004"/>
                <a:gd name="connsiteY17" fmla="*/ 17621 h 278288"/>
                <a:gd name="connsiteX18" fmla="*/ 220980 w 294004"/>
                <a:gd name="connsiteY18" fmla="*/ 23336 h 278288"/>
                <a:gd name="connsiteX19" fmla="*/ 73660 w 294004"/>
                <a:gd name="connsiteY19" fmla="*/ 23336 h 278288"/>
                <a:gd name="connsiteX20" fmla="*/ 49530 w 294004"/>
                <a:gd name="connsiteY20" fmla="*/ 17621 h 278288"/>
                <a:gd name="connsiteX21" fmla="*/ 46990 w 294004"/>
                <a:gd name="connsiteY21" fmla="*/ 16986 h 278288"/>
                <a:gd name="connsiteX22" fmla="*/ 45085 w 294004"/>
                <a:gd name="connsiteY22" fmla="*/ 18256 h 278288"/>
                <a:gd name="connsiteX23" fmla="*/ 635 w 294004"/>
                <a:gd name="connsiteY23" fmla="*/ 95091 h 278288"/>
                <a:gd name="connsiteX24" fmla="*/ 0 w 294004"/>
                <a:gd name="connsiteY24" fmla="*/ 97631 h 278288"/>
                <a:gd name="connsiteX25" fmla="*/ 1270 w 294004"/>
                <a:gd name="connsiteY25" fmla="*/ 98901 h 278288"/>
                <a:gd name="connsiteX26" fmla="*/ 19050 w 294004"/>
                <a:gd name="connsiteY26" fmla="*/ 117316 h 278288"/>
                <a:gd name="connsiteX27" fmla="*/ 26670 w 294004"/>
                <a:gd name="connsiteY27" fmla="*/ 128111 h 278288"/>
                <a:gd name="connsiteX28" fmla="*/ 26670 w 294004"/>
                <a:gd name="connsiteY28" fmla="*/ 126841 h 278288"/>
                <a:gd name="connsiteX29" fmla="*/ 88265 w 294004"/>
                <a:gd name="connsiteY29" fmla="*/ 232886 h 278288"/>
                <a:gd name="connsiteX30" fmla="*/ 26670 w 294004"/>
                <a:gd name="connsiteY30" fmla="*/ 128111 h 278288"/>
                <a:gd name="connsiteX31" fmla="*/ 26670 w 294004"/>
                <a:gd name="connsiteY31" fmla="*/ 128111 h 278288"/>
                <a:gd name="connsiteX32" fmla="*/ 187325 w 294004"/>
                <a:gd name="connsiteY32" fmla="*/ 264636 h 278288"/>
                <a:gd name="connsiteX33" fmla="*/ 107315 w 294004"/>
                <a:gd name="connsiteY33" fmla="*/ 264636 h 278288"/>
                <a:gd name="connsiteX34" fmla="*/ 102870 w 294004"/>
                <a:gd name="connsiteY34" fmla="*/ 250031 h 278288"/>
                <a:gd name="connsiteX35" fmla="*/ 191770 w 294004"/>
                <a:gd name="connsiteY35" fmla="*/ 250031 h 278288"/>
                <a:gd name="connsiteX36" fmla="*/ 187325 w 294004"/>
                <a:gd name="connsiteY36" fmla="*/ 264636 h 278288"/>
                <a:gd name="connsiteX37" fmla="*/ 187325 w 294004"/>
                <a:gd name="connsiteY37" fmla="*/ 264636 h 278288"/>
                <a:gd name="connsiteX38" fmla="*/ 206375 w 294004"/>
                <a:gd name="connsiteY38" fmla="*/ 233521 h 278288"/>
                <a:gd name="connsiteX39" fmla="*/ 267970 w 294004"/>
                <a:gd name="connsiteY39" fmla="*/ 126841 h 278288"/>
                <a:gd name="connsiteX40" fmla="*/ 267970 w 294004"/>
                <a:gd name="connsiteY40" fmla="*/ 128111 h 278288"/>
                <a:gd name="connsiteX41" fmla="*/ 206375 w 294004"/>
                <a:gd name="connsiteY41" fmla="*/ 233521 h 278288"/>
                <a:gd name="connsiteX42" fmla="*/ 206375 w 294004"/>
                <a:gd name="connsiteY42" fmla="*/ 233521 h 278288"/>
                <a:gd name="connsiteX43" fmla="*/ 245110 w 294004"/>
                <a:gd name="connsiteY43" fmla="*/ 26511 h 278288"/>
                <a:gd name="connsiteX44" fmla="*/ 284480 w 294004"/>
                <a:gd name="connsiteY44" fmla="*/ 95091 h 278288"/>
                <a:gd name="connsiteX45" fmla="*/ 274320 w 294004"/>
                <a:gd name="connsiteY45" fmla="*/ 106521 h 278288"/>
                <a:gd name="connsiteX46" fmla="*/ 229870 w 294004"/>
                <a:gd name="connsiteY46" fmla="*/ 29686 h 278288"/>
                <a:gd name="connsiteX47" fmla="*/ 245110 w 294004"/>
                <a:gd name="connsiteY47" fmla="*/ 26511 h 278288"/>
                <a:gd name="connsiteX48" fmla="*/ 245110 w 294004"/>
                <a:gd name="connsiteY48" fmla="*/ 26511 h 278288"/>
                <a:gd name="connsiteX49" fmla="*/ 147320 w 294004"/>
                <a:gd name="connsiteY49" fmla="*/ 8096 h 278288"/>
                <a:gd name="connsiteX50" fmla="*/ 208915 w 294004"/>
                <a:gd name="connsiteY50" fmla="*/ 25241 h 278288"/>
                <a:gd name="connsiteX51" fmla="*/ 147320 w 294004"/>
                <a:gd name="connsiteY51" fmla="*/ 29686 h 278288"/>
                <a:gd name="connsiteX52" fmla="*/ 85725 w 294004"/>
                <a:gd name="connsiteY52" fmla="*/ 24606 h 278288"/>
                <a:gd name="connsiteX53" fmla="*/ 147320 w 294004"/>
                <a:gd name="connsiteY53" fmla="*/ 8096 h 278288"/>
                <a:gd name="connsiteX54" fmla="*/ 147320 w 294004"/>
                <a:gd name="connsiteY54" fmla="*/ 8096 h 278288"/>
                <a:gd name="connsiteX55" fmla="*/ 75565 w 294004"/>
                <a:gd name="connsiteY55" fmla="*/ 31591 h 278288"/>
                <a:gd name="connsiteX56" fmla="*/ 147320 w 294004"/>
                <a:gd name="connsiteY56" fmla="*/ 37941 h 278288"/>
                <a:gd name="connsiteX57" fmla="*/ 219075 w 294004"/>
                <a:gd name="connsiteY57" fmla="*/ 31591 h 278288"/>
                <a:gd name="connsiteX58" fmla="*/ 266700 w 294004"/>
                <a:gd name="connsiteY58" fmla="*/ 114776 h 278288"/>
                <a:gd name="connsiteX59" fmla="*/ 194945 w 294004"/>
                <a:gd name="connsiteY59" fmla="*/ 238601 h 278288"/>
                <a:gd name="connsiteX60" fmla="*/ 98425 w 294004"/>
                <a:gd name="connsiteY60" fmla="*/ 238601 h 278288"/>
                <a:gd name="connsiteX61" fmla="*/ 26670 w 294004"/>
                <a:gd name="connsiteY61" fmla="*/ 114776 h 278288"/>
                <a:gd name="connsiteX62" fmla="*/ 75565 w 294004"/>
                <a:gd name="connsiteY62" fmla="*/ 31591 h 278288"/>
                <a:gd name="connsiteX63" fmla="*/ 49530 w 294004"/>
                <a:gd name="connsiteY63" fmla="*/ 25876 h 278288"/>
                <a:gd name="connsiteX64" fmla="*/ 64770 w 294004"/>
                <a:gd name="connsiteY64" fmla="*/ 29051 h 278288"/>
                <a:gd name="connsiteX65" fmla="*/ 20320 w 294004"/>
                <a:gd name="connsiteY65" fmla="*/ 105886 h 278288"/>
                <a:gd name="connsiteX66" fmla="*/ 9525 w 294004"/>
                <a:gd name="connsiteY66" fmla="*/ 94456 h 278288"/>
                <a:gd name="connsiteX67" fmla="*/ 49530 w 294004"/>
                <a:gd name="connsiteY67" fmla="*/ 25876 h 278288"/>
                <a:gd name="connsiteX68" fmla="*/ 49530 w 294004"/>
                <a:gd name="connsiteY68" fmla="*/ 25876 h 27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94004" h="278288">
                  <a:moveTo>
                    <a:pt x="19050" y="117316"/>
                  </a:moveTo>
                  <a:cubicBezTo>
                    <a:pt x="19050" y="121126"/>
                    <a:pt x="18415" y="124301"/>
                    <a:pt x="18415" y="128111"/>
                  </a:cubicBezTo>
                  <a:cubicBezTo>
                    <a:pt x="18415" y="178276"/>
                    <a:pt x="47625" y="223361"/>
                    <a:pt x="92710" y="244951"/>
                  </a:cubicBezTo>
                  <a:cubicBezTo>
                    <a:pt x="95250" y="252571"/>
                    <a:pt x="98425" y="260826"/>
                    <a:pt x="100330" y="268446"/>
                  </a:cubicBezTo>
                  <a:lnTo>
                    <a:pt x="100965" y="270986"/>
                  </a:lnTo>
                  <a:lnTo>
                    <a:pt x="102870" y="271621"/>
                  </a:lnTo>
                  <a:cubicBezTo>
                    <a:pt x="132080" y="280511"/>
                    <a:pt x="162560" y="280511"/>
                    <a:pt x="191770" y="271621"/>
                  </a:cubicBezTo>
                  <a:lnTo>
                    <a:pt x="194310" y="270986"/>
                  </a:lnTo>
                  <a:lnTo>
                    <a:pt x="194945" y="269081"/>
                  </a:lnTo>
                  <a:cubicBezTo>
                    <a:pt x="197485" y="260826"/>
                    <a:pt x="200025" y="253206"/>
                    <a:pt x="202565" y="244951"/>
                  </a:cubicBezTo>
                  <a:cubicBezTo>
                    <a:pt x="247650" y="223996"/>
                    <a:pt x="276860" y="178276"/>
                    <a:pt x="276860" y="128746"/>
                  </a:cubicBezTo>
                  <a:cubicBezTo>
                    <a:pt x="276860" y="124936"/>
                    <a:pt x="276860" y="121761"/>
                    <a:pt x="276225" y="117951"/>
                  </a:cubicBezTo>
                  <a:cubicBezTo>
                    <a:pt x="281940" y="111601"/>
                    <a:pt x="287020" y="105251"/>
                    <a:pt x="292735" y="99536"/>
                  </a:cubicBezTo>
                  <a:lnTo>
                    <a:pt x="294005" y="97631"/>
                  </a:lnTo>
                  <a:lnTo>
                    <a:pt x="293370" y="95091"/>
                  </a:lnTo>
                  <a:cubicBezTo>
                    <a:pt x="287020" y="65881"/>
                    <a:pt x="271145" y="39211"/>
                    <a:pt x="249555" y="18256"/>
                  </a:cubicBezTo>
                  <a:lnTo>
                    <a:pt x="247650" y="16986"/>
                  </a:lnTo>
                  <a:lnTo>
                    <a:pt x="245110" y="17621"/>
                  </a:lnTo>
                  <a:cubicBezTo>
                    <a:pt x="236855" y="19526"/>
                    <a:pt x="228600" y="21431"/>
                    <a:pt x="220980" y="23336"/>
                  </a:cubicBezTo>
                  <a:cubicBezTo>
                    <a:pt x="176530" y="-7779"/>
                    <a:pt x="117475" y="-7779"/>
                    <a:pt x="73660" y="23336"/>
                  </a:cubicBezTo>
                  <a:cubicBezTo>
                    <a:pt x="65405" y="22066"/>
                    <a:pt x="57150" y="20161"/>
                    <a:pt x="49530" y="17621"/>
                  </a:cubicBezTo>
                  <a:lnTo>
                    <a:pt x="46990" y="16986"/>
                  </a:lnTo>
                  <a:lnTo>
                    <a:pt x="45085" y="18256"/>
                  </a:lnTo>
                  <a:cubicBezTo>
                    <a:pt x="22860" y="38576"/>
                    <a:pt x="6985" y="65881"/>
                    <a:pt x="635" y="95091"/>
                  </a:cubicBezTo>
                  <a:lnTo>
                    <a:pt x="0" y="97631"/>
                  </a:lnTo>
                  <a:lnTo>
                    <a:pt x="1270" y="98901"/>
                  </a:lnTo>
                  <a:cubicBezTo>
                    <a:pt x="7620" y="104616"/>
                    <a:pt x="13335" y="110966"/>
                    <a:pt x="19050" y="117316"/>
                  </a:cubicBezTo>
                  <a:close/>
                  <a:moveTo>
                    <a:pt x="26670" y="128111"/>
                  </a:moveTo>
                  <a:lnTo>
                    <a:pt x="26670" y="126841"/>
                  </a:lnTo>
                  <a:cubicBezTo>
                    <a:pt x="52705" y="159226"/>
                    <a:pt x="73025" y="194786"/>
                    <a:pt x="88265" y="232886"/>
                  </a:cubicBezTo>
                  <a:cubicBezTo>
                    <a:pt x="50165" y="211931"/>
                    <a:pt x="26670" y="171926"/>
                    <a:pt x="26670" y="128111"/>
                  </a:cubicBezTo>
                  <a:lnTo>
                    <a:pt x="26670" y="128111"/>
                  </a:lnTo>
                  <a:close/>
                  <a:moveTo>
                    <a:pt x="187325" y="264636"/>
                  </a:moveTo>
                  <a:cubicBezTo>
                    <a:pt x="161290" y="272256"/>
                    <a:pt x="133350" y="272256"/>
                    <a:pt x="107315" y="264636"/>
                  </a:cubicBezTo>
                  <a:cubicBezTo>
                    <a:pt x="106045" y="259556"/>
                    <a:pt x="104140" y="254476"/>
                    <a:pt x="102870" y="250031"/>
                  </a:cubicBezTo>
                  <a:cubicBezTo>
                    <a:pt x="131445" y="260826"/>
                    <a:pt x="163195" y="260826"/>
                    <a:pt x="191770" y="250031"/>
                  </a:cubicBezTo>
                  <a:cubicBezTo>
                    <a:pt x="190500" y="254476"/>
                    <a:pt x="188595" y="258921"/>
                    <a:pt x="187325" y="264636"/>
                  </a:cubicBezTo>
                  <a:lnTo>
                    <a:pt x="187325" y="264636"/>
                  </a:lnTo>
                  <a:close/>
                  <a:moveTo>
                    <a:pt x="206375" y="233521"/>
                  </a:moveTo>
                  <a:cubicBezTo>
                    <a:pt x="220980" y="195421"/>
                    <a:pt x="241935" y="159226"/>
                    <a:pt x="267970" y="126841"/>
                  </a:cubicBezTo>
                  <a:lnTo>
                    <a:pt x="267970" y="128111"/>
                  </a:lnTo>
                  <a:cubicBezTo>
                    <a:pt x="267970" y="171926"/>
                    <a:pt x="244475" y="211931"/>
                    <a:pt x="206375" y="233521"/>
                  </a:cubicBezTo>
                  <a:lnTo>
                    <a:pt x="206375" y="233521"/>
                  </a:lnTo>
                  <a:close/>
                  <a:moveTo>
                    <a:pt x="245110" y="26511"/>
                  </a:moveTo>
                  <a:cubicBezTo>
                    <a:pt x="264795" y="44926"/>
                    <a:pt x="278130" y="69056"/>
                    <a:pt x="284480" y="95091"/>
                  </a:cubicBezTo>
                  <a:cubicBezTo>
                    <a:pt x="280670" y="98901"/>
                    <a:pt x="277495" y="102711"/>
                    <a:pt x="274320" y="106521"/>
                  </a:cubicBezTo>
                  <a:cubicBezTo>
                    <a:pt x="269240" y="76676"/>
                    <a:pt x="253365" y="49371"/>
                    <a:pt x="229870" y="29686"/>
                  </a:cubicBezTo>
                  <a:cubicBezTo>
                    <a:pt x="234950" y="28416"/>
                    <a:pt x="240030" y="27781"/>
                    <a:pt x="245110" y="26511"/>
                  </a:cubicBezTo>
                  <a:lnTo>
                    <a:pt x="245110" y="26511"/>
                  </a:lnTo>
                  <a:close/>
                  <a:moveTo>
                    <a:pt x="147320" y="8096"/>
                  </a:moveTo>
                  <a:cubicBezTo>
                    <a:pt x="168910" y="8096"/>
                    <a:pt x="190500" y="13811"/>
                    <a:pt x="208915" y="25241"/>
                  </a:cubicBezTo>
                  <a:cubicBezTo>
                    <a:pt x="188595" y="28416"/>
                    <a:pt x="167640" y="29686"/>
                    <a:pt x="147320" y="29686"/>
                  </a:cubicBezTo>
                  <a:cubicBezTo>
                    <a:pt x="126365" y="29686"/>
                    <a:pt x="106045" y="27781"/>
                    <a:pt x="85725" y="24606"/>
                  </a:cubicBezTo>
                  <a:cubicBezTo>
                    <a:pt x="104140" y="13811"/>
                    <a:pt x="125730" y="7461"/>
                    <a:pt x="147320" y="8096"/>
                  </a:cubicBezTo>
                  <a:lnTo>
                    <a:pt x="147320" y="8096"/>
                  </a:lnTo>
                  <a:close/>
                  <a:moveTo>
                    <a:pt x="75565" y="31591"/>
                  </a:moveTo>
                  <a:cubicBezTo>
                    <a:pt x="99060" y="36036"/>
                    <a:pt x="123190" y="37941"/>
                    <a:pt x="147320" y="37941"/>
                  </a:cubicBezTo>
                  <a:cubicBezTo>
                    <a:pt x="171450" y="37941"/>
                    <a:pt x="195580" y="36036"/>
                    <a:pt x="219075" y="31591"/>
                  </a:cubicBezTo>
                  <a:cubicBezTo>
                    <a:pt x="245745" y="51276"/>
                    <a:pt x="262890" y="81756"/>
                    <a:pt x="266700" y="114776"/>
                  </a:cubicBezTo>
                  <a:cubicBezTo>
                    <a:pt x="235585" y="151606"/>
                    <a:pt x="211455" y="193516"/>
                    <a:pt x="194945" y="238601"/>
                  </a:cubicBezTo>
                  <a:cubicBezTo>
                    <a:pt x="164465" y="251936"/>
                    <a:pt x="129540" y="251936"/>
                    <a:pt x="98425" y="238601"/>
                  </a:cubicBezTo>
                  <a:cubicBezTo>
                    <a:pt x="81915" y="193516"/>
                    <a:pt x="57785" y="151606"/>
                    <a:pt x="26670" y="114776"/>
                  </a:cubicBezTo>
                  <a:cubicBezTo>
                    <a:pt x="31115" y="81756"/>
                    <a:pt x="48895" y="51276"/>
                    <a:pt x="75565" y="31591"/>
                  </a:cubicBezTo>
                  <a:close/>
                  <a:moveTo>
                    <a:pt x="49530" y="25876"/>
                  </a:moveTo>
                  <a:cubicBezTo>
                    <a:pt x="54610" y="27146"/>
                    <a:pt x="59690" y="28416"/>
                    <a:pt x="64770" y="29051"/>
                  </a:cubicBezTo>
                  <a:cubicBezTo>
                    <a:pt x="41275" y="48736"/>
                    <a:pt x="25400" y="76041"/>
                    <a:pt x="20320" y="105886"/>
                  </a:cubicBezTo>
                  <a:cubicBezTo>
                    <a:pt x="17145" y="102076"/>
                    <a:pt x="13335" y="98266"/>
                    <a:pt x="9525" y="94456"/>
                  </a:cubicBezTo>
                  <a:cubicBezTo>
                    <a:pt x="15875" y="68421"/>
                    <a:pt x="29845" y="44291"/>
                    <a:pt x="49530" y="25876"/>
                  </a:cubicBezTo>
                  <a:lnTo>
                    <a:pt x="49530" y="25876"/>
                  </a:lnTo>
                  <a:close/>
                </a:path>
              </a:pathLst>
            </a:custGeom>
            <a:solidFill>
              <a:srgbClr val="002733"/>
            </a:solidFill>
            <a:ln w="6350" cap="flat">
              <a:noFill/>
              <a:prstDash val="solid"/>
              <a:miter/>
            </a:ln>
          </p:spPr>
          <p:txBody>
            <a:bodyPr rtlCol="0" anchor="ctr"/>
            <a:lstStyle/>
            <a:p>
              <a:endParaRPr lang="en-GB"/>
            </a:p>
          </p:txBody>
        </p:sp>
      </p:grpSp>
      <p:sp>
        <p:nvSpPr>
          <p:cNvPr id="3" name="Date Placeholder 2">
            <a:extLst>
              <a:ext uri="{FF2B5EF4-FFF2-40B4-BE49-F238E27FC236}">
                <a16:creationId xmlns:a16="http://schemas.microsoft.com/office/drawing/2014/main" id="{913D0B9C-2929-C1CC-8E44-736E941DE40B}"/>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55AB0611-DC7C-B5C5-6EFF-4DEA04F621BE}"/>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CABEE897-CB57-ECDF-128C-CE29C4FBD3BE}"/>
              </a:ext>
            </a:extLst>
          </p:cNvPr>
          <p:cNvSpPr>
            <a:spLocks noGrp="1"/>
          </p:cNvSpPr>
          <p:nvPr>
            <p:ph type="sldNum" sz="quarter" idx="12"/>
          </p:nvPr>
        </p:nvSpPr>
        <p:spPr/>
        <p:txBody>
          <a:bodyPr/>
          <a:lstStyle/>
          <a:p>
            <a:fld id="{53C98C43-8B83-4748-BA0D-B0C90A16569F}" type="slidenum">
              <a:rPr lang="en-GB" smtClean="0"/>
              <a:pPr/>
              <a:t>‹Nr.›</a:t>
            </a:fld>
            <a:endParaRPr lang="en-GB"/>
          </a:p>
        </p:txBody>
      </p:sp>
      <p:sp>
        <p:nvSpPr>
          <p:cNvPr id="76" name="Rectangle 75">
            <a:extLst>
              <a:ext uri="{FF2B5EF4-FFF2-40B4-BE49-F238E27FC236}">
                <a16:creationId xmlns:a16="http://schemas.microsoft.com/office/drawing/2014/main" id="{F558C667-C804-47D6-F7D8-597165E85B3E}"/>
              </a:ext>
            </a:extLst>
          </p:cNvPr>
          <p:cNvSpPr/>
          <p:nvPr userDrawn="1"/>
        </p:nvSpPr>
        <p:spPr>
          <a:xfrm>
            <a:off x="-2078" y="6985348"/>
            <a:ext cx="2160765" cy="47136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90000" tIns="0" rIns="90000" bIns="0" rtlCol="0" anchor="ctr"/>
          <a:lstStyle/>
          <a:p>
            <a:pPr algn="l"/>
            <a:r>
              <a:rPr lang="en-GB" sz="1000" dirty="0">
                <a:solidFill>
                  <a:srgbClr val="002733"/>
                </a:solidFill>
              </a:rPr>
              <a:t>These logos are available </a:t>
            </a:r>
            <a:br>
              <a:rPr lang="en-GB" sz="1000" dirty="0">
                <a:solidFill>
                  <a:srgbClr val="002733"/>
                </a:solidFill>
              </a:rPr>
            </a:br>
            <a:r>
              <a:rPr lang="en-GB" sz="1000" dirty="0">
                <a:solidFill>
                  <a:srgbClr val="002733"/>
                </a:solidFill>
              </a:rPr>
              <a:t>in master view.</a:t>
            </a:r>
          </a:p>
        </p:txBody>
      </p:sp>
      <p:sp>
        <p:nvSpPr>
          <p:cNvPr id="2" name="Freeform 1">
            <a:extLst>
              <a:ext uri="{FF2B5EF4-FFF2-40B4-BE49-F238E27FC236}">
                <a16:creationId xmlns:a16="http://schemas.microsoft.com/office/drawing/2014/main" id="{A0061932-FCB7-E11D-0188-E991C97757F9}"/>
              </a:ext>
            </a:extLst>
          </p:cNvPr>
          <p:cNvSpPr/>
          <p:nvPr userDrawn="1"/>
        </p:nvSpPr>
        <p:spPr>
          <a:xfrm>
            <a:off x="2434591" y="4420937"/>
            <a:ext cx="972819" cy="279332"/>
          </a:xfrm>
          <a:custGeom>
            <a:avLst/>
            <a:gdLst>
              <a:gd name="connsiteX0" fmla="*/ 530225 w 972819"/>
              <a:gd name="connsiteY0" fmla="*/ 220277 h 279332"/>
              <a:gd name="connsiteX1" fmla="*/ 518795 w 972819"/>
              <a:gd name="connsiteY1" fmla="*/ 208847 h 279332"/>
              <a:gd name="connsiteX2" fmla="*/ 563245 w 972819"/>
              <a:gd name="connsiteY2" fmla="*/ 155507 h 279332"/>
              <a:gd name="connsiteX3" fmla="*/ 564515 w 972819"/>
              <a:gd name="connsiteY3" fmla="*/ 156142 h 279332"/>
              <a:gd name="connsiteX4" fmla="*/ 565150 w 972819"/>
              <a:gd name="connsiteY4" fmla="*/ 157412 h 279332"/>
              <a:gd name="connsiteX5" fmla="*/ 573405 w 972819"/>
              <a:gd name="connsiteY5" fmla="*/ 170112 h 279332"/>
              <a:gd name="connsiteX6" fmla="*/ 574040 w 972819"/>
              <a:gd name="connsiteY6" fmla="*/ 170747 h 279332"/>
              <a:gd name="connsiteX7" fmla="*/ 574040 w 972819"/>
              <a:gd name="connsiteY7" fmla="*/ 171382 h 279332"/>
              <a:gd name="connsiteX8" fmla="*/ 530225 w 972819"/>
              <a:gd name="connsiteY8" fmla="*/ 220277 h 279332"/>
              <a:gd name="connsiteX9" fmla="*/ 123825 w 972819"/>
              <a:gd name="connsiteY9" fmla="*/ 248217 h 279332"/>
              <a:gd name="connsiteX10" fmla="*/ 74930 w 972819"/>
              <a:gd name="connsiteY10" fmla="*/ 243137 h 279332"/>
              <a:gd name="connsiteX11" fmla="*/ 281305 w 972819"/>
              <a:gd name="connsiteY11" fmla="*/ 179002 h 279332"/>
              <a:gd name="connsiteX12" fmla="*/ 281940 w 972819"/>
              <a:gd name="connsiteY12" fmla="*/ 179002 h 279332"/>
              <a:gd name="connsiteX13" fmla="*/ 282575 w 972819"/>
              <a:gd name="connsiteY13" fmla="*/ 179637 h 279332"/>
              <a:gd name="connsiteX14" fmla="*/ 283210 w 972819"/>
              <a:gd name="connsiteY14" fmla="*/ 180272 h 279332"/>
              <a:gd name="connsiteX15" fmla="*/ 283210 w 972819"/>
              <a:gd name="connsiteY15" fmla="*/ 180907 h 279332"/>
              <a:gd name="connsiteX16" fmla="*/ 123825 w 972819"/>
              <a:gd name="connsiteY16" fmla="*/ 248217 h 279332"/>
              <a:gd name="connsiteX17" fmla="*/ 874395 w 972819"/>
              <a:gd name="connsiteY17" fmla="*/ 223452 h 279332"/>
              <a:gd name="connsiteX18" fmla="*/ 852805 w 972819"/>
              <a:gd name="connsiteY18" fmla="*/ 156142 h 279332"/>
              <a:gd name="connsiteX19" fmla="*/ 859155 w 972819"/>
              <a:gd name="connsiteY19" fmla="*/ 144712 h 279332"/>
              <a:gd name="connsiteX20" fmla="*/ 862330 w 972819"/>
              <a:gd name="connsiteY20" fmla="*/ 141537 h 279332"/>
              <a:gd name="connsiteX21" fmla="*/ 866140 w 972819"/>
              <a:gd name="connsiteY21" fmla="*/ 140267 h 279332"/>
              <a:gd name="connsiteX22" fmla="*/ 905510 w 972819"/>
              <a:gd name="connsiteY22" fmla="*/ 138997 h 279332"/>
              <a:gd name="connsiteX23" fmla="*/ 906780 w 972819"/>
              <a:gd name="connsiteY23" fmla="*/ 138362 h 279332"/>
              <a:gd name="connsiteX24" fmla="*/ 907415 w 972819"/>
              <a:gd name="connsiteY24" fmla="*/ 137092 h 279332"/>
              <a:gd name="connsiteX25" fmla="*/ 920750 w 972819"/>
              <a:gd name="connsiteY25" fmla="*/ 107882 h 279332"/>
              <a:gd name="connsiteX26" fmla="*/ 920750 w 972819"/>
              <a:gd name="connsiteY26" fmla="*/ 107247 h 279332"/>
              <a:gd name="connsiteX27" fmla="*/ 920750 w 972819"/>
              <a:gd name="connsiteY27" fmla="*/ 106612 h 279332"/>
              <a:gd name="connsiteX28" fmla="*/ 920115 w 972819"/>
              <a:gd name="connsiteY28" fmla="*/ 105977 h 279332"/>
              <a:gd name="connsiteX29" fmla="*/ 919480 w 972819"/>
              <a:gd name="connsiteY29" fmla="*/ 105977 h 279332"/>
              <a:gd name="connsiteX30" fmla="*/ 880110 w 972819"/>
              <a:gd name="connsiteY30" fmla="*/ 106612 h 279332"/>
              <a:gd name="connsiteX31" fmla="*/ 879475 w 972819"/>
              <a:gd name="connsiteY31" fmla="*/ 106612 h 279332"/>
              <a:gd name="connsiteX32" fmla="*/ 878840 w 972819"/>
              <a:gd name="connsiteY32" fmla="*/ 105977 h 279332"/>
              <a:gd name="connsiteX33" fmla="*/ 878840 w 972819"/>
              <a:gd name="connsiteY33" fmla="*/ 105342 h 279332"/>
              <a:gd name="connsiteX34" fmla="*/ 878840 w 972819"/>
              <a:gd name="connsiteY34" fmla="*/ 104707 h 279332"/>
              <a:gd name="connsiteX35" fmla="*/ 898525 w 972819"/>
              <a:gd name="connsiteY35" fmla="*/ 71052 h 279332"/>
              <a:gd name="connsiteX36" fmla="*/ 898525 w 972819"/>
              <a:gd name="connsiteY36" fmla="*/ 70417 h 279332"/>
              <a:gd name="connsiteX37" fmla="*/ 898525 w 972819"/>
              <a:gd name="connsiteY37" fmla="*/ 69782 h 279332"/>
              <a:gd name="connsiteX38" fmla="*/ 897890 w 972819"/>
              <a:gd name="connsiteY38" fmla="*/ 69147 h 279332"/>
              <a:gd name="connsiteX39" fmla="*/ 897255 w 972819"/>
              <a:gd name="connsiteY39" fmla="*/ 69147 h 279332"/>
              <a:gd name="connsiteX40" fmla="*/ 871855 w 972819"/>
              <a:gd name="connsiteY40" fmla="*/ 69147 h 279332"/>
              <a:gd name="connsiteX41" fmla="*/ 870585 w 972819"/>
              <a:gd name="connsiteY41" fmla="*/ 69782 h 279332"/>
              <a:gd name="connsiteX42" fmla="*/ 869950 w 972819"/>
              <a:gd name="connsiteY42" fmla="*/ 70417 h 279332"/>
              <a:gd name="connsiteX43" fmla="*/ 850265 w 972819"/>
              <a:gd name="connsiteY43" fmla="*/ 105342 h 279332"/>
              <a:gd name="connsiteX44" fmla="*/ 849630 w 972819"/>
              <a:gd name="connsiteY44" fmla="*/ 105977 h 279332"/>
              <a:gd name="connsiteX45" fmla="*/ 848360 w 972819"/>
              <a:gd name="connsiteY45" fmla="*/ 105977 h 279332"/>
              <a:gd name="connsiteX46" fmla="*/ 810895 w 972819"/>
              <a:gd name="connsiteY46" fmla="*/ 105977 h 279332"/>
              <a:gd name="connsiteX47" fmla="*/ 809625 w 972819"/>
              <a:gd name="connsiteY47" fmla="*/ 106612 h 279332"/>
              <a:gd name="connsiteX48" fmla="*/ 808355 w 972819"/>
              <a:gd name="connsiteY48" fmla="*/ 107247 h 279332"/>
              <a:gd name="connsiteX49" fmla="*/ 791210 w 972819"/>
              <a:gd name="connsiteY49" fmla="*/ 140267 h 279332"/>
              <a:gd name="connsiteX50" fmla="*/ 791210 w 972819"/>
              <a:gd name="connsiteY50" fmla="*/ 140902 h 279332"/>
              <a:gd name="connsiteX51" fmla="*/ 791210 w 972819"/>
              <a:gd name="connsiteY51" fmla="*/ 141537 h 279332"/>
              <a:gd name="connsiteX52" fmla="*/ 791845 w 972819"/>
              <a:gd name="connsiteY52" fmla="*/ 142172 h 279332"/>
              <a:gd name="connsiteX53" fmla="*/ 792480 w 972819"/>
              <a:gd name="connsiteY53" fmla="*/ 142172 h 279332"/>
              <a:gd name="connsiteX54" fmla="*/ 824230 w 972819"/>
              <a:gd name="connsiteY54" fmla="*/ 141537 h 279332"/>
              <a:gd name="connsiteX55" fmla="*/ 825500 w 972819"/>
              <a:gd name="connsiteY55" fmla="*/ 141537 h 279332"/>
              <a:gd name="connsiteX56" fmla="*/ 826135 w 972819"/>
              <a:gd name="connsiteY56" fmla="*/ 142172 h 279332"/>
              <a:gd name="connsiteX57" fmla="*/ 826135 w 972819"/>
              <a:gd name="connsiteY57" fmla="*/ 143442 h 279332"/>
              <a:gd name="connsiteX58" fmla="*/ 825500 w 972819"/>
              <a:gd name="connsiteY58" fmla="*/ 144712 h 279332"/>
              <a:gd name="connsiteX59" fmla="*/ 814070 w 972819"/>
              <a:gd name="connsiteY59" fmla="*/ 159952 h 279332"/>
              <a:gd name="connsiteX60" fmla="*/ 738505 w 972819"/>
              <a:gd name="connsiteY60" fmla="*/ 221547 h 279332"/>
              <a:gd name="connsiteX61" fmla="*/ 758190 w 972819"/>
              <a:gd name="connsiteY61" fmla="*/ 147252 h 279332"/>
              <a:gd name="connsiteX62" fmla="*/ 758190 w 972819"/>
              <a:gd name="connsiteY62" fmla="*/ 146617 h 279332"/>
              <a:gd name="connsiteX63" fmla="*/ 758190 w 972819"/>
              <a:gd name="connsiteY63" fmla="*/ 145982 h 279332"/>
              <a:gd name="connsiteX64" fmla="*/ 757555 w 972819"/>
              <a:gd name="connsiteY64" fmla="*/ 145347 h 279332"/>
              <a:gd name="connsiteX65" fmla="*/ 756920 w 972819"/>
              <a:gd name="connsiteY65" fmla="*/ 145347 h 279332"/>
              <a:gd name="connsiteX66" fmla="*/ 732155 w 972819"/>
              <a:gd name="connsiteY66" fmla="*/ 145347 h 279332"/>
              <a:gd name="connsiteX67" fmla="*/ 730250 w 972819"/>
              <a:gd name="connsiteY67" fmla="*/ 145982 h 279332"/>
              <a:gd name="connsiteX68" fmla="*/ 728980 w 972819"/>
              <a:gd name="connsiteY68" fmla="*/ 147252 h 279332"/>
              <a:gd name="connsiteX69" fmla="*/ 658495 w 972819"/>
              <a:gd name="connsiteY69" fmla="*/ 217102 h 279332"/>
              <a:gd name="connsiteX70" fmla="*/ 651510 w 972819"/>
              <a:gd name="connsiteY70" fmla="*/ 208212 h 279332"/>
              <a:gd name="connsiteX71" fmla="*/ 681355 w 972819"/>
              <a:gd name="connsiteY71" fmla="*/ 149157 h 279332"/>
              <a:gd name="connsiteX72" fmla="*/ 681355 w 972819"/>
              <a:gd name="connsiteY72" fmla="*/ 148522 h 279332"/>
              <a:gd name="connsiteX73" fmla="*/ 681355 w 972819"/>
              <a:gd name="connsiteY73" fmla="*/ 147887 h 279332"/>
              <a:gd name="connsiteX74" fmla="*/ 680720 w 972819"/>
              <a:gd name="connsiteY74" fmla="*/ 147252 h 279332"/>
              <a:gd name="connsiteX75" fmla="*/ 680085 w 972819"/>
              <a:gd name="connsiteY75" fmla="*/ 147252 h 279332"/>
              <a:gd name="connsiteX76" fmla="*/ 664845 w 972819"/>
              <a:gd name="connsiteY76" fmla="*/ 141537 h 279332"/>
              <a:gd name="connsiteX77" fmla="*/ 662305 w 972819"/>
              <a:gd name="connsiteY77" fmla="*/ 141537 h 279332"/>
              <a:gd name="connsiteX78" fmla="*/ 574675 w 972819"/>
              <a:gd name="connsiteY78" fmla="*/ 135187 h 279332"/>
              <a:gd name="connsiteX79" fmla="*/ 573405 w 972819"/>
              <a:gd name="connsiteY79" fmla="*/ 134552 h 279332"/>
              <a:gd name="connsiteX80" fmla="*/ 572135 w 972819"/>
              <a:gd name="connsiteY80" fmla="*/ 135187 h 279332"/>
              <a:gd name="connsiteX81" fmla="*/ 567690 w 972819"/>
              <a:gd name="connsiteY81" fmla="*/ 139632 h 279332"/>
              <a:gd name="connsiteX82" fmla="*/ 567055 w 972819"/>
              <a:gd name="connsiteY82" fmla="*/ 140267 h 279332"/>
              <a:gd name="connsiteX83" fmla="*/ 565785 w 972819"/>
              <a:gd name="connsiteY83" fmla="*/ 140267 h 279332"/>
              <a:gd name="connsiteX84" fmla="*/ 560070 w 972819"/>
              <a:gd name="connsiteY84" fmla="*/ 139632 h 279332"/>
              <a:gd name="connsiteX85" fmla="*/ 484505 w 972819"/>
              <a:gd name="connsiteY85" fmla="*/ 194242 h 279332"/>
              <a:gd name="connsiteX86" fmla="*/ 404495 w 972819"/>
              <a:gd name="connsiteY86" fmla="*/ 208847 h 279332"/>
              <a:gd name="connsiteX87" fmla="*/ 474345 w 972819"/>
              <a:gd name="connsiteY87" fmla="*/ 160587 h 279332"/>
              <a:gd name="connsiteX88" fmla="*/ 474980 w 972819"/>
              <a:gd name="connsiteY88" fmla="*/ 160587 h 279332"/>
              <a:gd name="connsiteX89" fmla="*/ 475615 w 972819"/>
              <a:gd name="connsiteY89" fmla="*/ 160587 h 279332"/>
              <a:gd name="connsiteX90" fmla="*/ 476250 w 972819"/>
              <a:gd name="connsiteY90" fmla="*/ 159952 h 279332"/>
              <a:gd name="connsiteX91" fmla="*/ 476885 w 972819"/>
              <a:gd name="connsiteY91" fmla="*/ 159317 h 279332"/>
              <a:gd name="connsiteX92" fmla="*/ 485140 w 972819"/>
              <a:gd name="connsiteY92" fmla="*/ 142807 h 279332"/>
              <a:gd name="connsiteX93" fmla="*/ 485140 w 972819"/>
              <a:gd name="connsiteY93" fmla="*/ 142172 h 279332"/>
              <a:gd name="connsiteX94" fmla="*/ 485140 w 972819"/>
              <a:gd name="connsiteY94" fmla="*/ 141537 h 279332"/>
              <a:gd name="connsiteX95" fmla="*/ 484505 w 972819"/>
              <a:gd name="connsiteY95" fmla="*/ 140902 h 279332"/>
              <a:gd name="connsiteX96" fmla="*/ 483870 w 972819"/>
              <a:gd name="connsiteY96" fmla="*/ 140267 h 279332"/>
              <a:gd name="connsiteX97" fmla="*/ 331470 w 972819"/>
              <a:gd name="connsiteY97" fmla="*/ 145982 h 279332"/>
              <a:gd name="connsiteX98" fmla="*/ 330200 w 972819"/>
              <a:gd name="connsiteY98" fmla="*/ 145982 h 279332"/>
              <a:gd name="connsiteX99" fmla="*/ 328930 w 972819"/>
              <a:gd name="connsiteY99" fmla="*/ 145347 h 279332"/>
              <a:gd name="connsiteX100" fmla="*/ 271780 w 972819"/>
              <a:gd name="connsiteY100" fmla="*/ 112962 h 279332"/>
              <a:gd name="connsiteX101" fmla="*/ 210185 w 972819"/>
              <a:gd name="connsiteY101" fmla="*/ 72957 h 279332"/>
              <a:gd name="connsiteX102" fmla="*/ 403225 w 972819"/>
              <a:gd name="connsiteY102" fmla="*/ 31047 h 279332"/>
              <a:gd name="connsiteX103" fmla="*/ 404495 w 972819"/>
              <a:gd name="connsiteY103" fmla="*/ 31047 h 279332"/>
              <a:gd name="connsiteX104" fmla="*/ 405130 w 972819"/>
              <a:gd name="connsiteY104" fmla="*/ 29777 h 279332"/>
              <a:gd name="connsiteX105" fmla="*/ 411480 w 972819"/>
              <a:gd name="connsiteY105" fmla="*/ 8187 h 279332"/>
              <a:gd name="connsiteX106" fmla="*/ 411480 w 972819"/>
              <a:gd name="connsiteY106" fmla="*/ 7552 h 279332"/>
              <a:gd name="connsiteX107" fmla="*/ 411480 w 972819"/>
              <a:gd name="connsiteY107" fmla="*/ 6917 h 279332"/>
              <a:gd name="connsiteX108" fmla="*/ 410845 w 972819"/>
              <a:gd name="connsiteY108" fmla="*/ 6282 h 279332"/>
              <a:gd name="connsiteX109" fmla="*/ 410210 w 972819"/>
              <a:gd name="connsiteY109" fmla="*/ 6282 h 279332"/>
              <a:gd name="connsiteX110" fmla="*/ 141605 w 972819"/>
              <a:gd name="connsiteY110" fmla="*/ 67242 h 279332"/>
              <a:gd name="connsiteX111" fmla="*/ 216535 w 972819"/>
              <a:gd name="connsiteY111" fmla="*/ 129472 h 279332"/>
              <a:gd name="connsiteX112" fmla="*/ 267335 w 972819"/>
              <a:gd name="connsiteY112" fmla="*/ 152332 h 279332"/>
              <a:gd name="connsiteX113" fmla="*/ 267970 w 972819"/>
              <a:gd name="connsiteY113" fmla="*/ 152967 h 279332"/>
              <a:gd name="connsiteX114" fmla="*/ 267970 w 972819"/>
              <a:gd name="connsiteY114" fmla="*/ 154237 h 279332"/>
              <a:gd name="connsiteX115" fmla="*/ 267335 w 972819"/>
              <a:gd name="connsiteY115" fmla="*/ 154872 h 279332"/>
              <a:gd name="connsiteX116" fmla="*/ 266700 w 972819"/>
              <a:gd name="connsiteY116" fmla="*/ 155507 h 279332"/>
              <a:gd name="connsiteX117" fmla="*/ 234950 w 972819"/>
              <a:gd name="connsiteY117" fmla="*/ 159952 h 279332"/>
              <a:gd name="connsiteX118" fmla="*/ 0 w 972819"/>
              <a:gd name="connsiteY118" fmla="*/ 239962 h 279332"/>
              <a:gd name="connsiteX119" fmla="*/ 150495 w 972819"/>
              <a:gd name="connsiteY119" fmla="*/ 279332 h 279332"/>
              <a:gd name="connsiteX120" fmla="*/ 346710 w 972819"/>
              <a:gd name="connsiteY120" fmla="*/ 182177 h 279332"/>
              <a:gd name="connsiteX121" fmla="*/ 344805 w 972819"/>
              <a:gd name="connsiteY121" fmla="*/ 168842 h 279332"/>
              <a:gd name="connsiteX122" fmla="*/ 344805 w 972819"/>
              <a:gd name="connsiteY122" fmla="*/ 168207 h 279332"/>
              <a:gd name="connsiteX123" fmla="*/ 344805 w 972819"/>
              <a:gd name="connsiteY123" fmla="*/ 167572 h 279332"/>
              <a:gd name="connsiteX124" fmla="*/ 344805 w 972819"/>
              <a:gd name="connsiteY124" fmla="*/ 167572 h 279332"/>
              <a:gd name="connsiteX125" fmla="*/ 345440 w 972819"/>
              <a:gd name="connsiteY125" fmla="*/ 167572 h 279332"/>
              <a:gd name="connsiteX126" fmla="*/ 398145 w 972819"/>
              <a:gd name="connsiteY126" fmla="*/ 161222 h 279332"/>
              <a:gd name="connsiteX127" fmla="*/ 398780 w 972819"/>
              <a:gd name="connsiteY127" fmla="*/ 161222 h 279332"/>
              <a:gd name="connsiteX128" fmla="*/ 399415 w 972819"/>
              <a:gd name="connsiteY128" fmla="*/ 161857 h 279332"/>
              <a:gd name="connsiteX129" fmla="*/ 399415 w 972819"/>
              <a:gd name="connsiteY129" fmla="*/ 162492 h 279332"/>
              <a:gd name="connsiteX130" fmla="*/ 398780 w 972819"/>
              <a:gd name="connsiteY130" fmla="*/ 163127 h 279332"/>
              <a:gd name="connsiteX131" fmla="*/ 355600 w 972819"/>
              <a:gd name="connsiteY131" fmla="*/ 231707 h 279332"/>
              <a:gd name="connsiteX132" fmla="*/ 393700 w 972819"/>
              <a:gd name="connsiteY132" fmla="*/ 267267 h 279332"/>
              <a:gd name="connsiteX133" fmla="*/ 474980 w 972819"/>
              <a:gd name="connsiteY133" fmla="*/ 227897 h 279332"/>
              <a:gd name="connsiteX134" fmla="*/ 475615 w 972819"/>
              <a:gd name="connsiteY134" fmla="*/ 227897 h 279332"/>
              <a:gd name="connsiteX135" fmla="*/ 476250 w 972819"/>
              <a:gd name="connsiteY135" fmla="*/ 227897 h 279332"/>
              <a:gd name="connsiteX136" fmla="*/ 476885 w 972819"/>
              <a:gd name="connsiteY136" fmla="*/ 228532 h 279332"/>
              <a:gd name="connsiteX137" fmla="*/ 476885 w 972819"/>
              <a:gd name="connsiteY137" fmla="*/ 229167 h 279332"/>
              <a:gd name="connsiteX138" fmla="*/ 513715 w 972819"/>
              <a:gd name="connsiteY138" fmla="*/ 265362 h 279332"/>
              <a:gd name="connsiteX139" fmla="*/ 594995 w 972819"/>
              <a:gd name="connsiteY139" fmla="*/ 181542 h 279332"/>
              <a:gd name="connsiteX140" fmla="*/ 594995 w 972819"/>
              <a:gd name="connsiteY140" fmla="*/ 177732 h 279332"/>
              <a:gd name="connsiteX141" fmla="*/ 594995 w 972819"/>
              <a:gd name="connsiteY141" fmla="*/ 177097 h 279332"/>
              <a:gd name="connsiteX142" fmla="*/ 595630 w 972819"/>
              <a:gd name="connsiteY142" fmla="*/ 176462 h 279332"/>
              <a:gd name="connsiteX143" fmla="*/ 596265 w 972819"/>
              <a:gd name="connsiteY143" fmla="*/ 175827 h 279332"/>
              <a:gd name="connsiteX144" fmla="*/ 596900 w 972819"/>
              <a:gd name="connsiteY144" fmla="*/ 175827 h 279332"/>
              <a:gd name="connsiteX145" fmla="*/ 635635 w 972819"/>
              <a:gd name="connsiteY145" fmla="*/ 169477 h 279332"/>
              <a:gd name="connsiteX146" fmla="*/ 636905 w 972819"/>
              <a:gd name="connsiteY146" fmla="*/ 169477 h 279332"/>
              <a:gd name="connsiteX147" fmla="*/ 637540 w 972819"/>
              <a:gd name="connsiteY147" fmla="*/ 170112 h 279332"/>
              <a:gd name="connsiteX148" fmla="*/ 638175 w 972819"/>
              <a:gd name="connsiteY148" fmla="*/ 171382 h 279332"/>
              <a:gd name="connsiteX149" fmla="*/ 637540 w 972819"/>
              <a:gd name="connsiteY149" fmla="*/ 172652 h 279332"/>
              <a:gd name="connsiteX150" fmla="*/ 608965 w 972819"/>
              <a:gd name="connsiteY150" fmla="*/ 237422 h 279332"/>
              <a:gd name="connsiteX151" fmla="*/ 633095 w 972819"/>
              <a:gd name="connsiteY151" fmla="*/ 264727 h 279332"/>
              <a:gd name="connsiteX152" fmla="*/ 692150 w 972819"/>
              <a:gd name="connsiteY152" fmla="*/ 231072 h 279332"/>
              <a:gd name="connsiteX153" fmla="*/ 693420 w 972819"/>
              <a:gd name="connsiteY153" fmla="*/ 230437 h 279332"/>
              <a:gd name="connsiteX154" fmla="*/ 694690 w 972819"/>
              <a:gd name="connsiteY154" fmla="*/ 230437 h 279332"/>
              <a:gd name="connsiteX155" fmla="*/ 695960 w 972819"/>
              <a:gd name="connsiteY155" fmla="*/ 231072 h 279332"/>
              <a:gd name="connsiteX156" fmla="*/ 696595 w 972819"/>
              <a:gd name="connsiteY156" fmla="*/ 232342 h 279332"/>
              <a:gd name="connsiteX157" fmla="*/ 725170 w 972819"/>
              <a:gd name="connsiteY157" fmla="*/ 263457 h 279332"/>
              <a:gd name="connsiteX158" fmla="*/ 802640 w 972819"/>
              <a:gd name="connsiteY158" fmla="*/ 212657 h 279332"/>
              <a:gd name="connsiteX159" fmla="*/ 803275 w 972819"/>
              <a:gd name="connsiteY159" fmla="*/ 212657 h 279332"/>
              <a:gd name="connsiteX160" fmla="*/ 803910 w 972819"/>
              <a:gd name="connsiteY160" fmla="*/ 212657 h 279332"/>
              <a:gd name="connsiteX161" fmla="*/ 804545 w 972819"/>
              <a:gd name="connsiteY161" fmla="*/ 213292 h 279332"/>
              <a:gd name="connsiteX162" fmla="*/ 804545 w 972819"/>
              <a:gd name="connsiteY162" fmla="*/ 213927 h 279332"/>
              <a:gd name="connsiteX163" fmla="*/ 850900 w 972819"/>
              <a:gd name="connsiteY163" fmla="*/ 265997 h 279332"/>
              <a:gd name="connsiteX164" fmla="*/ 966470 w 972819"/>
              <a:gd name="connsiteY164" fmla="*/ 227897 h 279332"/>
              <a:gd name="connsiteX165" fmla="*/ 967740 w 972819"/>
              <a:gd name="connsiteY165" fmla="*/ 225992 h 279332"/>
              <a:gd name="connsiteX166" fmla="*/ 972820 w 972819"/>
              <a:gd name="connsiteY166" fmla="*/ 206307 h 279332"/>
              <a:gd name="connsiteX167" fmla="*/ 972820 w 972819"/>
              <a:gd name="connsiteY167" fmla="*/ 205672 h 279332"/>
              <a:gd name="connsiteX168" fmla="*/ 972185 w 972819"/>
              <a:gd name="connsiteY168" fmla="*/ 205037 h 279332"/>
              <a:gd name="connsiteX169" fmla="*/ 971550 w 972819"/>
              <a:gd name="connsiteY169" fmla="*/ 205037 h 279332"/>
              <a:gd name="connsiteX170" fmla="*/ 970915 w 972819"/>
              <a:gd name="connsiteY170" fmla="*/ 205037 h 279332"/>
              <a:gd name="connsiteX171" fmla="*/ 874395 w 972819"/>
              <a:gd name="connsiteY171" fmla="*/ 223452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972819" h="279332">
                <a:moveTo>
                  <a:pt x="530225" y="220277"/>
                </a:moveTo>
                <a:cubicBezTo>
                  <a:pt x="523875" y="220277"/>
                  <a:pt x="518795" y="216467"/>
                  <a:pt x="518795" y="208847"/>
                </a:cubicBezTo>
                <a:cubicBezTo>
                  <a:pt x="518795" y="187892"/>
                  <a:pt x="548005" y="158047"/>
                  <a:pt x="563245" y="155507"/>
                </a:cubicBezTo>
                <a:cubicBezTo>
                  <a:pt x="563880" y="155507"/>
                  <a:pt x="564515" y="155507"/>
                  <a:pt x="564515" y="156142"/>
                </a:cubicBezTo>
                <a:cubicBezTo>
                  <a:pt x="565150" y="156142"/>
                  <a:pt x="565150" y="156777"/>
                  <a:pt x="565150" y="157412"/>
                </a:cubicBezTo>
                <a:cubicBezTo>
                  <a:pt x="566420" y="162492"/>
                  <a:pt x="568960" y="166937"/>
                  <a:pt x="573405" y="170112"/>
                </a:cubicBezTo>
                <a:cubicBezTo>
                  <a:pt x="573405" y="170112"/>
                  <a:pt x="574040" y="170112"/>
                  <a:pt x="574040" y="170747"/>
                </a:cubicBezTo>
                <a:cubicBezTo>
                  <a:pt x="574040" y="170747"/>
                  <a:pt x="574040" y="171382"/>
                  <a:pt x="574040" y="171382"/>
                </a:cubicBezTo>
                <a:cubicBezTo>
                  <a:pt x="569595" y="189797"/>
                  <a:pt x="549275" y="220277"/>
                  <a:pt x="530225" y="220277"/>
                </a:cubicBezTo>
                <a:close/>
                <a:moveTo>
                  <a:pt x="123825" y="248217"/>
                </a:moveTo>
                <a:cubicBezTo>
                  <a:pt x="88265" y="248217"/>
                  <a:pt x="74930" y="246312"/>
                  <a:pt x="74930" y="243137"/>
                </a:cubicBezTo>
                <a:cubicBezTo>
                  <a:pt x="74930" y="233612"/>
                  <a:pt x="181610" y="200592"/>
                  <a:pt x="281305" y="179002"/>
                </a:cubicBezTo>
                <a:cubicBezTo>
                  <a:pt x="281305" y="179002"/>
                  <a:pt x="281940" y="179002"/>
                  <a:pt x="281940" y="179002"/>
                </a:cubicBezTo>
                <a:cubicBezTo>
                  <a:pt x="281940" y="179002"/>
                  <a:pt x="282575" y="179002"/>
                  <a:pt x="282575" y="179637"/>
                </a:cubicBezTo>
                <a:cubicBezTo>
                  <a:pt x="282575" y="179637"/>
                  <a:pt x="283210" y="180272"/>
                  <a:pt x="283210" y="180272"/>
                </a:cubicBezTo>
                <a:cubicBezTo>
                  <a:pt x="283210" y="180272"/>
                  <a:pt x="283210" y="180907"/>
                  <a:pt x="283210" y="180907"/>
                </a:cubicBezTo>
                <a:cubicBezTo>
                  <a:pt x="281305" y="219007"/>
                  <a:pt x="207645" y="248217"/>
                  <a:pt x="123825" y="248217"/>
                </a:cubicBezTo>
                <a:close/>
                <a:moveTo>
                  <a:pt x="874395" y="223452"/>
                </a:moveTo>
                <a:cubicBezTo>
                  <a:pt x="841375" y="223452"/>
                  <a:pt x="826135" y="203132"/>
                  <a:pt x="852805" y="156142"/>
                </a:cubicBezTo>
                <a:cubicBezTo>
                  <a:pt x="854710" y="152967"/>
                  <a:pt x="856615" y="149157"/>
                  <a:pt x="859155" y="144712"/>
                </a:cubicBezTo>
                <a:cubicBezTo>
                  <a:pt x="859790" y="143442"/>
                  <a:pt x="861060" y="142172"/>
                  <a:pt x="862330" y="141537"/>
                </a:cubicBezTo>
                <a:cubicBezTo>
                  <a:pt x="863600" y="140902"/>
                  <a:pt x="864870" y="140267"/>
                  <a:pt x="866140" y="140267"/>
                </a:cubicBezTo>
                <a:cubicBezTo>
                  <a:pt x="883285" y="139632"/>
                  <a:pt x="898525" y="139632"/>
                  <a:pt x="905510" y="138997"/>
                </a:cubicBezTo>
                <a:cubicBezTo>
                  <a:pt x="906145" y="138997"/>
                  <a:pt x="906780" y="138997"/>
                  <a:pt x="906780" y="138362"/>
                </a:cubicBezTo>
                <a:cubicBezTo>
                  <a:pt x="907415" y="137727"/>
                  <a:pt x="907415" y="137727"/>
                  <a:pt x="907415" y="137092"/>
                </a:cubicBezTo>
                <a:cubicBezTo>
                  <a:pt x="911225" y="126932"/>
                  <a:pt x="915670" y="117407"/>
                  <a:pt x="920750" y="107882"/>
                </a:cubicBezTo>
                <a:cubicBezTo>
                  <a:pt x="920750" y="107882"/>
                  <a:pt x="920750" y="107247"/>
                  <a:pt x="920750" y="107247"/>
                </a:cubicBezTo>
                <a:cubicBezTo>
                  <a:pt x="920750" y="107247"/>
                  <a:pt x="920750" y="106612"/>
                  <a:pt x="920750" y="106612"/>
                </a:cubicBezTo>
                <a:cubicBezTo>
                  <a:pt x="920750" y="106612"/>
                  <a:pt x="920115" y="105977"/>
                  <a:pt x="920115" y="105977"/>
                </a:cubicBezTo>
                <a:cubicBezTo>
                  <a:pt x="920115" y="105977"/>
                  <a:pt x="919480" y="105977"/>
                  <a:pt x="919480" y="105977"/>
                </a:cubicBezTo>
                <a:cubicBezTo>
                  <a:pt x="911860" y="105977"/>
                  <a:pt x="896620" y="106612"/>
                  <a:pt x="880110" y="106612"/>
                </a:cubicBezTo>
                <a:cubicBezTo>
                  <a:pt x="880110" y="106612"/>
                  <a:pt x="879475" y="106612"/>
                  <a:pt x="879475" y="106612"/>
                </a:cubicBezTo>
                <a:cubicBezTo>
                  <a:pt x="879475" y="106612"/>
                  <a:pt x="879475" y="106612"/>
                  <a:pt x="878840" y="105977"/>
                </a:cubicBezTo>
                <a:cubicBezTo>
                  <a:pt x="878840" y="105977"/>
                  <a:pt x="878840" y="105342"/>
                  <a:pt x="878840" y="105342"/>
                </a:cubicBezTo>
                <a:cubicBezTo>
                  <a:pt x="878840" y="105342"/>
                  <a:pt x="878840" y="104707"/>
                  <a:pt x="878840" y="104707"/>
                </a:cubicBezTo>
                <a:cubicBezTo>
                  <a:pt x="885825" y="92007"/>
                  <a:pt x="892810" y="79942"/>
                  <a:pt x="898525" y="71052"/>
                </a:cubicBezTo>
                <a:cubicBezTo>
                  <a:pt x="898525" y="71052"/>
                  <a:pt x="898525" y="70417"/>
                  <a:pt x="898525" y="70417"/>
                </a:cubicBezTo>
                <a:cubicBezTo>
                  <a:pt x="898525" y="70417"/>
                  <a:pt x="898525" y="69782"/>
                  <a:pt x="898525" y="69782"/>
                </a:cubicBezTo>
                <a:cubicBezTo>
                  <a:pt x="898525" y="69782"/>
                  <a:pt x="898525" y="69147"/>
                  <a:pt x="897890" y="69147"/>
                </a:cubicBezTo>
                <a:cubicBezTo>
                  <a:pt x="897890" y="69147"/>
                  <a:pt x="897255" y="69147"/>
                  <a:pt x="897255" y="69147"/>
                </a:cubicBezTo>
                <a:cubicBezTo>
                  <a:pt x="889000" y="69147"/>
                  <a:pt x="878205" y="69147"/>
                  <a:pt x="871855" y="69147"/>
                </a:cubicBezTo>
                <a:cubicBezTo>
                  <a:pt x="871220" y="69147"/>
                  <a:pt x="871220" y="69147"/>
                  <a:pt x="870585" y="69782"/>
                </a:cubicBezTo>
                <a:cubicBezTo>
                  <a:pt x="869950" y="69782"/>
                  <a:pt x="869950" y="70417"/>
                  <a:pt x="869950" y="70417"/>
                </a:cubicBezTo>
                <a:cubicBezTo>
                  <a:pt x="863600" y="81847"/>
                  <a:pt x="857250" y="93277"/>
                  <a:pt x="850265" y="105342"/>
                </a:cubicBezTo>
                <a:cubicBezTo>
                  <a:pt x="850265" y="105342"/>
                  <a:pt x="849630" y="105977"/>
                  <a:pt x="849630" y="105977"/>
                </a:cubicBezTo>
                <a:cubicBezTo>
                  <a:pt x="849630" y="105977"/>
                  <a:pt x="848995" y="105977"/>
                  <a:pt x="848360" y="105977"/>
                </a:cubicBezTo>
                <a:cubicBezTo>
                  <a:pt x="831215" y="105977"/>
                  <a:pt x="816610" y="105977"/>
                  <a:pt x="810895" y="105977"/>
                </a:cubicBezTo>
                <a:cubicBezTo>
                  <a:pt x="810260" y="105977"/>
                  <a:pt x="810260" y="105977"/>
                  <a:pt x="809625" y="106612"/>
                </a:cubicBezTo>
                <a:cubicBezTo>
                  <a:pt x="808990" y="106612"/>
                  <a:pt x="808990" y="107247"/>
                  <a:pt x="808355" y="107247"/>
                </a:cubicBezTo>
                <a:cubicBezTo>
                  <a:pt x="803275" y="116137"/>
                  <a:pt x="796290" y="128837"/>
                  <a:pt x="791210" y="140267"/>
                </a:cubicBezTo>
                <a:cubicBezTo>
                  <a:pt x="791210" y="140267"/>
                  <a:pt x="791210" y="140902"/>
                  <a:pt x="791210" y="140902"/>
                </a:cubicBezTo>
                <a:cubicBezTo>
                  <a:pt x="791210" y="140902"/>
                  <a:pt x="791210" y="141537"/>
                  <a:pt x="791210" y="141537"/>
                </a:cubicBezTo>
                <a:cubicBezTo>
                  <a:pt x="791210" y="141537"/>
                  <a:pt x="791210" y="142172"/>
                  <a:pt x="791845" y="142172"/>
                </a:cubicBezTo>
                <a:cubicBezTo>
                  <a:pt x="791845" y="142172"/>
                  <a:pt x="792480" y="142172"/>
                  <a:pt x="792480" y="142172"/>
                </a:cubicBezTo>
                <a:cubicBezTo>
                  <a:pt x="799465" y="142172"/>
                  <a:pt x="810895" y="141537"/>
                  <a:pt x="824230" y="141537"/>
                </a:cubicBezTo>
                <a:cubicBezTo>
                  <a:pt x="824865" y="141537"/>
                  <a:pt x="824865" y="141537"/>
                  <a:pt x="825500" y="141537"/>
                </a:cubicBezTo>
                <a:cubicBezTo>
                  <a:pt x="825500" y="141537"/>
                  <a:pt x="826135" y="142172"/>
                  <a:pt x="826135" y="142172"/>
                </a:cubicBezTo>
                <a:cubicBezTo>
                  <a:pt x="826135" y="142172"/>
                  <a:pt x="826135" y="142807"/>
                  <a:pt x="826135" y="143442"/>
                </a:cubicBezTo>
                <a:cubicBezTo>
                  <a:pt x="826135" y="144077"/>
                  <a:pt x="826135" y="144077"/>
                  <a:pt x="825500" y="144712"/>
                </a:cubicBezTo>
                <a:cubicBezTo>
                  <a:pt x="821690" y="149792"/>
                  <a:pt x="817880" y="154872"/>
                  <a:pt x="814070" y="159952"/>
                </a:cubicBezTo>
                <a:cubicBezTo>
                  <a:pt x="782320" y="199957"/>
                  <a:pt x="755015" y="221547"/>
                  <a:pt x="738505" y="221547"/>
                </a:cubicBezTo>
                <a:cubicBezTo>
                  <a:pt x="721995" y="221547"/>
                  <a:pt x="727710" y="191067"/>
                  <a:pt x="758190" y="147252"/>
                </a:cubicBezTo>
                <a:cubicBezTo>
                  <a:pt x="758190" y="147252"/>
                  <a:pt x="758190" y="146617"/>
                  <a:pt x="758190" y="146617"/>
                </a:cubicBezTo>
                <a:cubicBezTo>
                  <a:pt x="758190" y="146617"/>
                  <a:pt x="758190" y="145982"/>
                  <a:pt x="758190" y="145982"/>
                </a:cubicBezTo>
                <a:cubicBezTo>
                  <a:pt x="758190" y="145982"/>
                  <a:pt x="757555" y="145347"/>
                  <a:pt x="757555" y="145347"/>
                </a:cubicBezTo>
                <a:cubicBezTo>
                  <a:pt x="757555" y="145347"/>
                  <a:pt x="756920" y="145347"/>
                  <a:pt x="756920" y="145347"/>
                </a:cubicBezTo>
                <a:cubicBezTo>
                  <a:pt x="748665" y="145347"/>
                  <a:pt x="739775" y="145347"/>
                  <a:pt x="732155" y="145347"/>
                </a:cubicBezTo>
                <a:cubicBezTo>
                  <a:pt x="731520" y="145347"/>
                  <a:pt x="730885" y="145347"/>
                  <a:pt x="730250" y="145982"/>
                </a:cubicBezTo>
                <a:cubicBezTo>
                  <a:pt x="729615" y="145982"/>
                  <a:pt x="728980" y="146617"/>
                  <a:pt x="728980" y="147252"/>
                </a:cubicBezTo>
                <a:cubicBezTo>
                  <a:pt x="694690" y="193607"/>
                  <a:pt x="673100" y="217102"/>
                  <a:pt x="658495" y="217102"/>
                </a:cubicBezTo>
                <a:cubicBezTo>
                  <a:pt x="654685" y="217102"/>
                  <a:pt x="651510" y="214562"/>
                  <a:pt x="651510" y="208212"/>
                </a:cubicBezTo>
                <a:cubicBezTo>
                  <a:pt x="651510" y="196147"/>
                  <a:pt x="658495" y="180272"/>
                  <a:pt x="681355" y="149157"/>
                </a:cubicBezTo>
                <a:cubicBezTo>
                  <a:pt x="681355" y="149157"/>
                  <a:pt x="681355" y="148522"/>
                  <a:pt x="681355" y="148522"/>
                </a:cubicBezTo>
                <a:cubicBezTo>
                  <a:pt x="681355" y="148522"/>
                  <a:pt x="681355" y="147887"/>
                  <a:pt x="681355" y="147887"/>
                </a:cubicBezTo>
                <a:cubicBezTo>
                  <a:pt x="681355" y="147887"/>
                  <a:pt x="681355" y="147252"/>
                  <a:pt x="680720" y="147252"/>
                </a:cubicBezTo>
                <a:cubicBezTo>
                  <a:pt x="680720" y="147252"/>
                  <a:pt x="680085" y="147252"/>
                  <a:pt x="680085" y="147252"/>
                </a:cubicBezTo>
                <a:cubicBezTo>
                  <a:pt x="675005" y="145982"/>
                  <a:pt x="669290" y="143442"/>
                  <a:pt x="664845" y="141537"/>
                </a:cubicBezTo>
                <a:cubicBezTo>
                  <a:pt x="664210" y="140902"/>
                  <a:pt x="662940" y="140902"/>
                  <a:pt x="662305" y="141537"/>
                </a:cubicBezTo>
                <a:cubicBezTo>
                  <a:pt x="621665" y="152967"/>
                  <a:pt x="588010" y="149792"/>
                  <a:pt x="574675" y="135187"/>
                </a:cubicBezTo>
                <a:cubicBezTo>
                  <a:pt x="574040" y="134552"/>
                  <a:pt x="574040" y="134552"/>
                  <a:pt x="573405" y="134552"/>
                </a:cubicBezTo>
                <a:cubicBezTo>
                  <a:pt x="572770" y="134552"/>
                  <a:pt x="572135" y="134552"/>
                  <a:pt x="572135" y="135187"/>
                </a:cubicBezTo>
                <a:cubicBezTo>
                  <a:pt x="570865" y="136457"/>
                  <a:pt x="568960" y="137727"/>
                  <a:pt x="567690" y="139632"/>
                </a:cubicBezTo>
                <a:cubicBezTo>
                  <a:pt x="567690" y="139632"/>
                  <a:pt x="567055" y="140267"/>
                  <a:pt x="567055" y="140267"/>
                </a:cubicBezTo>
                <a:cubicBezTo>
                  <a:pt x="566420" y="140267"/>
                  <a:pt x="566420" y="140267"/>
                  <a:pt x="565785" y="140267"/>
                </a:cubicBezTo>
                <a:cubicBezTo>
                  <a:pt x="563880" y="140267"/>
                  <a:pt x="561975" y="139632"/>
                  <a:pt x="560070" y="139632"/>
                </a:cubicBezTo>
                <a:cubicBezTo>
                  <a:pt x="531495" y="139632"/>
                  <a:pt x="499745" y="164397"/>
                  <a:pt x="484505" y="194242"/>
                </a:cubicBezTo>
                <a:cubicBezTo>
                  <a:pt x="427355" y="239962"/>
                  <a:pt x="404495" y="224722"/>
                  <a:pt x="404495" y="208847"/>
                </a:cubicBezTo>
                <a:cubicBezTo>
                  <a:pt x="404495" y="172017"/>
                  <a:pt x="456565" y="149157"/>
                  <a:pt x="474345" y="160587"/>
                </a:cubicBezTo>
                <a:cubicBezTo>
                  <a:pt x="474345" y="160587"/>
                  <a:pt x="474980" y="160587"/>
                  <a:pt x="474980" y="160587"/>
                </a:cubicBezTo>
                <a:cubicBezTo>
                  <a:pt x="474980" y="160587"/>
                  <a:pt x="475615" y="160587"/>
                  <a:pt x="475615" y="160587"/>
                </a:cubicBezTo>
                <a:cubicBezTo>
                  <a:pt x="475615" y="160587"/>
                  <a:pt x="476250" y="160587"/>
                  <a:pt x="476250" y="159952"/>
                </a:cubicBezTo>
                <a:cubicBezTo>
                  <a:pt x="476250" y="159952"/>
                  <a:pt x="476885" y="159317"/>
                  <a:pt x="476885" y="159317"/>
                </a:cubicBezTo>
                <a:lnTo>
                  <a:pt x="485140" y="142807"/>
                </a:lnTo>
                <a:cubicBezTo>
                  <a:pt x="485140" y="142807"/>
                  <a:pt x="485140" y="142172"/>
                  <a:pt x="485140" y="142172"/>
                </a:cubicBezTo>
                <a:cubicBezTo>
                  <a:pt x="485140" y="141537"/>
                  <a:pt x="485140" y="141537"/>
                  <a:pt x="485140" y="141537"/>
                </a:cubicBezTo>
                <a:cubicBezTo>
                  <a:pt x="485140" y="141537"/>
                  <a:pt x="484505" y="140902"/>
                  <a:pt x="484505" y="140902"/>
                </a:cubicBezTo>
                <a:cubicBezTo>
                  <a:pt x="484505" y="140902"/>
                  <a:pt x="483870" y="140902"/>
                  <a:pt x="483870" y="140267"/>
                </a:cubicBezTo>
                <a:cubicBezTo>
                  <a:pt x="448310" y="135187"/>
                  <a:pt x="391795" y="138997"/>
                  <a:pt x="331470" y="145982"/>
                </a:cubicBezTo>
                <a:cubicBezTo>
                  <a:pt x="330835" y="145982"/>
                  <a:pt x="330200" y="145982"/>
                  <a:pt x="330200" y="145982"/>
                </a:cubicBezTo>
                <a:cubicBezTo>
                  <a:pt x="329565" y="145982"/>
                  <a:pt x="329565" y="145347"/>
                  <a:pt x="328930" y="145347"/>
                </a:cubicBezTo>
                <a:cubicBezTo>
                  <a:pt x="312420" y="130107"/>
                  <a:pt x="287655" y="119947"/>
                  <a:pt x="271780" y="112962"/>
                </a:cubicBezTo>
                <a:cubicBezTo>
                  <a:pt x="241935" y="99627"/>
                  <a:pt x="210185" y="89467"/>
                  <a:pt x="210185" y="72957"/>
                </a:cubicBezTo>
                <a:cubicBezTo>
                  <a:pt x="210185" y="45652"/>
                  <a:pt x="324485" y="23427"/>
                  <a:pt x="403225" y="31047"/>
                </a:cubicBezTo>
                <a:cubicBezTo>
                  <a:pt x="403860" y="31047"/>
                  <a:pt x="403860" y="31047"/>
                  <a:pt x="404495" y="31047"/>
                </a:cubicBezTo>
                <a:cubicBezTo>
                  <a:pt x="405130" y="31047"/>
                  <a:pt x="405130" y="30412"/>
                  <a:pt x="405130" y="29777"/>
                </a:cubicBezTo>
                <a:lnTo>
                  <a:pt x="411480" y="8187"/>
                </a:lnTo>
                <a:cubicBezTo>
                  <a:pt x="411480" y="8187"/>
                  <a:pt x="411480" y="7552"/>
                  <a:pt x="411480" y="7552"/>
                </a:cubicBezTo>
                <a:cubicBezTo>
                  <a:pt x="411480" y="7552"/>
                  <a:pt x="411480" y="6917"/>
                  <a:pt x="411480" y="6917"/>
                </a:cubicBezTo>
                <a:cubicBezTo>
                  <a:pt x="411480" y="6917"/>
                  <a:pt x="411480" y="6917"/>
                  <a:pt x="410845" y="6282"/>
                </a:cubicBezTo>
                <a:cubicBezTo>
                  <a:pt x="410845" y="6282"/>
                  <a:pt x="410210" y="6282"/>
                  <a:pt x="410210" y="6282"/>
                </a:cubicBezTo>
                <a:cubicBezTo>
                  <a:pt x="316865" y="-12768"/>
                  <a:pt x="141605" y="12632"/>
                  <a:pt x="141605" y="67242"/>
                </a:cubicBezTo>
                <a:cubicBezTo>
                  <a:pt x="141605" y="95182"/>
                  <a:pt x="179070" y="115502"/>
                  <a:pt x="216535" y="129472"/>
                </a:cubicBezTo>
                <a:cubicBezTo>
                  <a:pt x="240665" y="138362"/>
                  <a:pt x="256540" y="145347"/>
                  <a:pt x="267335" y="152332"/>
                </a:cubicBezTo>
                <a:cubicBezTo>
                  <a:pt x="267335" y="152332"/>
                  <a:pt x="267970" y="152967"/>
                  <a:pt x="267970" y="152967"/>
                </a:cubicBezTo>
                <a:cubicBezTo>
                  <a:pt x="267970" y="153602"/>
                  <a:pt x="267970" y="153602"/>
                  <a:pt x="267970" y="154237"/>
                </a:cubicBezTo>
                <a:cubicBezTo>
                  <a:pt x="267970" y="154872"/>
                  <a:pt x="267970" y="154872"/>
                  <a:pt x="267335" y="154872"/>
                </a:cubicBezTo>
                <a:cubicBezTo>
                  <a:pt x="267335" y="154872"/>
                  <a:pt x="266700" y="155507"/>
                  <a:pt x="266700" y="155507"/>
                </a:cubicBezTo>
                <a:cubicBezTo>
                  <a:pt x="255905" y="156777"/>
                  <a:pt x="245110" y="158682"/>
                  <a:pt x="234950" y="159952"/>
                </a:cubicBezTo>
                <a:cubicBezTo>
                  <a:pt x="86360" y="182177"/>
                  <a:pt x="0" y="229802"/>
                  <a:pt x="0" y="239962"/>
                </a:cubicBezTo>
                <a:cubicBezTo>
                  <a:pt x="0" y="251392"/>
                  <a:pt x="58420" y="279332"/>
                  <a:pt x="150495" y="279332"/>
                </a:cubicBezTo>
                <a:cubicBezTo>
                  <a:pt x="255270" y="279332"/>
                  <a:pt x="347345" y="243137"/>
                  <a:pt x="346710" y="182177"/>
                </a:cubicBezTo>
                <a:cubicBezTo>
                  <a:pt x="346710" y="177732"/>
                  <a:pt x="346075" y="173287"/>
                  <a:pt x="344805" y="168842"/>
                </a:cubicBezTo>
                <a:cubicBezTo>
                  <a:pt x="344805" y="168842"/>
                  <a:pt x="344805" y="168842"/>
                  <a:pt x="344805" y="168207"/>
                </a:cubicBezTo>
                <a:cubicBezTo>
                  <a:pt x="344805" y="168207"/>
                  <a:pt x="344805" y="168207"/>
                  <a:pt x="344805" y="167572"/>
                </a:cubicBezTo>
                <a:cubicBezTo>
                  <a:pt x="344805" y="167572"/>
                  <a:pt x="344805" y="167572"/>
                  <a:pt x="344805" y="167572"/>
                </a:cubicBezTo>
                <a:cubicBezTo>
                  <a:pt x="344805" y="167572"/>
                  <a:pt x="344805" y="167572"/>
                  <a:pt x="345440" y="167572"/>
                </a:cubicBezTo>
                <a:cubicBezTo>
                  <a:pt x="365125" y="164397"/>
                  <a:pt x="382905" y="161857"/>
                  <a:pt x="398145" y="161222"/>
                </a:cubicBezTo>
                <a:cubicBezTo>
                  <a:pt x="398145" y="161222"/>
                  <a:pt x="398780" y="161222"/>
                  <a:pt x="398780" y="161222"/>
                </a:cubicBezTo>
                <a:cubicBezTo>
                  <a:pt x="398780" y="161222"/>
                  <a:pt x="399415" y="161857"/>
                  <a:pt x="399415" y="161857"/>
                </a:cubicBezTo>
                <a:cubicBezTo>
                  <a:pt x="399415" y="161857"/>
                  <a:pt x="399415" y="162492"/>
                  <a:pt x="399415" y="162492"/>
                </a:cubicBezTo>
                <a:cubicBezTo>
                  <a:pt x="399415" y="162492"/>
                  <a:pt x="399415" y="163127"/>
                  <a:pt x="398780" y="163127"/>
                </a:cubicBezTo>
                <a:cubicBezTo>
                  <a:pt x="367030" y="184082"/>
                  <a:pt x="355600" y="206307"/>
                  <a:pt x="355600" y="231707"/>
                </a:cubicBezTo>
                <a:cubicBezTo>
                  <a:pt x="355600" y="250757"/>
                  <a:pt x="368935" y="267267"/>
                  <a:pt x="393700" y="267267"/>
                </a:cubicBezTo>
                <a:cubicBezTo>
                  <a:pt x="416560" y="267267"/>
                  <a:pt x="445135" y="255202"/>
                  <a:pt x="474980" y="227897"/>
                </a:cubicBezTo>
                <a:cubicBezTo>
                  <a:pt x="474980" y="227897"/>
                  <a:pt x="474980" y="227897"/>
                  <a:pt x="475615" y="227897"/>
                </a:cubicBezTo>
                <a:cubicBezTo>
                  <a:pt x="475615" y="227897"/>
                  <a:pt x="476250" y="227897"/>
                  <a:pt x="476250" y="227897"/>
                </a:cubicBezTo>
                <a:cubicBezTo>
                  <a:pt x="476250" y="227897"/>
                  <a:pt x="476250" y="227897"/>
                  <a:pt x="476885" y="228532"/>
                </a:cubicBezTo>
                <a:cubicBezTo>
                  <a:pt x="476885" y="228532"/>
                  <a:pt x="476885" y="229167"/>
                  <a:pt x="476885" y="229167"/>
                </a:cubicBezTo>
                <a:cubicBezTo>
                  <a:pt x="476250" y="252027"/>
                  <a:pt x="494665" y="265362"/>
                  <a:pt x="513715" y="265362"/>
                </a:cubicBezTo>
                <a:cubicBezTo>
                  <a:pt x="562610" y="265362"/>
                  <a:pt x="594995" y="208847"/>
                  <a:pt x="594995" y="181542"/>
                </a:cubicBezTo>
                <a:cubicBezTo>
                  <a:pt x="594995" y="180272"/>
                  <a:pt x="594995" y="179002"/>
                  <a:pt x="594995" y="177732"/>
                </a:cubicBezTo>
                <a:cubicBezTo>
                  <a:pt x="594995" y="177732"/>
                  <a:pt x="594995" y="177097"/>
                  <a:pt x="594995" y="177097"/>
                </a:cubicBezTo>
                <a:cubicBezTo>
                  <a:pt x="594995" y="177097"/>
                  <a:pt x="594995" y="176462"/>
                  <a:pt x="595630" y="176462"/>
                </a:cubicBezTo>
                <a:cubicBezTo>
                  <a:pt x="595630" y="176462"/>
                  <a:pt x="596265" y="175827"/>
                  <a:pt x="596265" y="175827"/>
                </a:cubicBezTo>
                <a:cubicBezTo>
                  <a:pt x="596265" y="175827"/>
                  <a:pt x="596900" y="175827"/>
                  <a:pt x="596900" y="175827"/>
                </a:cubicBezTo>
                <a:cubicBezTo>
                  <a:pt x="610235" y="175192"/>
                  <a:pt x="622935" y="173287"/>
                  <a:pt x="635635" y="169477"/>
                </a:cubicBezTo>
                <a:cubicBezTo>
                  <a:pt x="636270" y="169477"/>
                  <a:pt x="636270" y="169477"/>
                  <a:pt x="636905" y="169477"/>
                </a:cubicBezTo>
                <a:cubicBezTo>
                  <a:pt x="637540" y="169477"/>
                  <a:pt x="637540" y="170112"/>
                  <a:pt x="637540" y="170112"/>
                </a:cubicBezTo>
                <a:cubicBezTo>
                  <a:pt x="637540" y="170112"/>
                  <a:pt x="638175" y="170747"/>
                  <a:pt x="638175" y="171382"/>
                </a:cubicBezTo>
                <a:cubicBezTo>
                  <a:pt x="638175" y="172017"/>
                  <a:pt x="638175" y="172017"/>
                  <a:pt x="637540" y="172652"/>
                </a:cubicBezTo>
                <a:cubicBezTo>
                  <a:pt x="617220" y="199957"/>
                  <a:pt x="609600" y="221547"/>
                  <a:pt x="608965" y="237422"/>
                </a:cubicBezTo>
                <a:cubicBezTo>
                  <a:pt x="608965" y="255202"/>
                  <a:pt x="619125" y="264727"/>
                  <a:pt x="633095" y="264727"/>
                </a:cubicBezTo>
                <a:cubicBezTo>
                  <a:pt x="650240" y="264727"/>
                  <a:pt x="667385" y="255837"/>
                  <a:pt x="692150" y="231072"/>
                </a:cubicBezTo>
                <a:cubicBezTo>
                  <a:pt x="692150" y="231072"/>
                  <a:pt x="692785" y="230437"/>
                  <a:pt x="693420" y="230437"/>
                </a:cubicBezTo>
                <a:cubicBezTo>
                  <a:pt x="694055" y="230437"/>
                  <a:pt x="694055" y="230437"/>
                  <a:pt x="694690" y="230437"/>
                </a:cubicBezTo>
                <a:cubicBezTo>
                  <a:pt x="695325" y="230437"/>
                  <a:pt x="695325" y="231072"/>
                  <a:pt x="695960" y="231072"/>
                </a:cubicBezTo>
                <a:cubicBezTo>
                  <a:pt x="695960" y="231707"/>
                  <a:pt x="696595" y="231707"/>
                  <a:pt x="696595" y="232342"/>
                </a:cubicBezTo>
                <a:cubicBezTo>
                  <a:pt x="695960" y="251392"/>
                  <a:pt x="709295" y="263457"/>
                  <a:pt x="725170" y="263457"/>
                </a:cubicBezTo>
                <a:cubicBezTo>
                  <a:pt x="743585" y="263457"/>
                  <a:pt x="765810" y="252662"/>
                  <a:pt x="802640" y="212657"/>
                </a:cubicBezTo>
                <a:cubicBezTo>
                  <a:pt x="802640" y="212657"/>
                  <a:pt x="803275" y="212657"/>
                  <a:pt x="803275" y="212657"/>
                </a:cubicBezTo>
                <a:cubicBezTo>
                  <a:pt x="803275" y="212657"/>
                  <a:pt x="803910" y="212657"/>
                  <a:pt x="803910" y="212657"/>
                </a:cubicBezTo>
                <a:cubicBezTo>
                  <a:pt x="803910" y="212657"/>
                  <a:pt x="804545" y="212657"/>
                  <a:pt x="804545" y="213292"/>
                </a:cubicBezTo>
                <a:cubicBezTo>
                  <a:pt x="804545" y="213292"/>
                  <a:pt x="804545" y="213927"/>
                  <a:pt x="804545" y="213927"/>
                </a:cubicBezTo>
                <a:cubicBezTo>
                  <a:pt x="797560" y="255202"/>
                  <a:pt x="826770" y="265997"/>
                  <a:pt x="850900" y="265997"/>
                </a:cubicBezTo>
                <a:cubicBezTo>
                  <a:pt x="887095" y="265997"/>
                  <a:pt x="935355" y="248217"/>
                  <a:pt x="966470" y="227897"/>
                </a:cubicBezTo>
                <a:cubicBezTo>
                  <a:pt x="967105" y="227262"/>
                  <a:pt x="967740" y="226627"/>
                  <a:pt x="967740" y="225992"/>
                </a:cubicBezTo>
                <a:cubicBezTo>
                  <a:pt x="969010" y="220277"/>
                  <a:pt x="970915" y="212657"/>
                  <a:pt x="972820" y="206307"/>
                </a:cubicBezTo>
                <a:cubicBezTo>
                  <a:pt x="972820" y="206307"/>
                  <a:pt x="972820" y="205672"/>
                  <a:pt x="972820" y="205672"/>
                </a:cubicBezTo>
                <a:cubicBezTo>
                  <a:pt x="972820" y="205672"/>
                  <a:pt x="972820" y="205037"/>
                  <a:pt x="972185" y="205037"/>
                </a:cubicBezTo>
                <a:cubicBezTo>
                  <a:pt x="972185" y="205037"/>
                  <a:pt x="971550" y="205037"/>
                  <a:pt x="971550" y="205037"/>
                </a:cubicBezTo>
                <a:cubicBezTo>
                  <a:pt x="971550" y="205037"/>
                  <a:pt x="970915" y="205037"/>
                  <a:pt x="970915" y="205037"/>
                </a:cubicBezTo>
                <a:cubicBezTo>
                  <a:pt x="927100" y="217737"/>
                  <a:pt x="900430" y="223452"/>
                  <a:pt x="874395" y="223452"/>
                </a:cubicBezTo>
                <a:close/>
              </a:path>
            </a:pathLst>
          </a:custGeom>
          <a:solidFill>
            <a:srgbClr val="002733"/>
          </a:solidFill>
          <a:ln w="6350" cap="flat">
            <a:noFill/>
            <a:prstDash val="solid"/>
            <a:miter/>
          </a:ln>
        </p:spPr>
        <p:txBody>
          <a:bodyPr rtlCol="0" anchor="ctr"/>
          <a:lstStyle/>
          <a:p>
            <a:endParaRPr lang="en-GB"/>
          </a:p>
        </p:txBody>
      </p:sp>
      <p:pic>
        <p:nvPicPr>
          <p:cNvPr id="8" name="Graphic 7">
            <a:extLst>
              <a:ext uri="{FF2B5EF4-FFF2-40B4-BE49-F238E27FC236}">
                <a16:creationId xmlns:a16="http://schemas.microsoft.com/office/drawing/2014/main" id="{9B8B7E97-C597-0664-A64F-4BEE00BA10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996092" y="3050112"/>
            <a:ext cx="550452" cy="736884"/>
          </a:xfrm>
          <a:prstGeom prst="rect">
            <a:avLst/>
          </a:prstGeom>
        </p:spPr>
      </p:pic>
    </p:spTree>
    <p:extLst>
      <p:ext uri="{BB962C8B-B14F-4D97-AF65-F5344CB8AC3E}">
        <p14:creationId xmlns:p14="http://schemas.microsoft.com/office/powerpoint/2010/main" val="161859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inal slide Deep Space Blue">
    <p:bg>
      <p:bgPr>
        <a:solidFill>
          <a:schemeClr val="bg2"/>
        </a:solidFill>
        <a:effectLst/>
      </p:bgPr>
    </p:bg>
    <p:spTree>
      <p:nvGrpSpPr>
        <p:cNvPr id="1" name=""/>
        <p:cNvGrpSpPr/>
        <p:nvPr/>
      </p:nvGrpSpPr>
      <p:grpSpPr>
        <a:xfrm>
          <a:off x="0" y="0"/>
          <a:ext cx="0" cy="0"/>
          <a:chOff x="0" y="0"/>
          <a:chExt cx="0" cy="0"/>
        </a:xfrm>
      </p:grpSpPr>
      <p:sp>
        <p:nvSpPr>
          <p:cNvPr id="7" name="Graphic 6">
            <a:extLst>
              <a:ext uri="{FF2B5EF4-FFF2-40B4-BE49-F238E27FC236}">
                <a16:creationId xmlns:a16="http://schemas.microsoft.com/office/drawing/2014/main" id="{55D32AC2-2455-4D56-3440-7C9BA8B7F247}"/>
              </a:ext>
            </a:extLst>
          </p:cNvPr>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endParaRPr lang="en-GB"/>
          </a:p>
        </p:txBody>
      </p:sp>
      <p:sp>
        <p:nvSpPr>
          <p:cNvPr id="8" name="Graphic 7">
            <a:extLst>
              <a:ext uri="{FF2B5EF4-FFF2-40B4-BE49-F238E27FC236}">
                <a16:creationId xmlns:a16="http://schemas.microsoft.com/office/drawing/2014/main" id="{A0634080-C889-7D14-C351-8FC2414B17B4}"/>
              </a:ext>
            </a:extLst>
          </p:cNvPr>
          <p:cNvSpPr/>
          <p:nvPr userDrawn="1"/>
        </p:nvSpPr>
        <p:spPr bwMode="inv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a:gsLst>
              <a:gs pos="37000">
                <a:srgbClr val="183F49">
                  <a:alpha val="23000"/>
                </a:srgbClr>
              </a:gs>
              <a:gs pos="24000">
                <a:srgbClr val="0D323D">
                  <a:alpha val="0"/>
                </a:srgbClr>
              </a:gs>
              <a:gs pos="53000">
                <a:srgbClr val="224B55">
                  <a:alpha val="60000"/>
                </a:srgbClr>
              </a:gs>
              <a:gs pos="72000">
                <a:srgbClr val="7E989F">
                  <a:alpha val="45000"/>
                </a:srgbClr>
              </a:gs>
              <a:gs pos="100000">
                <a:srgbClr val="7E989F"/>
              </a:gs>
            </a:gsLst>
            <a:lin ang="18000000" scaled="0"/>
          </a:gradFill>
          <a:ln w="3175" cap="flat">
            <a:noFill/>
            <a:prstDash val="solid"/>
            <a:miter/>
          </a:ln>
          <a:effectLst>
            <a:softEdge rad="0"/>
          </a:effectLst>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auto">
          <a:xfrm>
            <a:off x="407988" y="1177189"/>
            <a:ext cx="6120000" cy="1828193"/>
          </a:xfrm>
        </p:spPr>
        <p:txBody>
          <a:bodyPr wrap="square" anchor="b">
            <a:spAutoFit/>
          </a:bodyPr>
          <a:lstStyle>
            <a:lvl1pPr algn="l">
              <a:defRPr sz="4400">
                <a:solidFill>
                  <a:srgbClr val="C2FE06"/>
                </a:solidFill>
              </a:defRPr>
            </a:lvl1pPr>
          </a:lstStyle>
          <a:p>
            <a:r>
              <a:rPr lang="en-US" noProof="0"/>
              <a:t>Final message in </a:t>
            </a:r>
            <a:br>
              <a:rPr lang="en-US" noProof="0"/>
            </a:br>
            <a:r>
              <a:rPr lang="en-US" noProof="0"/>
              <a:t>The Group Head Light 44pt, Electric Neon</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auto">
          <a:xfrm>
            <a:off x="407036" y="3226587"/>
            <a:ext cx="6120000"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Contact Details</a:t>
            </a:r>
          </a:p>
        </p:txBody>
      </p:sp>
      <p:sp>
        <p:nvSpPr>
          <p:cNvPr id="30" name="Datumsplatzhalter 29">
            <a:extLst>
              <a:ext uri="{FF2B5EF4-FFF2-40B4-BE49-F238E27FC236}">
                <a16:creationId xmlns:a16="http://schemas.microsoft.com/office/drawing/2014/main" id="{7BAC9C67-E2A9-F40C-A076-73D55ED36A14}"/>
              </a:ext>
            </a:extLst>
          </p:cNvPr>
          <p:cNvSpPr>
            <a:spLocks noGrp="1"/>
          </p:cNvSpPr>
          <p:nvPr userDrawn="1">
            <p:ph type="dt" sz="half" idx="15"/>
          </p:nvPr>
        </p:nvSpPr>
        <p:spPr bwMode="auto"/>
        <p:txBody>
          <a:bodyPr/>
          <a:lstStyle>
            <a:lvl1pPr>
              <a:defRPr>
                <a:solidFill>
                  <a:schemeClr val="accent4"/>
                </a:solidFill>
              </a:defRPr>
            </a:lvl1pPr>
          </a:lstStyle>
          <a:p>
            <a:r>
              <a:rPr lang="en-GB" noProof="0"/>
              <a:t>19.07.2023</a:t>
            </a:r>
            <a:endParaRPr lang="en-US" noProof="0"/>
          </a:p>
        </p:txBody>
      </p:sp>
      <p:sp>
        <p:nvSpPr>
          <p:cNvPr id="31" name="Fußzeilenplatzhalter 30">
            <a:extLst>
              <a:ext uri="{FF2B5EF4-FFF2-40B4-BE49-F238E27FC236}">
                <a16:creationId xmlns:a16="http://schemas.microsoft.com/office/drawing/2014/main" id="{23235CD4-3F56-2640-0F79-7EA108D40DF2}"/>
              </a:ext>
            </a:extLst>
          </p:cNvPr>
          <p:cNvSpPr>
            <a:spLocks noGrp="1"/>
          </p:cNvSpPr>
          <p:nvPr userDrawn="1">
            <p:ph type="ftr" sz="quarter" idx="16"/>
          </p:nvPr>
        </p:nvSpPr>
        <p:spPr bwMode="auto"/>
        <p:txBody>
          <a:bodyPr/>
          <a:lstStyle>
            <a:lvl1pPr>
              <a:defRPr>
                <a:solidFill>
                  <a:schemeClr val="accent4"/>
                </a:solidFill>
              </a:defRPr>
            </a:lvl1pPr>
          </a:lstStyle>
          <a:p>
            <a:r>
              <a:rPr lang="en-US" noProof="0"/>
              <a:t>Department K-OE  |  Presentation title  |  CSD-class</a:t>
            </a:r>
          </a:p>
        </p:txBody>
      </p:sp>
      <p:sp>
        <p:nvSpPr>
          <p:cNvPr id="32" name="Foliennummernplatzhalter 31">
            <a:extLst>
              <a:ext uri="{FF2B5EF4-FFF2-40B4-BE49-F238E27FC236}">
                <a16:creationId xmlns:a16="http://schemas.microsoft.com/office/drawing/2014/main" id="{D8E3033D-E7AC-0F85-D590-F57F667BA00B}"/>
              </a:ext>
            </a:extLst>
          </p:cNvPr>
          <p:cNvSpPr>
            <a:spLocks noGrp="1"/>
          </p:cNvSpPr>
          <p:nvPr userDrawn="1">
            <p:ph type="sldNum" sz="quarter" idx="17"/>
          </p:nvPr>
        </p:nvSpPr>
        <p:spPr bwMode="auto">
          <a:xfrm>
            <a:off x="11426400" y="6580800"/>
            <a:ext cx="360000" cy="126000"/>
          </a:xfrm>
        </p:spPr>
        <p:txBody>
          <a:bodyPr/>
          <a:lstStyle>
            <a:lvl1pPr>
              <a:defRPr>
                <a:solidFill>
                  <a:schemeClr val="accent4"/>
                </a:solidFill>
              </a:defRPr>
            </a:lvl1pPr>
          </a:lstStyle>
          <a:p>
            <a:fld id="{53C98C43-8B83-4748-BA0D-B0C90A16569F}" type="slidenum">
              <a:rPr lang="en-US" noProof="0" smtClean="0"/>
              <a:pPr/>
              <a:t>‹Nr.›</a:t>
            </a:fld>
            <a:endParaRPr lang="en-US" noProof="0"/>
          </a:p>
        </p:txBody>
      </p:sp>
      <p:pic>
        <p:nvPicPr>
          <p:cNvPr id="4" name="Picture 3" descr="A black background with white text&#10;&#10;Description automatically generated with low confidence">
            <a:extLst>
              <a:ext uri="{FF2B5EF4-FFF2-40B4-BE49-F238E27FC236}">
                <a16:creationId xmlns:a16="http://schemas.microsoft.com/office/drawing/2014/main" id="{CB8A2DB9-6B9F-4511-38FC-246E1F85D63F}"/>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2018998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with gradient 2">
    <p:bg>
      <p:bgRef idx="1001">
        <a:schemeClr val="bg1"/>
      </p:bgRef>
    </p:bg>
    <p:spTree>
      <p:nvGrpSpPr>
        <p:cNvPr id="1" name=""/>
        <p:cNvGrpSpPr/>
        <p:nvPr/>
      </p:nvGrpSpPr>
      <p:grpSpPr>
        <a:xfrm>
          <a:off x="0" y="0"/>
          <a:ext cx="0" cy="0"/>
          <a:chOff x="0" y="0"/>
          <a:chExt cx="0" cy="0"/>
        </a:xfrm>
      </p:grpSpPr>
      <p:sp>
        <p:nvSpPr>
          <p:cNvPr id="4" name="Graphic 6">
            <a:extLst>
              <a:ext uri="{FF2B5EF4-FFF2-40B4-BE49-F238E27FC236}">
                <a16:creationId xmlns:a16="http://schemas.microsoft.com/office/drawing/2014/main" id="{F7DA5AF8-1EE0-01C0-F7D3-B10CA67711FD}"/>
              </a:ext>
            </a:extLst>
          </p:cNvPr>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pPr lvl="0"/>
            <a:endParaRPr lang="en-GB"/>
          </a:p>
        </p:txBody>
      </p:sp>
      <p:sp>
        <p:nvSpPr>
          <p:cNvPr id="8" name="Graphic 7">
            <a:extLst>
              <a:ext uri="{FF2B5EF4-FFF2-40B4-BE49-F238E27FC236}">
                <a16:creationId xmlns:a16="http://schemas.microsoft.com/office/drawing/2014/main" id="{CC87900E-E88F-538D-A37D-3DCB177D3904}"/>
              </a:ext>
            </a:extLst>
          </p:cNvPr>
          <p:cNvSpPr/>
          <p:nvPr userDrawn="1"/>
        </p:nvSpPr>
        <p:spPr bwMode="inv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7000">
                <a:srgbClr val="005552">
                  <a:alpha val="11448"/>
                </a:srgbClr>
              </a:gs>
              <a:gs pos="27000">
                <a:srgbClr val="002733">
                  <a:alpha val="7000"/>
                </a:srgbClr>
              </a:gs>
              <a:gs pos="62000">
                <a:srgbClr val="00806F">
                  <a:alpha val="39000"/>
                </a:srgbClr>
              </a:gs>
              <a:gs pos="94000">
                <a:srgbClr val="00806F"/>
              </a:gs>
            </a:gsLst>
            <a:lin ang="17400000" scaled="0"/>
            <a:tileRect/>
          </a:gradFill>
          <a:ln w="3175" cap="flat">
            <a:noFill/>
            <a:prstDash val="solid"/>
            <a:miter/>
          </a:ln>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1EC15C59-2F88-1F82-DB77-F38DF6280DFA}"/>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
        <p:nvSpPr>
          <p:cNvPr id="9" name="Rectangle 8">
            <a:extLst>
              <a:ext uri="{FF2B5EF4-FFF2-40B4-BE49-F238E27FC236}">
                <a16:creationId xmlns:a16="http://schemas.microsoft.com/office/drawing/2014/main" id="{1E197138-9533-E31D-9506-F679CAEFD23D}"/>
              </a:ext>
            </a:extLst>
          </p:cNvPr>
          <p:cNvSpPr/>
          <p:nvPr userDrawn="1"/>
        </p:nvSpPr>
        <p:spPr>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spTree>
    <p:extLst>
      <p:ext uri="{BB962C8B-B14F-4D97-AF65-F5344CB8AC3E}">
        <p14:creationId xmlns:p14="http://schemas.microsoft.com/office/powerpoint/2010/main" val="42325272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uide: Shape language overview">
    <p:bg bwMode="gray">
      <p:bgRef idx="1001">
        <a:schemeClr val="bg1"/>
      </p:bgRef>
    </p:bg>
    <p:spTree>
      <p:nvGrpSpPr>
        <p:cNvPr id="1" name=""/>
        <p:cNvGrpSpPr/>
        <p:nvPr/>
      </p:nvGrpSpPr>
      <p:grpSpPr>
        <a:xfrm>
          <a:off x="0" y="0"/>
          <a:ext cx="0" cy="0"/>
          <a:chOff x="0" y="0"/>
          <a:chExt cx="0" cy="0"/>
        </a:xfrm>
      </p:grpSpPr>
      <p:pic>
        <p:nvPicPr>
          <p:cNvPr id="61" name="Grafik 8" descr="Ein Bild, das draußen, Baum, Wasser, Himmel enthält.&#10;&#10;Automatisch generierte Beschreibung">
            <a:extLst>
              <a:ext uri="{FF2B5EF4-FFF2-40B4-BE49-F238E27FC236}">
                <a16:creationId xmlns:a16="http://schemas.microsoft.com/office/drawing/2014/main" id="{2A601521-9C8B-B9EC-52FC-2DF1D9AA6C9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a:off x="9229626" y="1844703"/>
            <a:ext cx="2551176" cy="1571214"/>
          </a:xfrm>
          <a:prstGeom prst="rect">
            <a:avLst/>
          </a:prstGeom>
        </p:spPr>
      </p:pic>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Nr.›</a:t>
            </a:fld>
            <a:endParaRPr lang="en-US" noProof="0"/>
          </a:p>
        </p:txBody>
      </p:sp>
      <p:sp>
        <p:nvSpPr>
          <p:cNvPr id="29" name="Title 5">
            <a:extLst>
              <a:ext uri="{FF2B5EF4-FFF2-40B4-BE49-F238E27FC236}">
                <a16:creationId xmlns:a16="http://schemas.microsoft.com/office/drawing/2014/main" id="{6E8D6B1D-4AE9-E08C-402C-5321BE593034}"/>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noProof="0"/>
              <a:t>Shape language overview</a:t>
            </a:r>
          </a:p>
        </p:txBody>
      </p:sp>
      <p:sp>
        <p:nvSpPr>
          <p:cNvPr id="30" name="Rectangle 29">
            <a:extLst>
              <a:ext uri="{FF2B5EF4-FFF2-40B4-BE49-F238E27FC236}">
                <a16:creationId xmlns:a16="http://schemas.microsoft.com/office/drawing/2014/main" id="{52BD7868-7167-F563-7983-044CC54C6FB9}"/>
              </a:ext>
            </a:extLst>
          </p:cNvPr>
          <p:cNvSpPr/>
          <p:nvPr userDrawn="1"/>
        </p:nvSpPr>
        <p:spPr>
          <a:xfrm>
            <a:off x="411198" y="1844676"/>
            <a:ext cx="2551176" cy="3530584"/>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1" name="Rectangle 30">
            <a:extLst>
              <a:ext uri="{FF2B5EF4-FFF2-40B4-BE49-F238E27FC236}">
                <a16:creationId xmlns:a16="http://schemas.microsoft.com/office/drawing/2014/main" id="{A70A42F2-545A-A5A4-F52D-FE11EAB06A97}"/>
              </a:ext>
            </a:extLst>
          </p:cNvPr>
          <p:cNvSpPr/>
          <p:nvPr userDrawn="1"/>
        </p:nvSpPr>
        <p:spPr>
          <a:xfrm>
            <a:off x="6292288" y="3804019"/>
            <a:ext cx="2551176" cy="15715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pic>
        <p:nvPicPr>
          <p:cNvPr id="32" name="Picture 31">
            <a:extLst>
              <a:ext uri="{FF2B5EF4-FFF2-40B4-BE49-F238E27FC236}">
                <a16:creationId xmlns:a16="http://schemas.microsoft.com/office/drawing/2014/main" id="{D3659DF0-3316-0518-C32A-45874E698852}"/>
              </a:ext>
            </a:extLst>
          </p:cNvPr>
          <p:cNvPicPr>
            <a:picLocks noChangeAspect="1"/>
          </p:cNvPicPr>
          <p:nvPr userDrawn="1"/>
        </p:nvPicPr>
        <p:blipFill>
          <a:blip r:embed="rId3"/>
          <a:stretch>
            <a:fillRect/>
          </a:stretch>
        </p:blipFill>
        <p:spPr>
          <a:xfrm>
            <a:off x="6786409" y="4110373"/>
            <a:ext cx="1562934" cy="969020"/>
          </a:xfrm>
          <a:prstGeom prst="rect">
            <a:avLst/>
          </a:prstGeom>
        </p:spPr>
      </p:pic>
      <p:sp>
        <p:nvSpPr>
          <p:cNvPr id="33" name="Rectangle 32">
            <a:extLst>
              <a:ext uri="{FF2B5EF4-FFF2-40B4-BE49-F238E27FC236}">
                <a16:creationId xmlns:a16="http://schemas.microsoft.com/office/drawing/2014/main" id="{F585616D-49F9-C2FF-EFF4-E2D8D0808284}"/>
              </a:ext>
            </a:extLst>
          </p:cNvPr>
          <p:cNvSpPr/>
          <p:nvPr userDrawn="1"/>
        </p:nvSpPr>
        <p:spPr>
          <a:xfrm>
            <a:off x="3351743" y="1844676"/>
            <a:ext cx="2551176" cy="1571545"/>
          </a:xfrm>
          <a:prstGeom prst="rect">
            <a:avLst/>
          </a:prstGeom>
          <a:solidFill>
            <a:srgbClr val="D9EE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nvGrpSpPr>
          <p:cNvPr id="34" name="Group 33">
            <a:extLst>
              <a:ext uri="{FF2B5EF4-FFF2-40B4-BE49-F238E27FC236}">
                <a16:creationId xmlns:a16="http://schemas.microsoft.com/office/drawing/2014/main" id="{F80A3C10-5F11-6874-3EB7-F26E03359C6E}"/>
              </a:ext>
            </a:extLst>
          </p:cNvPr>
          <p:cNvGrpSpPr/>
          <p:nvPr userDrawn="1"/>
        </p:nvGrpSpPr>
        <p:grpSpPr bwMode="ltGray">
          <a:xfrm>
            <a:off x="3345393" y="1844676"/>
            <a:ext cx="2557526" cy="1571545"/>
            <a:chOff x="0" y="-21795"/>
            <a:chExt cx="12192000" cy="6881128"/>
          </a:xfrm>
        </p:grpSpPr>
        <p:sp>
          <p:nvSpPr>
            <p:cNvPr id="35" name="Rectangle 34">
              <a:extLst>
                <a:ext uri="{FF2B5EF4-FFF2-40B4-BE49-F238E27FC236}">
                  <a16:creationId xmlns:a16="http://schemas.microsoft.com/office/drawing/2014/main" id="{3AB99217-2234-BC05-0EB7-406AE48C9E82}"/>
                </a:ext>
              </a:extLst>
            </p:cNvPr>
            <p:cNvSpPr/>
            <p:nvPr/>
          </p:nvSpPr>
          <p:spPr bwMode="ltGray">
            <a:xfrm>
              <a:off x="0" y="-21795"/>
              <a:ext cx="12192000" cy="6879795"/>
            </a:xfrm>
            <a:prstGeom prst="rect">
              <a:avLst/>
            </a:prstGeom>
            <a:gradFill flip="none" rotWithShape="1">
              <a:gsLst>
                <a:gs pos="82990">
                  <a:srgbClr val="002531"/>
                </a:gs>
                <a:gs pos="65000">
                  <a:srgbClr val="002F3E"/>
                </a:gs>
                <a:gs pos="0">
                  <a:srgbClr val="013241"/>
                </a:gs>
                <a:gs pos="100000">
                  <a:srgbClr val="001C25"/>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6" name="Graphic 7">
              <a:extLst>
                <a:ext uri="{FF2B5EF4-FFF2-40B4-BE49-F238E27FC236}">
                  <a16:creationId xmlns:a16="http://schemas.microsoft.com/office/drawing/2014/main" id="{AA6C3D24-DDB8-3D63-2AFF-EE1C92E9B465}"/>
                </a:ext>
              </a:extLst>
            </p:cNvPr>
            <p:cNvSpPr/>
            <p:nvPr/>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7000">
                  <a:srgbClr val="005552">
                    <a:alpha val="11448"/>
                  </a:srgbClr>
                </a:gs>
                <a:gs pos="27000">
                  <a:srgbClr val="002733">
                    <a:alpha val="7000"/>
                  </a:srgbClr>
                </a:gs>
                <a:gs pos="62000">
                  <a:srgbClr val="00806F">
                    <a:alpha val="39000"/>
                  </a:srgbClr>
                </a:gs>
                <a:gs pos="94000">
                  <a:srgbClr val="00806F"/>
                </a:gs>
              </a:gsLst>
              <a:lin ang="17400000" scaled="0"/>
              <a:tileRect/>
            </a:grad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sp>
        <p:nvSpPr>
          <p:cNvPr id="37" name="Rectangle 36">
            <a:extLst>
              <a:ext uri="{FF2B5EF4-FFF2-40B4-BE49-F238E27FC236}">
                <a16:creationId xmlns:a16="http://schemas.microsoft.com/office/drawing/2014/main" id="{CF4A605B-B3FE-B5AA-D8D9-5AB716C462FF}"/>
              </a:ext>
            </a:extLst>
          </p:cNvPr>
          <p:cNvSpPr/>
          <p:nvPr userDrawn="1"/>
        </p:nvSpPr>
        <p:spPr>
          <a:xfrm>
            <a:off x="6292288" y="1844676"/>
            <a:ext cx="2551176" cy="1571545"/>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8" name="Rectangle 37">
            <a:extLst>
              <a:ext uri="{FF2B5EF4-FFF2-40B4-BE49-F238E27FC236}">
                <a16:creationId xmlns:a16="http://schemas.microsoft.com/office/drawing/2014/main" id="{CBF0F2D2-3F39-9772-5869-D95EC33DDA0F}"/>
              </a:ext>
            </a:extLst>
          </p:cNvPr>
          <p:cNvSpPr/>
          <p:nvPr userDrawn="1"/>
        </p:nvSpPr>
        <p:spPr bwMode="invGray">
          <a:xfrm>
            <a:off x="3351743" y="3804019"/>
            <a:ext cx="2551176" cy="1571545"/>
          </a:xfrm>
          <a:prstGeom prst="rect">
            <a:avLst/>
          </a:prstGeom>
          <a:gradFill flip="none" rotWithShape="1">
            <a:gsLst>
              <a:gs pos="82990">
                <a:srgbClr val="002531"/>
              </a:gs>
              <a:gs pos="65000">
                <a:srgbClr val="002F3E"/>
              </a:gs>
              <a:gs pos="0">
                <a:srgbClr val="013241"/>
              </a:gs>
              <a:gs pos="100000">
                <a:srgbClr val="001C25"/>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9" name="Title 4">
            <a:extLst>
              <a:ext uri="{FF2B5EF4-FFF2-40B4-BE49-F238E27FC236}">
                <a16:creationId xmlns:a16="http://schemas.microsoft.com/office/drawing/2014/main" id="{D0963E26-EC85-7EA4-98F3-CC00F70498D9}"/>
              </a:ext>
            </a:extLst>
          </p:cNvPr>
          <p:cNvSpPr txBox="1">
            <a:spLocks/>
          </p:cNvSpPr>
          <p:nvPr userDrawn="1"/>
        </p:nvSpPr>
        <p:spPr bwMode="gray">
          <a:xfrm>
            <a:off x="589601" y="2459744"/>
            <a:ext cx="2194370" cy="116339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0" normalizeH="0" baseline="0" noProof="0">
                <a:ln>
                  <a:noFill/>
                </a:ln>
                <a:solidFill>
                  <a:srgbClr val="002733"/>
                </a:solidFill>
                <a:effectLst/>
                <a:uLnTx/>
                <a:uFillTx/>
                <a:latin typeface="The Group HEAD Light" panose="00000400000000000000" pitchFamily="2" charset="0"/>
                <a:ea typeface="+mj-ea"/>
                <a:cs typeface="+mj-cs"/>
              </a:rPr>
              <a:t>Headline in The Group Head</a:t>
            </a:r>
          </a:p>
        </p:txBody>
      </p:sp>
      <p:sp>
        <p:nvSpPr>
          <p:cNvPr id="40" name="Title 4">
            <a:extLst>
              <a:ext uri="{FF2B5EF4-FFF2-40B4-BE49-F238E27FC236}">
                <a16:creationId xmlns:a16="http://schemas.microsoft.com/office/drawing/2014/main" id="{2E06B52A-2E2B-653C-14AF-3F67EC6DCAAA}"/>
              </a:ext>
            </a:extLst>
          </p:cNvPr>
          <p:cNvSpPr txBox="1">
            <a:spLocks/>
          </p:cNvSpPr>
          <p:nvPr userDrawn="1"/>
        </p:nvSpPr>
        <p:spPr bwMode="gray">
          <a:xfrm>
            <a:off x="589601" y="3701899"/>
            <a:ext cx="2194370" cy="4985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0" i="0" u="none" strike="noStrike" kern="1200" cap="none" spc="0" normalizeH="0" baseline="0" noProof="0" dirty="0">
                <a:ln>
                  <a:noFill/>
                </a:ln>
                <a:solidFill>
                  <a:srgbClr val="008C82"/>
                </a:solidFill>
                <a:effectLst/>
                <a:uLnTx/>
                <a:uFillTx/>
                <a:latin typeface="The Group TEXT" panose="00000500000000000000" pitchFamily="2" charset="0"/>
                <a:ea typeface="+mj-ea"/>
                <a:cs typeface="+mj-cs"/>
              </a:rPr>
              <a:t>Subheadline in </a:t>
            </a:r>
            <a:br>
              <a:rPr kumimoji="0" lang="en-GB" sz="1800" b="0" i="0" u="none" strike="noStrike" kern="1200" cap="none" spc="0" normalizeH="0" baseline="0" noProof="0" dirty="0">
                <a:ln>
                  <a:noFill/>
                </a:ln>
                <a:solidFill>
                  <a:srgbClr val="008C82"/>
                </a:solidFill>
                <a:effectLst/>
                <a:uLnTx/>
                <a:uFillTx/>
                <a:latin typeface="The Group TEXT" panose="00000500000000000000" pitchFamily="2" charset="0"/>
                <a:ea typeface="+mj-ea"/>
                <a:cs typeface="+mj-cs"/>
              </a:rPr>
            </a:br>
            <a:r>
              <a:rPr kumimoji="0" lang="en-GB" sz="1800" b="0" i="0" u="none" strike="noStrike" kern="1200" cap="none" spc="0" normalizeH="0" baseline="0" noProof="0" dirty="0">
                <a:ln>
                  <a:noFill/>
                </a:ln>
                <a:solidFill>
                  <a:srgbClr val="008C82"/>
                </a:solidFill>
                <a:effectLst/>
                <a:uLnTx/>
                <a:uFillTx/>
                <a:latin typeface="The Group TEXT" panose="00000500000000000000" pitchFamily="2" charset="0"/>
                <a:ea typeface="+mj-ea"/>
                <a:cs typeface="+mj-cs"/>
              </a:rPr>
              <a:t>The Group Text</a:t>
            </a:r>
          </a:p>
        </p:txBody>
      </p:sp>
      <p:sp>
        <p:nvSpPr>
          <p:cNvPr id="41" name="Title 4">
            <a:extLst>
              <a:ext uri="{FF2B5EF4-FFF2-40B4-BE49-F238E27FC236}">
                <a16:creationId xmlns:a16="http://schemas.microsoft.com/office/drawing/2014/main" id="{DFEC640A-976D-314A-8E86-E1B379DE8BEF}"/>
              </a:ext>
            </a:extLst>
          </p:cNvPr>
          <p:cNvSpPr txBox="1">
            <a:spLocks/>
          </p:cNvSpPr>
          <p:nvPr userDrawn="1"/>
        </p:nvSpPr>
        <p:spPr bwMode="gray">
          <a:xfrm>
            <a:off x="589601" y="4533519"/>
            <a:ext cx="2194370" cy="664797"/>
          </a:xfrm>
          <a:prstGeom prst="rect">
            <a:avLst/>
          </a:prstGeom>
        </p:spPr>
        <p:txBody>
          <a:bodyPr vert="horz" wrap="square" lIns="0" tIns="0" rIns="0" bIns="0" rtlCol="0" anchor="b"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Lorem ipsum dolor sit amet, </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Consectetuer adipiscing elit,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sed diam nonummy nibh.</a:t>
            </a:r>
          </a:p>
        </p:txBody>
      </p:sp>
      <p:sp>
        <p:nvSpPr>
          <p:cNvPr id="42" name="Title 4">
            <a:extLst>
              <a:ext uri="{FF2B5EF4-FFF2-40B4-BE49-F238E27FC236}">
                <a16:creationId xmlns:a16="http://schemas.microsoft.com/office/drawing/2014/main" id="{EE188949-87A2-DB1C-1355-6A46ACDE8A9F}"/>
              </a:ext>
            </a:extLst>
          </p:cNvPr>
          <p:cNvSpPr txBox="1">
            <a:spLocks/>
          </p:cNvSpPr>
          <p:nvPr userDrawn="1"/>
        </p:nvSpPr>
        <p:spPr bwMode="black">
          <a:xfrm>
            <a:off x="3526971" y="3972533"/>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Graphical elements</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3" name="Title 4">
            <a:extLst>
              <a:ext uri="{FF2B5EF4-FFF2-40B4-BE49-F238E27FC236}">
                <a16:creationId xmlns:a16="http://schemas.microsoft.com/office/drawing/2014/main" id="{8B0BF495-8206-F877-1EB7-ACA67C3EBA12}"/>
              </a:ext>
            </a:extLst>
          </p:cNvPr>
          <p:cNvSpPr txBox="1">
            <a:spLocks/>
          </p:cNvSpPr>
          <p:nvPr userDrawn="1"/>
        </p:nvSpPr>
        <p:spPr bwMode="black">
          <a:xfrm>
            <a:off x="352697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Gradient</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4" name="Title 4">
            <a:extLst>
              <a:ext uri="{FF2B5EF4-FFF2-40B4-BE49-F238E27FC236}">
                <a16:creationId xmlns:a16="http://schemas.microsoft.com/office/drawing/2014/main" id="{6E11D89B-6057-0828-8BE7-91E998EF5CFF}"/>
              </a:ext>
            </a:extLst>
          </p:cNvPr>
          <p:cNvSpPr txBox="1">
            <a:spLocks/>
          </p:cNvSpPr>
          <p:nvPr userDrawn="1"/>
        </p:nvSpPr>
        <p:spPr bwMode="gray">
          <a:xfrm>
            <a:off x="58960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Typography</a:t>
            </a: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p:txBody>
      </p:sp>
      <p:sp>
        <p:nvSpPr>
          <p:cNvPr id="45" name="Title 4">
            <a:extLst>
              <a:ext uri="{FF2B5EF4-FFF2-40B4-BE49-F238E27FC236}">
                <a16:creationId xmlns:a16="http://schemas.microsoft.com/office/drawing/2014/main" id="{966B0435-2041-468F-9846-EEA6B2899D20}"/>
              </a:ext>
            </a:extLst>
          </p:cNvPr>
          <p:cNvSpPr txBox="1">
            <a:spLocks/>
          </p:cNvSpPr>
          <p:nvPr userDrawn="1"/>
        </p:nvSpPr>
        <p:spPr bwMode="gray">
          <a:xfrm>
            <a:off x="6470691" y="3972533"/>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Chart</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6" name="Title 4">
            <a:extLst>
              <a:ext uri="{FF2B5EF4-FFF2-40B4-BE49-F238E27FC236}">
                <a16:creationId xmlns:a16="http://schemas.microsoft.com/office/drawing/2014/main" id="{37ABB19C-B435-7698-81D3-755E2FE5BF91}"/>
              </a:ext>
            </a:extLst>
          </p:cNvPr>
          <p:cNvSpPr txBox="1">
            <a:spLocks/>
          </p:cNvSpPr>
          <p:nvPr userDrawn="1"/>
        </p:nvSpPr>
        <p:spPr bwMode="black">
          <a:xfrm>
            <a:off x="9408029"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Photography</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7" name="Title 4">
            <a:extLst>
              <a:ext uri="{FF2B5EF4-FFF2-40B4-BE49-F238E27FC236}">
                <a16:creationId xmlns:a16="http://schemas.microsoft.com/office/drawing/2014/main" id="{C350496C-5C1B-706C-B899-8EBD856862D3}"/>
              </a:ext>
            </a:extLst>
          </p:cNvPr>
          <p:cNvSpPr txBox="1">
            <a:spLocks/>
          </p:cNvSpPr>
          <p:nvPr userDrawn="1"/>
        </p:nvSpPr>
        <p:spPr bwMode="black">
          <a:xfrm>
            <a:off x="647069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Iconography</a:t>
            </a: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p:txBody>
      </p:sp>
      <p:cxnSp>
        <p:nvCxnSpPr>
          <p:cNvPr id="48" name="Straight Connector 47">
            <a:extLst>
              <a:ext uri="{FF2B5EF4-FFF2-40B4-BE49-F238E27FC236}">
                <a16:creationId xmlns:a16="http://schemas.microsoft.com/office/drawing/2014/main" id="{B4A95E01-03F1-5448-ADFA-FFC96BD66EC0}"/>
              </a:ext>
            </a:extLst>
          </p:cNvPr>
          <p:cNvCxnSpPr>
            <a:cxnSpLocks/>
          </p:cNvCxnSpPr>
          <p:nvPr userDrawn="1"/>
        </p:nvCxnSpPr>
        <p:spPr>
          <a:xfrm>
            <a:off x="3526971" y="4517866"/>
            <a:ext cx="2194370" cy="0"/>
          </a:xfrm>
          <a:prstGeom prst="line">
            <a:avLst/>
          </a:prstGeom>
          <a:ln w="9525">
            <a:solidFill>
              <a:schemeClr val="accent2"/>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597A03F-3889-709B-1A70-1116235E2654}"/>
              </a:ext>
            </a:extLst>
          </p:cNvPr>
          <p:cNvCxnSpPr>
            <a:cxnSpLocks/>
          </p:cNvCxnSpPr>
          <p:nvPr userDrawn="1"/>
        </p:nvCxnSpPr>
        <p:spPr>
          <a:xfrm>
            <a:off x="3526971" y="4624753"/>
            <a:ext cx="2194370" cy="0"/>
          </a:xfrm>
          <a:prstGeom prst="line">
            <a:avLst/>
          </a:prstGeom>
          <a:ln w="9525">
            <a:solidFill>
              <a:srgbClr val="99A9AD"/>
            </a:solidFill>
            <a:prstDash val="sysDot"/>
            <a:tailEnd type="none" w="med" len="sm"/>
          </a:ln>
        </p:spPr>
        <p:style>
          <a:lnRef idx="1">
            <a:schemeClr val="accent1"/>
          </a:lnRef>
          <a:fillRef idx="0">
            <a:schemeClr val="accent1"/>
          </a:fillRef>
          <a:effectRef idx="0">
            <a:schemeClr val="accent1"/>
          </a:effectRef>
          <a:fontRef idx="minor">
            <a:schemeClr val="tx1"/>
          </a:fontRef>
        </p:style>
      </p:cxnSp>
      <p:sp>
        <p:nvSpPr>
          <p:cNvPr id="50" name="Title 4">
            <a:extLst>
              <a:ext uri="{FF2B5EF4-FFF2-40B4-BE49-F238E27FC236}">
                <a16:creationId xmlns:a16="http://schemas.microsoft.com/office/drawing/2014/main" id="{1425760F-CE8F-9DE8-2C1E-54083789D925}"/>
              </a:ext>
            </a:extLst>
          </p:cNvPr>
          <p:cNvSpPr txBox="1">
            <a:spLocks/>
          </p:cNvSpPr>
          <p:nvPr userDrawn="1"/>
        </p:nvSpPr>
        <p:spPr bwMode="black">
          <a:xfrm>
            <a:off x="3526971" y="4313985"/>
            <a:ext cx="2194370" cy="124650"/>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9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Arrow and separator lines at 0.75pt</a:t>
            </a:r>
          </a:p>
        </p:txBody>
      </p:sp>
      <p:cxnSp>
        <p:nvCxnSpPr>
          <p:cNvPr id="51" name="Straight Connector 50">
            <a:extLst>
              <a:ext uri="{FF2B5EF4-FFF2-40B4-BE49-F238E27FC236}">
                <a16:creationId xmlns:a16="http://schemas.microsoft.com/office/drawing/2014/main" id="{C32A3D18-9278-F596-34E5-BDB62241D45E}"/>
              </a:ext>
            </a:extLst>
          </p:cNvPr>
          <p:cNvCxnSpPr>
            <a:cxnSpLocks/>
          </p:cNvCxnSpPr>
          <p:nvPr userDrawn="1"/>
        </p:nvCxnSpPr>
        <p:spPr>
          <a:xfrm>
            <a:off x="3526971" y="5030995"/>
            <a:ext cx="2194370" cy="0"/>
          </a:xfrm>
          <a:prstGeom prst="line">
            <a:avLst/>
          </a:prstGeom>
          <a:ln w="19050">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5727491-B182-5083-92EC-2BE1EF6E2820}"/>
              </a:ext>
            </a:extLst>
          </p:cNvPr>
          <p:cNvCxnSpPr>
            <a:cxnSpLocks/>
          </p:cNvCxnSpPr>
          <p:nvPr userDrawn="1"/>
        </p:nvCxnSpPr>
        <p:spPr>
          <a:xfrm>
            <a:off x="3526971" y="5137882"/>
            <a:ext cx="2194370" cy="0"/>
          </a:xfrm>
          <a:prstGeom prst="line">
            <a:avLst/>
          </a:prstGeom>
          <a:ln w="19050">
            <a:solidFill>
              <a:schemeClr val="bg1"/>
            </a:solidFill>
            <a:prstDash val="solid"/>
            <a:tailEnd type="none" w="med" len="sm"/>
          </a:ln>
        </p:spPr>
        <p:style>
          <a:lnRef idx="1">
            <a:schemeClr val="accent1"/>
          </a:lnRef>
          <a:fillRef idx="0">
            <a:schemeClr val="accent1"/>
          </a:fillRef>
          <a:effectRef idx="0">
            <a:schemeClr val="accent1"/>
          </a:effectRef>
          <a:fontRef idx="minor">
            <a:schemeClr val="tx1"/>
          </a:fontRef>
        </p:style>
      </p:cxnSp>
      <p:sp>
        <p:nvSpPr>
          <p:cNvPr id="53" name="Title 4">
            <a:extLst>
              <a:ext uri="{FF2B5EF4-FFF2-40B4-BE49-F238E27FC236}">
                <a16:creationId xmlns:a16="http://schemas.microsoft.com/office/drawing/2014/main" id="{C0E98A30-619E-9BD7-0285-5693AF0EB85E}"/>
              </a:ext>
            </a:extLst>
          </p:cNvPr>
          <p:cNvSpPr txBox="1">
            <a:spLocks/>
          </p:cNvSpPr>
          <p:nvPr userDrawn="1"/>
        </p:nvSpPr>
        <p:spPr bwMode="black">
          <a:xfrm>
            <a:off x="3526971" y="4827114"/>
            <a:ext cx="2194370" cy="124650"/>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9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Emphasis line at 1.5pt</a:t>
            </a:r>
          </a:p>
        </p:txBody>
      </p:sp>
      <p:sp>
        <p:nvSpPr>
          <p:cNvPr id="54" name="Oval 53">
            <a:extLst>
              <a:ext uri="{FF2B5EF4-FFF2-40B4-BE49-F238E27FC236}">
                <a16:creationId xmlns:a16="http://schemas.microsoft.com/office/drawing/2014/main" id="{2AAD88FE-2BDA-68C1-CE53-83C783D96778}"/>
              </a:ext>
            </a:extLst>
          </p:cNvPr>
          <p:cNvSpPr/>
          <p:nvPr userDrawn="1"/>
        </p:nvSpPr>
        <p:spPr>
          <a:xfrm>
            <a:off x="2805695" y="5218581"/>
            <a:ext cx="313358" cy="31335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55" name="Title 4">
            <a:extLst>
              <a:ext uri="{FF2B5EF4-FFF2-40B4-BE49-F238E27FC236}">
                <a16:creationId xmlns:a16="http://schemas.microsoft.com/office/drawing/2014/main" id="{4CE8BCD0-2A21-D0BD-FB68-8EA79CDDCDE6}"/>
              </a:ext>
            </a:extLst>
          </p:cNvPr>
          <p:cNvSpPr txBox="1">
            <a:spLocks/>
          </p:cNvSpPr>
          <p:nvPr userDrawn="1"/>
        </p:nvSpPr>
        <p:spPr bwMode="gray">
          <a:xfrm>
            <a:off x="2760627" y="5800104"/>
            <a:ext cx="1870560" cy="4985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Use sharp corners for </a:t>
            </a:r>
            <a:b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b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text boxes and image placeholders.</a:t>
            </a:r>
          </a:p>
        </p:txBody>
      </p:sp>
      <p:sp>
        <p:nvSpPr>
          <p:cNvPr id="56" name="Oval 55">
            <a:extLst>
              <a:ext uri="{FF2B5EF4-FFF2-40B4-BE49-F238E27FC236}">
                <a16:creationId xmlns:a16="http://schemas.microsoft.com/office/drawing/2014/main" id="{CA4B3775-76DD-6015-0F05-FAF515D72100}"/>
              </a:ext>
            </a:extLst>
          </p:cNvPr>
          <p:cNvSpPr/>
          <p:nvPr userDrawn="1"/>
        </p:nvSpPr>
        <p:spPr>
          <a:xfrm>
            <a:off x="3203996" y="5218581"/>
            <a:ext cx="313358" cy="31335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cxnSp>
        <p:nvCxnSpPr>
          <p:cNvPr id="57" name="Straight Connector 56">
            <a:extLst>
              <a:ext uri="{FF2B5EF4-FFF2-40B4-BE49-F238E27FC236}">
                <a16:creationId xmlns:a16="http://schemas.microsoft.com/office/drawing/2014/main" id="{F296D72B-CE70-F39B-4B2C-ECA4C98CFC76}"/>
              </a:ext>
            </a:extLst>
          </p:cNvPr>
          <p:cNvCxnSpPr>
            <a:cxnSpLocks/>
            <a:stCxn id="54" idx="4"/>
          </p:cNvCxnSpPr>
          <p:nvPr userDrawn="1"/>
        </p:nvCxnSpPr>
        <p:spPr>
          <a:xfrm>
            <a:off x="2962374" y="5531939"/>
            <a:ext cx="0" cy="231423"/>
          </a:xfrm>
          <a:prstGeom prst="lin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a:extLst>
              <a:ext uri="{FF2B5EF4-FFF2-40B4-BE49-F238E27FC236}">
                <a16:creationId xmlns:a16="http://schemas.microsoft.com/office/drawing/2014/main" id="{F2333257-A010-E64C-A4D4-4C99E5A77602}"/>
              </a:ext>
            </a:extLst>
          </p:cNvPr>
          <p:cNvCxnSpPr>
            <a:cxnSpLocks/>
          </p:cNvCxnSpPr>
          <p:nvPr userDrawn="1"/>
        </p:nvCxnSpPr>
        <p:spPr>
          <a:xfrm>
            <a:off x="3358805" y="5531939"/>
            <a:ext cx="0" cy="231423"/>
          </a:xfrm>
          <a:prstGeom prst="lin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60" name="Textplatzhalter 5">
            <a:extLst>
              <a:ext uri="{FF2B5EF4-FFF2-40B4-BE49-F238E27FC236}">
                <a16:creationId xmlns:a16="http://schemas.microsoft.com/office/drawing/2014/main" id="{5F7CCBF4-2771-039E-EB9A-5C5F34535FBB}"/>
              </a:ext>
            </a:extLst>
          </p:cNvPr>
          <p:cNvSpPr txBox="1">
            <a:spLocks/>
          </p:cNvSpPr>
          <p:nvPr userDrawn="1"/>
        </p:nvSpPr>
        <p:spPr bwMode="black">
          <a:xfrm>
            <a:off x="9229625" y="3804019"/>
            <a:ext cx="2754393" cy="1571241"/>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sz="1200" b="0" dirty="0"/>
              <a:t>Relevant assets available on the Volkswagen Group CD portal.</a:t>
            </a:r>
            <a:endParaRPr lang="en-GB" sz="1200" dirty="0"/>
          </a:p>
          <a:p>
            <a:endParaRPr lang="en-GB" sz="1200" dirty="0"/>
          </a:p>
        </p:txBody>
      </p:sp>
      <p:pic>
        <p:nvPicPr>
          <p:cNvPr id="21" name="Graphic 20">
            <a:extLst>
              <a:ext uri="{FF2B5EF4-FFF2-40B4-BE49-F238E27FC236}">
                <a16:creationId xmlns:a16="http://schemas.microsoft.com/office/drawing/2014/main" id="{A1F94645-E436-3C0B-1A6C-4E0E8EF7AD4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714739" y="2563151"/>
            <a:ext cx="213644" cy="323806"/>
          </a:xfrm>
          <a:prstGeom prst="rect">
            <a:avLst/>
          </a:prstGeom>
        </p:spPr>
      </p:pic>
      <p:pic>
        <p:nvPicPr>
          <p:cNvPr id="23" name="Graphic 22">
            <a:extLst>
              <a:ext uri="{FF2B5EF4-FFF2-40B4-BE49-F238E27FC236}">
                <a16:creationId xmlns:a16="http://schemas.microsoft.com/office/drawing/2014/main" id="{690F2BF0-FFC9-3EDA-FAF3-981B16CA802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191853" y="2604879"/>
            <a:ext cx="290424" cy="240350"/>
          </a:xfrm>
          <a:prstGeom prst="rect">
            <a:avLst/>
          </a:prstGeom>
        </p:spPr>
      </p:pic>
      <p:pic>
        <p:nvPicPr>
          <p:cNvPr id="25" name="Graphic 24">
            <a:extLst>
              <a:ext uri="{FF2B5EF4-FFF2-40B4-BE49-F238E27FC236}">
                <a16:creationId xmlns:a16="http://schemas.microsoft.com/office/drawing/2014/main" id="{65989594-1F9B-D9E7-DC84-1508ADA28C7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583093" y="2563151"/>
            <a:ext cx="261662" cy="323806"/>
          </a:xfrm>
          <a:prstGeom prst="rect">
            <a:avLst/>
          </a:prstGeom>
        </p:spPr>
      </p:pic>
      <p:pic>
        <p:nvPicPr>
          <p:cNvPr id="62" name="Graphic 61">
            <a:extLst>
              <a:ext uri="{FF2B5EF4-FFF2-40B4-BE49-F238E27FC236}">
                <a16:creationId xmlns:a16="http://schemas.microsoft.com/office/drawing/2014/main" id="{0DBAC87D-090E-BBF7-8DFB-EE5C57D1EB7C}"/>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121868" y="2563151"/>
            <a:ext cx="323806" cy="323806"/>
          </a:xfrm>
          <a:prstGeom prst="rect">
            <a:avLst/>
          </a:prstGeom>
        </p:spPr>
      </p:pic>
    </p:spTree>
    <p:extLst>
      <p:ext uri="{BB962C8B-B14F-4D97-AF65-F5344CB8AC3E}">
        <p14:creationId xmlns:p14="http://schemas.microsoft.com/office/powerpoint/2010/main" val="2912624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Guide: Colour specification">
    <p:bg bwMode="gray">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85FE6DB-54FA-DF8D-DC53-DEAF032CA40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07985" y="1848022"/>
            <a:ext cx="1928339" cy="3392995"/>
          </a:xfrm>
          <a:prstGeom prst="rect">
            <a:avLst/>
          </a:prstGeom>
          <a:ln>
            <a:solidFill>
              <a:schemeClr val="accent4"/>
            </a:solidFill>
          </a:ln>
        </p:spPr>
      </p:pic>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Nr.›</a:t>
            </a:fld>
            <a:endParaRPr lang="en-US" noProof="0"/>
          </a:p>
        </p:txBody>
      </p:sp>
      <p:sp>
        <p:nvSpPr>
          <p:cNvPr id="30" name="Titel 2">
            <a:extLst>
              <a:ext uri="{FF2B5EF4-FFF2-40B4-BE49-F238E27FC236}">
                <a16:creationId xmlns:a16="http://schemas.microsoft.com/office/drawing/2014/main" id="{717DAACF-33E1-2B10-0FD1-7D348AAAD8F9}"/>
              </a:ext>
            </a:extLst>
          </p:cNvPr>
          <p:cNvSpPr txBox="1">
            <a:spLocks/>
          </p:cNvSpPr>
          <p:nvPr userDrawn="1"/>
        </p:nvSpPr>
        <p:spPr bwMode="black">
          <a:xfrm>
            <a:off x="407986" y="5443734"/>
            <a:ext cx="1928339" cy="733881"/>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Please use only Theme</a:t>
            </a:r>
            <a:b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b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and Custom Colours — </a:t>
            </a:r>
            <a:r>
              <a:rPr lang="en-GB" sz="1200" b="0">
                <a:solidFill>
                  <a:schemeClr val="tx2"/>
                </a:solidFill>
                <a:latin typeface="The Group TEXT" panose="00000500000000000000" pitchFamily="2" charset="0"/>
                <a:cs typeface="The Group TEXT" panose="020B0604020202020204" pitchFamily="34" charset="0"/>
              </a:rPr>
              <a:t>do NOT </a:t>
            </a: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use automated tints generated by PowerPoint.</a:t>
            </a:r>
          </a:p>
        </p:txBody>
      </p:sp>
      <p:sp>
        <p:nvSpPr>
          <p:cNvPr id="31" name="Title 5">
            <a:extLst>
              <a:ext uri="{FF2B5EF4-FFF2-40B4-BE49-F238E27FC236}">
                <a16:creationId xmlns:a16="http://schemas.microsoft.com/office/drawing/2014/main" id="{B5A61DCE-58A0-6339-2DF4-2FD6A304C3E2}"/>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noProof="0"/>
              <a:t>Colour specifications </a:t>
            </a:r>
          </a:p>
        </p:txBody>
      </p:sp>
      <p:grpSp>
        <p:nvGrpSpPr>
          <p:cNvPr id="32" name="Group 31">
            <a:extLst>
              <a:ext uri="{FF2B5EF4-FFF2-40B4-BE49-F238E27FC236}">
                <a16:creationId xmlns:a16="http://schemas.microsoft.com/office/drawing/2014/main" id="{BF9B8B4E-CBBC-222F-5707-42CFB68B305F}"/>
              </a:ext>
            </a:extLst>
          </p:cNvPr>
          <p:cNvGrpSpPr/>
          <p:nvPr userDrawn="1"/>
        </p:nvGrpSpPr>
        <p:grpSpPr>
          <a:xfrm>
            <a:off x="421993" y="2418364"/>
            <a:ext cx="1914331" cy="2777040"/>
            <a:chOff x="10651997" y="2418364"/>
            <a:chExt cx="1914331" cy="2777040"/>
          </a:xfrm>
        </p:grpSpPr>
        <p:sp>
          <p:nvSpPr>
            <p:cNvPr id="34" name="Rechteck 111">
              <a:extLst>
                <a:ext uri="{FF2B5EF4-FFF2-40B4-BE49-F238E27FC236}">
                  <a16:creationId xmlns:a16="http://schemas.microsoft.com/office/drawing/2014/main" id="{16352F82-C805-FC50-501A-1B1CC4C3D010}"/>
                </a:ext>
              </a:extLst>
            </p:cNvPr>
            <p:cNvSpPr/>
            <p:nvPr/>
          </p:nvSpPr>
          <p:spPr>
            <a:xfrm>
              <a:off x="10665447" y="2418364"/>
              <a:ext cx="1900881" cy="879277"/>
            </a:xfrm>
            <a:prstGeom prst="rect">
              <a:avLst/>
            </a:prstGeom>
            <a:solidFill>
              <a:schemeClr val="bg2">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6" name="Rechteck 111">
              <a:extLst>
                <a:ext uri="{FF2B5EF4-FFF2-40B4-BE49-F238E27FC236}">
                  <a16:creationId xmlns:a16="http://schemas.microsoft.com/office/drawing/2014/main" id="{E8F8A6CE-A36C-FD0D-52AC-0C333EB7AC58}"/>
                </a:ext>
              </a:extLst>
            </p:cNvPr>
            <p:cNvSpPr/>
            <p:nvPr/>
          </p:nvSpPr>
          <p:spPr>
            <a:xfrm>
              <a:off x="10651997" y="4651237"/>
              <a:ext cx="1900881" cy="544167"/>
            </a:xfrm>
            <a:prstGeom prst="rect">
              <a:avLst/>
            </a:prstGeom>
            <a:solidFill>
              <a:schemeClr val="bg2">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sp>
        <p:nvSpPr>
          <p:cNvPr id="61" name="Rounded Rectangle 63">
            <a:extLst>
              <a:ext uri="{FF2B5EF4-FFF2-40B4-BE49-F238E27FC236}">
                <a16:creationId xmlns:a16="http://schemas.microsoft.com/office/drawing/2014/main" id="{0624B21F-C0BE-B860-55BD-DD8710C7E817}"/>
              </a:ext>
            </a:extLst>
          </p:cNvPr>
          <p:cNvSpPr/>
          <p:nvPr userDrawn="1"/>
        </p:nvSpPr>
        <p:spPr bwMode="gray">
          <a:xfrm>
            <a:off x="3144412" y="3954119"/>
            <a:ext cx="1546344" cy="484188"/>
          </a:xfrm>
          <a:prstGeom prst="rect">
            <a:avLst/>
          </a:prstGeom>
          <a:solidFill>
            <a:srgbClr val="E6736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Coral</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E67364</a:t>
            </a:r>
          </a:p>
        </p:txBody>
      </p:sp>
      <p:sp>
        <p:nvSpPr>
          <p:cNvPr id="62" name="Titel 2">
            <a:extLst>
              <a:ext uri="{FF2B5EF4-FFF2-40B4-BE49-F238E27FC236}">
                <a16:creationId xmlns:a16="http://schemas.microsoft.com/office/drawing/2014/main" id="{749BD228-6B92-E293-A871-22184C20889E}"/>
              </a:ext>
            </a:extLst>
          </p:cNvPr>
          <p:cNvSpPr txBox="1">
            <a:spLocks/>
          </p:cNvSpPr>
          <p:nvPr userDrawn="1"/>
        </p:nvSpPr>
        <p:spPr bwMode="black">
          <a:xfrm>
            <a:off x="3144411" y="3665186"/>
            <a:ext cx="6324143" cy="197164"/>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Secondary palette </a:t>
            </a:r>
            <a:r>
              <a:rPr lang="en-GB" sz="900" b="0">
                <a:solidFill>
                  <a:schemeClr val="tx2"/>
                </a:solidFill>
                <a:latin typeface="The Group TEXT" panose="00000500000000000000" pitchFamily="2" charset="0"/>
                <a:cs typeface="The Group TEXT" panose="020B0604020202020204" pitchFamily="34" charset="0"/>
              </a:rPr>
              <a:t>— these colours can be used to emphasise/highlight data</a:t>
            </a:r>
          </a:p>
        </p:txBody>
      </p:sp>
      <p:sp>
        <p:nvSpPr>
          <p:cNvPr id="63" name="Rounded Rectangle 63">
            <a:extLst>
              <a:ext uri="{FF2B5EF4-FFF2-40B4-BE49-F238E27FC236}">
                <a16:creationId xmlns:a16="http://schemas.microsoft.com/office/drawing/2014/main" id="{923EC2C8-969E-285B-7BE2-93A65E6ECDEF}"/>
              </a:ext>
            </a:extLst>
          </p:cNvPr>
          <p:cNvSpPr/>
          <p:nvPr userDrawn="1"/>
        </p:nvSpPr>
        <p:spPr bwMode="gray">
          <a:xfrm>
            <a:off x="3144412" y="5693958"/>
            <a:ext cx="1546344" cy="484188"/>
          </a:xfrm>
          <a:prstGeom prst="rect">
            <a:avLst/>
          </a:prstGeom>
          <a:solidFill>
            <a:srgbClr val="DA0C1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rgbClr val="FFFFFF"/>
                </a:solidFill>
                <a:effectLst/>
                <a:uLnTx/>
                <a:uFillTx/>
                <a:latin typeface="The Group TEXT" panose="00000500000000000000" pitchFamily="2" charset="0"/>
                <a:ea typeface="+mn-ea"/>
                <a:cs typeface="The Group TEXT" panose="020B0604020202020204" pitchFamily="34" charset="0"/>
              </a:rPr>
              <a:t>Red</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rPr>
              <a:t># DA0C1F</a:t>
            </a:r>
          </a:p>
        </p:txBody>
      </p:sp>
      <p:sp>
        <p:nvSpPr>
          <p:cNvPr id="64" name="Titel 2">
            <a:extLst>
              <a:ext uri="{FF2B5EF4-FFF2-40B4-BE49-F238E27FC236}">
                <a16:creationId xmlns:a16="http://schemas.microsoft.com/office/drawing/2014/main" id="{58502E91-8FDE-DDEC-1E72-AF19F00106A2}"/>
              </a:ext>
            </a:extLst>
          </p:cNvPr>
          <p:cNvSpPr txBox="1">
            <a:spLocks/>
          </p:cNvSpPr>
          <p:nvPr userDrawn="1"/>
        </p:nvSpPr>
        <p:spPr bwMode="black">
          <a:xfrm>
            <a:off x="3144412" y="5405025"/>
            <a:ext cx="4731544" cy="197164"/>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Traffic light system </a:t>
            </a:r>
            <a:r>
              <a:rPr lang="en-GB" sz="900" b="0">
                <a:solidFill>
                  <a:schemeClr val="tx2"/>
                </a:solidFill>
                <a:latin typeface="The Group TEXT" panose="00000500000000000000" pitchFamily="2" charset="0"/>
                <a:cs typeface="The Group TEXT" panose="020B0604020202020204" pitchFamily="34" charset="0"/>
              </a:rPr>
              <a:t>— only for showcasing process</a:t>
            </a:r>
          </a:p>
        </p:txBody>
      </p:sp>
      <p:sp>
        <p:nvSpPr>
          <p:cNvPr id="65" name="Rounded Rectangle 63">
            <a:extLst>
              <a:ext uri="{FF2B5EF4-FFF2-40B4-BE49-F238E27FC236}">
                <a16:creationId xmlns:a16="http://schemas.microsoft.com/office/drawing/2014/main" id="{36E6B0EC-EA0A-8903-63F9-2E8403E3ADE5}"/>
              </a:ext>
            </a:extLst>
          </p:cNvPr>
          <p:cNvSpPr/>
          <p:nvPr userDrawn="1"/>
        </p:nvSpPr>
        <p:spPr bwMode="gray">
          <a:xfrm>
            <a:off x="4737012" y="5693958"/>
            <a:ext cx="1542434" cy="484188"/>
          </a:xfrm>
          <a:prstGeom prst="rect">
            <a:avLst/>
          </a:prstGeom>
          <a:solidFill>
            <a:srgbClr val="FCCD2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Amber</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FCCD22</a:t>
            </a:r>
          </a:p>
        </p:txBody>
      </p:sp>
      <p:sp>
        <p:nvSpPr>
          <p:cNvPr id="66" name="Rounded Rectangle 63">
            <a:extLst>
              <a:ext uri="{FF2B5EF4-FFF2-40B4-BE49-F238E27FC236}">
                <a16:creationId xmlns:a16="http://schemas.microsoft.com/office/drawing/2014/main" id="{3B5930C0-3AB2-2D55-81C6-D11259F8551F}"/>
              </a:ext>
            </a:extLst>
          </p:cNvPr>
          <p:cNvSpPr/>
          <p:nvPr userDrawn="1"/>
        </p:nvSpPr>
        <p:spPr bwMode="gray">
          <a:xfrm>
            <a:off x="4737012" y="3954119"/>
            <a:ext cx="1546344" cy="484188"/>
          </a:xfrm>
          <a:prstGeom prst="rect">
            <a:avLst/>
          </a:prstGeom>
          <a:solidFill>
            <a:srgbClr val="FAAA3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Orange</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FAAA3C</a:t>
            </a:r>
          </a:p>
        </p:txBody>
      </p:sp>
      <p:sp>
        <p:nvSpPr>
          <p:cNvPr id="67" name="Rounded Rectangle 63">
            <a:extLst>
              <a:ext uri="{FF2B5EF4-FFF2-40B4-BE49-F238E27FC236}">
                <a16:creationId xmlns:a16="http://schemas.microsoft.com/office/drawing/2014/main" id="{9FDEAC75-8F2E-EEC4-80EE-20836F60474F}"/>
              </a:ext>
            </a:extLst>
          </p:cNvPr>
          <p:cNvSpPr/>
          <p:nvPr userDrawn="1"/>
        </p:nvSpPr>
        <p:spPr bwMode="gray">
          <a:xfrm>
            <a:off x="6329612" y="3954119"/>
            <a:ext cx="1546344" cy="484188"/>
          </a:xfrm>
          <a:prstGeom prst="rect">
            <a:avLst/>
          </a:prstGeom>
          <a:solidFill>
            <a:srgbClr val="FAD2A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Beige</a:t>
            </a:r>
          </a:p>
          <a:p>
            <a:pPr algn="ctr">
              <a:defRPr/>
            </a:pPr>
            <a:r>
              <a:rPr lang="en-GB" sz="800">
                <a:solidFill>
                  <a:schemeClr val="tx2"/>
                </a:solidFill>
                <a:latin typeface="The Group TEXT" panose="00000500000000000000" pitchFamily="2" charset="0"/>
              </a:rPr>
              <a:t>#FAD2AA</a:t>
            </a:r>
          </a:p>
        </p:txBody>
      </p:sp>
      <p:sp>
        <p:nvSpPr>
          <p:cNvPr id="68" name="Rounded Rectangle 63">
            <a:extLst>
              <a:ext uri="{FF2B5EF4-FFF2-40B4-BE49-F238E27FC236}">
                <a16:creationId xmlns:a16="http://schemas.microsoft.com/office/drawing/2014/main" id="{D3CA50BC-351A-8C3E-A7C1-741197B284F1}"/>
              </a:ext>
            </a:extLst>
          </p:cNvPr>
          <p:cNvSpPr/>
          <p:nvPr userDrawn="1"/>
        </p:nvSpPr>
        <p:spPr bwMode="gray">
          <a:xfrm>
            <a:off x="7922211" y="3954119"/>
            <a:ext cx="1546344" cy="484188"/>
          </a:xfrm>
          <a:prstGeom prst="rect">
            <a:avLst/>
          </a:prstGeom>
          <a:solidFill>
            <a:srgbClr val="8CBE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Blue</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8CBEE6</a:t>
            </a:r>
          </a:p>
        </p:txBody>
      </p:sp>
      <p:sp>
        <p:nvSpPr>
          <p:cNvPr id="69" name="Rounded Rectangle 63">
            <a:extLst>
              <a:ext uri="{FF2B5EF4-FFF2-40B4-BE49-F238E27FC236}">
                <a16:creationId xmlns:a16="http://schemas.microsoft.com/office/drawing/2014/main" id="{6EA74CBC-AB51-2254-5952-09CB5F6386B4}"/>
              </a:ext>
            </a:extLst>
          </p:cNvPr>
          <p:cNvSpPr/>
          <p:nvPr userDrawn="1"/>
        </p:nvSpPr>
        <p:spPr bwMode="gray">
          <a:xfrm>
            <a:off x="3144412" y="4497093"/>
            <a:ext cx="1546344" cy="484188"/>
          </a:xfrm>
          <a:prstGeom prst="rect">
            <a:avLst/>
          </a:prstGeom>
          <a:solidFill>
            <a:srgbClr val="C882B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Violet</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C882BE</a:t>
            </a:r>
          </a:p>
        </p:txBody>
      </p:sp>
      <p:sp>
        <p:nvSpPr>
          <p:cNvPr id="70" name="Rounded Rectangle 63">
            <a:extLst>
              <a:ext uri="{FF2B5EF4-FFF2-40B4-BE49-F238E27FC236}">
                <a16:creationId xmlns:a16="http://schemas.microsoft.com/office/drawing/2014/main" id="{C29E9983-BBB3-885A-B3E4-23774599758B}"/>
              </a:ext>
            </a:extLst>
          </p:cNvPr>
          <p:cNvSpPr/>
          <p:nvPr userDrawn="1"/>
        </p:nvSpPr>
        <p:spPr bwMode="gray">
          <a:xfrm>
            <a:off x="4737012" y="4497093"/>
            <a:ext cx="1546344" cy="484188"/>
          </a:xfrm>
          <a:prstGeom prst="rect">
            <a:avLst/>
          </a:prstGeom>
          <a:solidFill>
            <a:srgbClr val="DCCD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Lavender</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DCCDF0</a:t>
            </a:r>
          </a:p>
        </p:txBody>
      </p:sp>
      <p:sp>
        <p:nvSpPr>
          <p:cNvPr id="71" name="Rounded Rectangle 63">
            <a:extLst>
              <a:ext uri="{FF2B5EF4-FFF2-40B4-BE49-F238E27FC236}">
                <a16:creationId xmlns:a16="http://schemas.microsoft.com/office/drawing/2014/main" id="{1D97EFD6-D71C-A117-7EEB-AD14EFF0B903}"/>
              </a:ext>
            </a:extLst>
          </p:cNvPr>
          <p:cNvSpPr/>
          <p:nvPr userDrawn="1"/>
        </p:nvSpPr>
        <p:spPr bwMode="gray">
          <a:xfrm>
            <a:off x="6333522" y="5693958"/>
            <a:ext cx="1542434" cy="484188"/>
          </a:xfrm>
          <a:prstGeom prst="rect">
            <a:avLst/>
          </a:prstGeom>
          <a:solidFill>
            <a:srgbClr val="64A84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bg1"/>
                </a:solidFill>
                <a:effectLst/>
                <a:uLnTx/>
                <a:uFillTx/>
                <a:latin typeface="The Group TEXT" panose="00000500000000000000" pitchFamily="2" charset="0"/>
                <a:ea typeface="+mn-ea"/>
                <a:cs typeface="The Group TEXT" panose="020B0604020202020204" pitchFamily="34" charset="0"/>
              </a:rPr>
              <a:t>Green</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bg1"/>
                </a:solidFill>
                <a:effectLst/>
                <a:uLnTx/>
                <a:uFillTx/>
                <a:latin typeface="The Group TEXT" panose="00000500000000000000" pitchFamily="2" charset="0"/>
                <a:ea typeface="+mn-ea"/>
                <a:cs typeface="+mn-cs"/>
              </a:rPr>
              <a:t>#C2FE06</a:t>
            </a:r>
          </a:p>
        </p:txBody>
      </p:sp>
      <p:sp>
        <p:nvSpPr>
          <p:cNvPr id="2" name="Rounded Rectangle 63">
            <a:extLst>
              <a:ext uri="{FF2B5EF4-FFF2-40B4-BE49-F238E27FC236}">
                <a16:creationId xmlns:a16="http://schemas.microsoft.com/office/drawing/2014/main" id="{388A551F-CAA2-71DB-CF2A-F08C24CFFB36}"/>
              </a:ext>
            </a:extLst>
          </p:cNvPr>
          <p:cNvSpPr/>
          <p:nvPr userDrawn="1"/>
        </p:nvSpPr>
        <p:spPr bwMode="gray">
          <a:xfrm>
            <a:off x="3144412" y="2287969"/>
            <a:ext cx="1546344" cy="484188"/>
          </a:xfrm>
          <a:prstGeom prst="rect">
            <a:avLst/>
          </a:prstGeom>
          <a:solidFill>
            <a:srgbClr val="00273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rgbClr val="FFFFFF"/>
                </a:solidFill>
                <a:effectLst/>
                <a:uLnTx/>
                <a:uFillTx/>
                <a:latin typeface="The Group TEXT" panose="00000500000000000000" pitchFamily="2" charset="0"/>
                <a:ea typeface="+mn-ea"/>
                <a:cs typeface="The Group TEXT" panose="020B0604020202020204" pitchFamily="34" charset="0"/>
              </a:rPr>
              <a:t>Deep Space Blue</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rPr>
              <a:t>#002733</a:t>
            </a:r>
          </a:p>
        </p:txBody>
      </p:sp>
      <p:sp>
        <p:nvSpPr>
          <p:cNvPr id="8" name="Titel 2">
            <a:extLst>
              <a:ext uri="{FF2B5EF4-FFF2-40B4-BE49-F238E27FC236}">
                <a16:creationId xmlns:a16="http://schemas.microsoft.com/office/drawing/2014/main" id="{A3DF2165-0F54-DE6B-95CE-7EB5A3D77347}"/>
              </a:ext>
            </a:extLst>
          </p:cNvPr>
          <p:cNvSpPr txBox="1">
            <a:spLocks/>
          </p:cNvSpPr>
          <p:nvPr userDrawn="1"/>
        </p:nvSpPr>
        <p:spPr bwMode="black">
          <a:xfrm>
            <a:off x="3144412" y="1840923"/>
            <a:ext cx="1501621" cy="355278"/>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Primary palette</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endParaRPr>
          </a:p>
        </p:txBody>
      </p:sp>
      <p:sp>
        <p:nvSpPr>
          <p:cNvPr id="9" name="Rounded Rectangle 63">
            <a:extLst>
              <a:ext uri="{FF2B5EF4-FFF2-40B4-BE49-F238E27FC236}">
                <a16:creationId xmlns:a16="http://schemas.microsoft.com/office/drawing/2014/main" id="{5DC9490D-89D2-B5F8-0F20-955A7BBBAE96}"/>
              </a:ext>
            </a:extLst>
          </p:cNvPr>
          <p:cNvSpPr/>
          <p:nvPr userDrawn="1"/>
        </p:nvSpPr>
        <p:spPr bwMode="gray">
          <a:xfrm>
            <a:off x="3144412" y="2829561"/>
            <a:ext cx="1546344" cy="484188"/>
          </a:xfrm>
          <a:prstGeom prst="rect">
            <a:avLst/>
          </a:prstGeom>
          <a:solidFill>
            <a:srgbClr val="008C8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bg1"/>
                </a:solidFill>
                <a:effectLst/>
                <a:uLnTx/>
                <a:uFillTx/>
                <a:latin typeface="The Group TEXT" panose="00000500000000000000" pitchFamily="2" charset="0"/>
                <a:ea typeface="+mn-ea"/>
                <a:cs typeface="The Group TEXT" panose="020B0604020202020204" pitchFamily="34" charset="0"/>
              </a:rPr>
              <a:t>Vivid Green</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bg1"/>
                </a:solidFill>
                <a:effectLst/>
                <a:uLnTx/>
                <a:uFillTx/>
                <a:latin typeface="The Group TEXT" panose="00000500000000000000" pitchFamily="2" charset="0"/>
                <a:ea typeface="+mn-ea"/>
                <a:cs typeface="+mn-cs"/>
              </a:rPr>
              <a:t>#008C82</a:t>
            </a:r>
          </a:p>
        </p:txBody>
      </p:sp>
      <p:sp>
        <p:nvSpPr>
          <p:cNvPr id="10" name="Rectangle 9">
            <a:extLst>
              <a:ext uri="{FF2B5EF4-FFF2-40B4-BE49-F238E27FC236}">
                <a16:creationId xmlns:a16="http://schemas.microsoft.com/office/drawing/2014/main" id="{8190BB85-D157-A3E1-0E57-9186B3502C9C}"/>
              </a:ext>
            </a:extLst>
          </p:cNvPr>
          <p:cNvSpPr/>
          <p:nvPr userDrawn="1"/>
        </p:nvSpPr>
        <p:spPr>
          <a:xfrm>
            <a:off x="4737887" y="2287969"/>
            <a:ext cx="484188" cy="484188"/>
          </a:xfrm>
          <a:prstGeom prst="rect">
            <a:avLst/>
          </a:prstGeom>
          <a:solidFill>
            <a:srgbClr val="193D4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90%</a:t>
            </a:r>
          </a:p>
        </p:txBody>
      </p:sp>
      <p:sp>
        <p:nvSpPr>
          <p:cNvPr id="13" name="Rectangle 12">
            <a:extLst>
              <a:ext uri="{FF2B5EF4-FFF2-40B4-BE49-F238E27FC236}">
                <a16:creationId xmlns:a16="http://schemas.microsoft.com/office/drawing/2014/main" id="{6D473FE8-8C66-E36C-3BE4-E686AC2B0215}"/>
              </a:ext>
            </a:extLst>
          </p:cNvPr>
          <p:cNvSpPr/>
          <p:nvPr userDrawn="1"/>
        </p:nvSpPr>
        <p:spPr>
          <a:xfrm>
            <a:off x="5269206" y="2287969"/>
            <a:ext cx="484188" cy="484188"/>
          </a:xfrm>
          <a:prstGeom prst="rect">
            <a:avLst/>
          </a:prstGeom>
          <a:solidFill>
            <a:srgbClr val="667D8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60%</a:t>
            </a:r>
          </a:p>
        </p:txBody>
      </p:sp>
      <p:sp>
        <p:nvSpPr>
          <p:cNvPr id="15" name="Rectangle 14">
            <a:extLst>
              <a:ext uri="{FF2B5EF4-FFF2-40B4-BE49-F238E27FC236}">
                <a16:creationId xmlns:a16="http://schemas.microsoft.com/office/drawing/2014/main" id="{D77E0114-CC9B-1EF5-E2CF-5DE5AB112B2C}"/>
              </a:ext>
            </a:extLst>
          </p:cNvPr>
          <p:cNvSpPr/>
          <p:nvPr userDrawn="1"/>
        </p:nvSpPr>
        <p:spPr>
          <a:xfrm>
            <a:off x="5800525" y="2287969"/>
            <a:ext cx="484188" cy="484188"/>
          </a:xfrm>
          <a:prstGeom prst="rect">
            <a:avLst/>
          </a:prstGeom>
          <a:solidFill>
            <a:srgbClr val="99A9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40%</a:t>
            </a:r>
          </a:p>
        </p:txBody>
      </p:sp>
      <p:sp>
        <p:nvSpPr>
          <p:cNvPr id="17" name="Rectangle 16">
            <a:extLst>
              <a:ext uri="{FF2B5EF4-FFF2-40B4-BE49-F238E27FC236}">
                <a16:creationId xmlns:a16="http://schemas.microsoft.com/office/drawing/2014/main" id="{4DCC8D84-34A1-8CDA-28C0-E7D36F280D44}"/>
              </a:ext>
            </a:extLst>
          </p:cNvPr>
          <p:cNvSpPr/>
          <p:nvPr userDrawn="1"/>
        </p:nvSpPr>
        <p:spPr>
          <a:xfrm>
            <a:off x="6331844" y="2287969"/>
            <a:ext cx="484188" cy="484188"/>
          </a:xfrm>
          <a:prstGeom prst="rect">
            <a:avLst/>
          </a:prstGeom>
          <a:solidFill>
            <a:srgbClr val="CCD4D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20%</a:t>
            </a:r>
          </a:p>
        </p:txBody>
      </p:sp>
      <p:sp>
        <p:nvSpPr>
          <p:cNvPr id="18" name="Rectangle 17">
            <a:extLst>
              <a:ext uri="{FF2B5EF4-FFF2-40B4-BE49-F238E27FC236}">
                <a16:creationId xmlns:a16="http://schemas.microsoft.com/office/drawing/2014/main" id="{7BAFA83F-A0CE-EB03-8E28-63AC62AA20D1}"/>
              </a:ext>
            </a:extLst>
          </p:cNvPr>
          <p:cNvSpPr/>
          <p:nvPr userDrawn="1"/>
        </p:nvSpPr>
        <p:spPr>
          <a:xfrm>
            <a:off x="6863163" y="2287969"/>
            <a:ext cx="484188" cy="484188"/>
          </a:xfrm>
          <a:prstGeom prst="rect">
            <a:avLst/>
          </a:prstGeom>
          <a:solidFill>
            <a:srgbClr val="E5E9E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10%</a:t>
            </a:r>
          </a:p>
        </p:txBody>
      </p:sp>
      <p:sp>
        <p:nvSpPr>
          <p:cNvPr id="19" name="Titel 2">
            <a:extLst>
              <a:ext uri="{FF2B5EF4-FFF2-40B4-BE49-F238E27FC236}">
                <a16:creationId xmlns:a16="http://schemas.microsoft.com/office/drawing/2014/main" id="{8FB02354-4C60-3CDF-3CF2-F6DEC9A462F7}"/>
              </a:ext>
            </a:extLst>
          </p:cNvPr>
          <p:cNvSpPr txBox="1">
            <a:spLocks/>
          </p:cNvSpPr>
          <p:nvPr userDrawn="1"/>
        </p:nvSpPr>
        <p:spPr bwMode="black">
          <a:xfrm>
            <a:off x="4739813" y="1840923"/>
            <a:ext cx="3670176" cy="355278"/>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Tints</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endParaRPr>
          </a:p>
        </p:txBody>
      </p:sp>
      <p:sp>
        <p:nvSpPr>
          <p:cNvPr id="21" name="Rectangle 20">
            <a:extLst>
              <a:ext uri="{FF2B5EF4-FFF2-40B4-BE49-F238E27FC236}">
                <a16:creationId xmlns:a16="http://schemas.microsoft.com/office/drawing/2014/main" id="{3A998984-15F6-9700-5CB6-090D6C71922F}"/>
              </a:ext>
            </a:extLst>
          </p:cNvPr>
          <p:cNvSpPr/>
          <p:nvPr userDrawn="1"/>
        </p:nvSpPr>
        <p:spPr>
          <a:xfrm>
            <a:off x="4737887" y="2823613"/>
            <a:ext cx="484188" cy="484188"/>
          </a:xfrm>
          <a:prstGeom prst="rect">
            <a:avLst/>
          </a:prstGeom>
          <a:solidFill>
            <a:srgbClr val="33A39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80%</a:t>
            </a:r>
          </a:p>
        </p:txBody>
      </p:sp>
      <p:sp>
        <p:nvSpPr>
          <p:cNvPr id="23" name="Rectangle 22">
            <a:extLst>
              <a:ext uri="{FF2B5EF4-FFF2-40B4-BE49-F238E27FC236}">
                <a16:creationId xmlns:a16="http://schemas.microsoft.com/office/drawing/2014/main" id="{322B6DA6-37BF-6227-A704-5EA8550FC4D6}"/>
              </a:ext>
            </a:extLst>
          </p:cNvPr>
          <p:cNvSpPr/>
          <p:nvPr userDrawn="1"/>
        </p:nvSpPr>
        <p:spPr>
          <a:xfrm>
            <a:off x="5269206" y="2823613"/>
            <a:ext cx="484188" cy="484188"/>
          </a:xfrm>
          <a:prstGeom prst="rect">
            <a:avLst/>
          </a:prstGeom>
          <a:solidFill>
            <a:srgbClr val="66BAB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60%</a:t>
            </a:r>
          </a:p>
        </p:txBody>
      </p:sp>
      <p:sp>
        <p:nvSpPr>
          <p:cNvPr id="25" name="Rectangle 24">
            <a:extLst>
              <a:ext uri="{FF2B5EF4-FFF2-40B4-BE49-F238E27FC236}">
                <a16:creationId xmlns:a16="http://schemas.microsoft.com/office/drawing/2014/main" id="{CF0119E8-B0DC-7E89-A7BA-22ECAEA33EBE}"/>
              </a:ext>
            </a:extLst>
          </p:cNvPr>
          <p:cNvSpPr/>
          <p:nvPr userDrawn="1"/>
        </p:nvSpPr>
        <p:spPr>
          <a:xfrm>
            <a:off x="5800525" y="2823613"/>
            <a:ext cx="484188" cy="484188"/>
          </a:xfrm>
          <a:prstGeom prst="rect">
            <a:avLst/>
          </a:prstGeom>
          <a:solidFill>
            <a:srgbClr val="99D1C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40%</a:t>
            </a:r>
          </a:p>
        </p:txBody>
      </p:sp>
      <p:sp>
        <p:nvSpPr>
          <p:cNvPr id="27" name="Rectangle 26">
            <a:extLst>
              <a:ext uri="{FF2B5EF4-FFF2-40B4-BE49-F238E27FC236}">
                <a16:creationId xmlns:a16="http://schemas.microsoft.com/office/drawing/2014/main" id="{65175937-9893-0F1C-642E-4A8873392E08}"/>
              </a:ext>
            </a:extLst>
          </p:cNvPr>
          <p:cNvSpPr/>
          <p:nvPr userDrawn="1"/>
        </p:nvSpPr>
        <p:spPr>
          <a:xfrm>
            <a:off x="6331844" y="2823613"/>
            <a:ext cx="484188" cy="484188"/>
          </a:xfrm>
          <a:prstGeom prst="rect">
            <a:avLst/>
          </a:prstGeom>
          <a:solidFill>
            <a:srgbClr val="CCE8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20%</a:t>
            </a:r>
          </a:p>
        </p:txBody>
      </p:sp>
      <p:sp>
        <p:nvSpPr>
          <p:cNvPr id="28" name="Rectangle 27">
            <a:extLst>
              <a:ext uri="{FF2B5EF4-FFF2-40B4-BE49-F238E27FC236}">
                <a16:creationId xmlns:a16="http://schemas.microsoft.com/office/drawing/2014/main" id="{85B36D8B-89DC-3743-1670-F642E0C3A2BA}"/>
              </a:ext>
            </a:extLst>
          </p:cNvPr>
          <p:cNvSpPr/>
          <p:nvPr userDrawn="1"/>
        </p:nvSpPr>
        <p:spPr>
          <a:xfrm>
            <a:off x="6863163" y="2823613"/>
            <a:ext cx="484188" cy="484188"/>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10%</a:t>
            </a:r>
          </a:p>
        </p:txBody>
      </p:sp>
      <p:sp>
        <p:nvSpPr>
          <p:cNvPr id="29" name="Rounded Rectangle 63">
            <a:extLst>
              <a:ext uri="{FF2B5EF4-FFF2-40B4-BE49-F238E27FC236}">
                <a16:creationId xmlns:a16="http://schemas.microsoft.com/office/drawing/2014/main" id="{AD280010-7BD2-25AE-515E-05A31CA6AC32}"/>
              </a:ext>
            </a:extLst>
          </p:cNvPr>
          <p:cNvSpPr/>
          <p:nvPr userDrawn="1"/>
        </p:nvSpPr>
        <p:spPr bwMode="gray">
          <a:xfrm>
            <a:off x="9519754" y="2287969"/>
            <a:ext cx="1546344" cy="484188"/>
          </a:xfrm>
          <a:prstGeom prst="rect">
            <a:avLst/>
          </a:prstGeom>
          <a:solidFill>
            <a:srgbClr val="C2FE0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Electric Neon</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C2FE06</a:t>
            </a:r>
          </a:p>
        </p:txBody>
      </p:sp>
      <p:sp>
        <p:nvSpPr>
          <p:cNvPr id="41" name="Titel 2">
            <a:extLst>
              <a:ext uri="{FF2B5EF4-FFF2-40B4-BE49-F238E27FC236}">
                <a16:creationId xmlns:a16="http://schemas.microsoft.com/office/drawing/2014/main" id="{2B5BEF9F-806A-D068-019C-0ED03F43391F}"/>
              </a:ext>
            </a:extLst>
          </p:cNvPr>
          <p:cNvSpPr txBox="1">
            <a:spLocks/>
          </p:cNvSpPr>
          <p:nvPr userDrawn="1"/>
        </p:nvSpPr>
        <p:spPr bwMode="black">
          <a:xfrm>
            <a:off x="9519755" y="1840923"/>
            <a:ext cx="1546343" cy="355278"/>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Accent</a:t>
            </a:r>
            <a:r>
              <a:rPr lang="en-GB" sz="1400" b="0">
                <a:solidFill>
                  <a:schemeClr val="tx2"/>
                </a:solidFill>
                <a:latin typeface="The Group TEXT" panose="00000500000000000000" pitchFamily="2" charset="0"/>
                <a:cs typeface="The Group TEXT" panose="020B0604020202020204" pitchFamily="34" charset="0"/>
              </a:rPr>
              <a:t> colour </a:t>
            </a:r>
            <a:br>
              <a:rPr lang="en-GB" sz="1400" b="0">
                <a:solidFill>
                  <a:schemeClr val="tx2"/>
                </a:solidFill>
                <a:latin typeface="The Group TEXT" panose="00000500000000000000" pitchFamily="2" charset="0"/>
                <a:cs typeface="The Group TEXT" panose="020B0604020202020204" pitchFamily="34" charset="0"/>
              </a:rPr>
            </a:br>
            <a:r>
              <a:rPr lang="en-GB" sz="900" b="0">
                <a:solidFill>
                  <a:schemeClr val="tx2"/>
                </a:solidFill>
                <a:latin typeface="The Group TEXT" panose="00000500000000000000" pitchFamily="2" charset="0"/>
                <a:cs typeface="The Group TEXT" panose="020B0604020202020204" pitchFamily="34" charset="0"/>
              </a:rPr>
              <a:t>(on dark background only)</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endParaRPr>
          </a:p>
        </p:txBody>
      </p:sp>
    </p:spTree>
    <p:extLst>
      <p:ext uri="{BB962C8B-B14F-4D97-AF65-F5344CB8AC3E}">
        <p14:creationId xmlns:p14="http://schemas.microsoft.com/office/powerpoint/2010/main" val="6943214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ssets: Icons">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886996CF-B599-089B-2395-8F2C934C9842}"/>
              </a:ext>
            </a:extLst>
          </p:cNvPr>
          <p:cNvSpPr/>
          <p:nvPr userDrawn="1"/>
        </p:nvSpPr>
        <p:spPr bwMode="ltGray">
          <a:xfrm>
            <a:off x="6095995" y="2592162"/>
            <a:ext cx="5688008" cy="38610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2" name="Rectangle 111">
            <a:extLst>
              <a:ext uri="{FF2B5EF4-FFF2-40B4-BE49-F238E27FC236}">
                <a16:creationId xmlns:a16="http://schemas.microsoft.com/office/drawing/2014/main" id="{68585614-B86E-A214-724C-16E884E5355D}"/>
              </a:ext>
            </a:extLst>
          </p:cNvPr>
          <p:cNvSpPr/>
          <p:nvPr userDrawn="1"/>
        </p:nvSpPr>
        <p:spPr>
          <a:xfrm>
            <a:off x="6299984"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3" name="Rectangle 112">
            <a:extLst>
              <a:ext uri="{FF2B5EF4-FFF2-40B4-BE49-F238E27FC236}">
                <a16:creationId xmlns:a16="http://schemas.microsoft.com/office/drawing/2014/main" id="{7354F50B-3BA4-C23E-F82E-3F7CE1452ACA}"/>
              </a:ext>
            </a:extLst>
          </p:cNvPr>
          <p:cNvSpPr/>
          <p:nvPr userDrawn="1"/>
        </p:nvSpPr>
        <p:spPr>
          <a:xfrm>
            <a:off x="7701073"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4" name="Rectangle 113">
            <a:extLst>
              <a:ext uri="{FF2B5EF4-FFF2-40B4-BE49-F238E27FC236}">
                <a16:creationId xmlns:a16="http://schemas.microsoft.com/office/drawing/2014/main" id="{68E74FD3-28D9-693A-F349-BAA7A0F771DD}"/>
              </a:ext>
            </a:extLst>
          </p:cNvPr>
          <p:cNvSpPr/>
          <p:nvPr userDrawn="1"/>
        </p:nvSpPr>
        <p:spPr>
          <a:xfrm>
            <a:off x="9102162"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5" name="Rectangle 114">
            <a:extLst>
              <a:ext uri="{FF2B5EF4-FFF2-40B4-BE49-F238E27FC236}">
                <a16:creationId xmlns:a16="http://schemas.microsoft.com/office/drawing/2014/main" id="{9F37C0A9-3D69-3E8E-5D21-0683E0932BB6}"/>
              </a:ext>
            </a:extLst>
          </p:cNvPr>
          <p:cNvSpPr/>
          <p:nvPr userDrawn="1"/>
        </p:nvSpPr>
        <p:spPr>
          <a:xfrm>
            <a:off x="10503251"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6" name="Rectangle 115">
            <a:extLst>
              <a:ext uri="{FF2B5EF4-FFF2-40B4-BE49-F238E27FC236}">
                <a16:creationId xmlns:a16="http://schemas.microsoft.com/office/drawing/2014/main" id="{826D11FA-4A9A-6D7F-1C88-5D23317B0FD2}"/>
              </a:ext>
            </a:extLst>
          </p:cNvPr>
          <p:cNvSpPr/>
          <p:nvPr userDrawn="1"/>
        </p:nvSpPr>
        <p:spPr>
          <a:xfrm>
            <a:off x="6299984"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7" name="Rectangle 116">
            <a:extLst>
              <a:ext uri="{FF2B5EF4-FFF2-40B4-BE49-F238E27FC236}">
                <a16:creationId xmlns:a16="http://schemas.microsoft.com/office/drawing/2014/main" id="{41A8A632-87EC-D191-46A3-FAD78CAFDA34}"/>
              </a:ext>
            </a:extLst>
          </p:cNvPr>
          <p:cNvSpPr/>
          <p:nvPr userDrawn="1"/>
        </p:nvSpPr>
        <p:spPr>
          <a:xfrm>
            <a:off x="7701073"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8" name="Rectangle 117">
            <a:extLst>
              <a:ext uri="{FF2B5EF4-FFF2-40B4-BE49-F238E27FC236}">
                <a16:creationId xmlns:a16="http://schemas.microsoft.com/office/drawing/2014/main" id="{80EB447E-D539-EA80-0454-613C90DE0E42}"/>
              </a:ext>
            </a:extLst>
          </p:cNvPr>
          <p:cNvSpPr/>
          <p:nvPr userDrawn="1"/>
        </p:nvSpPr>
        <p:spPr>
          <a:xfrm>
            <a:off x="9102162"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9" name="Rectangle 118">
            <a:extLst>
              <a:ext uri="{FF2B5EF4-FFF2-40B4-BE49-F238E27FC236}">
                <a16:creationId xmlns:a16="http://schemas.microsoft.com/office/drawing/2014/main" id="{433D92BB-2E09-38D7-6BFF-AFAC274CD9B2}"/>
              </a:ext>
            </a:extLst>
          </p:cNvPr>
          <p:cNvSpPr/>
          <p:nvPr userDrawn="1"/>
        </p:nvSpPr>
        <p:spPr>
          <a:xfrm>
            <a:off x="10503251"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0" name="Rectangle 119">
            <a:extLst>
              <a:ext uri="{FF2B5EF4-FFF2-40B4-BE49-F238E27FC236}">
                <a16:creationId xmlns:a16="http://schemas.microsoft.com/office/drawing/2014/main" id="{7FC469D3-34CB-3E3D-1A57-A1949861427C}"/>
              </a:ext>
            </a:extLst>
          </p:cNvPr>
          <p:cNvSpPr/>
          <p:nvPr userDrawn="1"/>
        </p:nvSpPr>
        <p:spPr>
          <a:xfrm>
            <a:off x="6299984"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1" name="Rectangle 120">
            <a:extLst>
              <a:ext uri="{FF2B5EF4-FFF2-40B4-BE49-F238E27FC236}">
                <a16:creationId xmlns:a16="http://schemas.microsoft.com/office/drawing/2014/main" id="{E53D039F-8E4E-4025-F4D2-6543B12C666D}"/>
              </a:ext>
            </a:extLst>
          </p:cNvPr>
          <p:cNvSpPr/>
          <p:nvPr userDrawn="1"/>
        </p:nvSpPr>
        <p:spPr>
          <a:xfrm>
            <a:off x="7701073"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2" name="Rectangle 121">
            <a:extLst>
              <a:ext uri="{FF2B5EF4-FFF2-40B4-BE49-F238E27FC236}">
                <a16:creationId xmlns:a16="http://schemas.microsoft.com/office/drawing/2014/main" id="{44C12FE3-90AB-0866-4D2B-A1CD086124A1}"/>
              </a:ext>
            </a:extLst>
          </p:cNvPr>
          <p:cNvSpPr/>
          <p:nvPr userDrawn="1"/>
        </p:nvSpPr>
        <p:spPr>
          <a:xfrm>
            <a:off x="9102162"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3" name="Rectangle 122">
            <a:extLst>
              <a:ext uri="{FF2B5EF4-FFF2-40B4-BE49-F238E27FC236}">
                <a16:creationId xmlns:a16="http://schemas.microsoft.com/office/drawing/2014/main" id="{C5CAEF1E-486A-60E6-A2DA-A31E578BDEDC}"/>
              </a:ext>
            </a:extLst>
          </p:cNvPr>
          <p:cNvSpPr/>
          <p:nvPr userDrawn="1"/>
        </p:nvSpPr>
        <p:spPr>
          <a:xfrm>
            <a:off x="10503251"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4" name="Rectangle 123">
            <a:extLst>
              <a:ext uri="{FF2B5EF4-FFF2-40B4-BE49-F238E27FC236}">
                <a16:creationId xmlns:a16="http://schemas.microsoft.com/office/drawing/2014/main" id="{D2988EF2-FC0D-DE5F-D491-07C0122E2D8B}"/>
              </a:ext>
            </a:extLst>
          </p:cNvPr>
          <p:cNvSpPr/>
          <p:nvPr userDrawn="1"/>
        </p:nvSpPr>
        <p:spPr>
          <a:xfrm>
            <a:off x="6299984"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5" name="Rectangle 124">
            <a:extLst>
              <a:ext uri="{FF2B5EF4-FFF2-40B4-BE49-F238E27FC236}">
                <a16:creationId xmlns:a16="http://schemas.microsoft.com/office/drawing/2014/main" id="{82609E43-C72B-278A-489A-D33E1631F5B2}"/>
              </a:ext>
            </a:extLst>
          </p:cNvPr>
          <p:cNvSpPr/>
          <p:nvPr userDrawn="1"/>
        </p:nvSpPr>
        <p:spPr>
          <a:xfrm>
            <a:off x="7701073"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6" name="Rectangle 125">
            <a:extLst>
              <a:ext uri="{FF2B5EF4-FFF2-40B4-BE49-F238E27FC236}">
                <a16:creationId xmlns:a16="http://schemas.microsoft.com/office/drawing/2014/main" id="{F685E6EE-5BE1-2ACB-B490-5C6162CC75B6}"/>
              </a:ext>
            </a:extLst>
          </p:cNvPr>
          <p:cNvSpPr/>
          <p:nvPr userDrawn="1"/>
        </p:nvSpPr>
        <p:spPr>
          <a:xfrm>
            <a:off x="9102162"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7" name="Rectangle 126">
            <a:extLst>
              <a:ext uri="{FF2B5EF4-FFF2-40B4-BE49-F238E27FC236}">
                <a16:creationId xmlns:a16="http://schemas.microsoft.com/office/drawing/2014/main" id="{D47EFB24-B46D-4FA5-53AF-9E9DE3C2016A}"/>
              </a:ext>
            </a:extLst>
          </p:cNvPr>
          <p:cNvSpPr/>
          <p:nvPr userDrawn="1"/>
        </p:nvSpPr>
        <p:spPr>
          <a:xfrm>
            <a:off x="10503251"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9" name="Title 4">
            <a:extLst>
              <a:ext uri="{FF2B5EF4-FFF2-40B4-BE49-F238E27FC236}">
                <a16:creationId xmlns:a16="http://schemas.microsoft.com/office/drawing/2014/main" id="{45306817-371D-B82A-27B8-E9CDBE004F56}"/>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Graphical assets (in master)</a:t>
            </a:r>
          </a:p>
        </p:txBody>
      </p:sp>
      <p:sp>
        <p:nvSpPr>
          <p:cNvPr id="3" name="Date Placeholder 2">
            <a:extLst>
              <a:ext uri="{FF2B5EF4-FFF2-40B4-BE49-F238E27FC236}">
                <a16:creationId xmlns:a16="http://schemas.microsoft.com/office/drawing/2014/main" id="{2225974E-213A-CD8E-31F8-395C4304874F}"/>
              </a:ext>
            </a:extLst>
          </p:cNvPr>
          <p:cNvSpPr>
            <a:spLocks noGrp="1"/>
          </p:cNvSpPr>
          <p:nvPr userDrawn="1">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4194A40C-9FE1-4173-B1B6-B8D78E7FE556}"/>
              </a:ext>
            </a:extLst>
          </p:cNvPr>
          <p:cNvSpPr>
            <a:spLocks noGrp="1"/>
          </p:cNvSpPr>
          <p:nvPr userDrawn="1">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3722B363-E810-8EF5-FFFB-CEADD69EF21E}"/>
              </a:ext>
            </a:extLst>
          </p:cNvPr>
          <p:cNvSpPr>
            <a:spLocks noGrp="1"/>
          </p:cNvSpPr>
          <p:nvPr userDrawn="1">
            <p:ph type="sldNum" sz="quarter" idx="12"/>
          </p:nvPr>
        </p:nvSpPr>
        <p:spPr/>
        <p:txBody>
          <a:bodyPr/>
          <a:lstStyle/>
          <a:p>
            <a:fld id="{53C98C43-8B83-4748-BA0D-B0C90A16569F}" type="slidenum">
              <a:rPr lang="en-GB" smtClean="0"/>
              <a:pPr/>
              <a:t>‹Nr.›</a:t>
            </a:fld>
            <a:endParaRPr lang="en-GB"/>
          </a:p>
        </p:txBody>
      </p:sp>
      <p:sp>
        <p:nvSpPr>
          <p:cNvPr id="2" name="Textplatzhalter 1">
            <a:extLst>
              <a:ext uri="{FF2B5EF4-FFF2-40B4-BE49-F238E27FC236}">
                <a16:creationId xmlns:a16="http://schemas.microsoft.com/office/drawing/2014/main" id="{498F9FF2-A6F6-425D-9509-43B142848DCE}"/>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Icons — with editable colour</a:t>
            </a:r>
          </a:p>
        </p:txBody>
      </p:sp>
      <p:sp>
        <p:nvSpPr>
          <p:cNvPr id="106" name="Content Placeholder 5">
            <a:extLst>
              <a:ext uri="{FF2B5EF4-FFF2-40B4-BE49-F238E27FC236}">
                <a16:creationId xmlns:a16="http://schemas.microsoft.com/office/drawing/2014/main" id="{AE45043C-5CB8-1F34-BA98-86D05EDA21D6}"/>
              </a:ext>
            </a:extLst>
          </p:cNvPr>
          <p:cNvSpPr txBox="1">
            <a:spLocks/>
          </p:cNvSpPr>
          <p:nvPr userDrawn="1"/>
        </p:nvSpPr>
        <p:spPr bwMode="auto">
          <a:xfrm>
            <a:off x="407987" y="1851538"/>
            <a:ext cx="11376021" cy="432195"/>
          </a:xfrm>
          <a:prstGeom prst="rect">
            <a:avLst/>
          </a:prstGeom>
        </p:spPr>
        <p:txBody>
          <a:bodyPr vert="horz" lIns="0" tIns="0" rIns="0" bIns="0" rtlCol="0" anchor="t">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Edit colour: Select icon &gt; Shape fill &gt; Select White for Deep Space Blue background and select Vivid Green for White background. </a:t>
            </a:r>
            <a:b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b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or more, go to </a:t>
            </a:r>
            <a:r>
              <a:rPr kumimoji="0" lang="en-GB" sz="1400" b="0" i="0" u="none" strike="noStrike" kern="1200" cap="none" spc="0" normalizeH="0" baseline="0" noProof="0" err="1">
                <a:ln>
                  <a:noFill/>
                </a:ln>
                <a:solidFill>
                  <a:schemeClr val="accent2"/>
                </a:solidFill>
                <a:effectLst/>
                <a:uLnTx/>
                <a:uFillTx/>
                <a:latin typeface="The Group TEXT" panose="00000500000000000000" pitchFamily="2" charset="0"/>
                <a:ea typeface="+mn-ea"/>
                <a:cs typeface="+mn-cs"/>
              </a:rPr>
              <a:t>Frontify</a:t>
            </a: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t>
            </a:r>
          </a:p>
        </p:txBody>
      </p:sp>
      <p:sp>
        <p:nvSpPr>
          <p:cNvPr id="43" name="Rectangle 42">
            <a:extLst>
              <a:ext uri="{FF2B5EF4-FFF2-40B4-BE49-F238E27FC236}">
                <a16:creationId xmlns:a16="http://schemas.microsoft.com/office/drawing/2014/main" id="{2730783F-210D-88D1-EC67-0BDE1510C3E9}"/>
              </a:ext>
            </a:extLst>
          </p:cNvPr>
          <p:cNvSpPr/>
          <p:nvPr userDrawn="1"/>
        </p:nvSpPr>
        <p:spPr bwMode="ltGray">
          <a:xfrm>
            <a:off x="407987" y="2592162"/>
            <a:ext cx="5688008" cy="38610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6" name="Rectangle 5">
            <a:extLst>
              <a:ext uri="{FF2B5EF4-FFF2-40B4-BE49-F238E27FC236}">
                <a16:creationId xmlns:a16="http://schemas.microsoft.com/office/drawing/2014/main" id="{BC12AFAA-BDA5-3F13-6BBC-D114EFD0E198}"/>
              </a:ext>
            </a:extLst>
          </p:cNvPr>
          <p:cNvSpPr/>
          <p:nvPr userDrawn="1"/>
        </p:nvSpPr>
        <p:spPr>
          <a:xfrm>
            <a:off x="611976"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7" name="Rectangle 6">
            <a:extLst>
              <a:ext uri="{FF2B5EF4-FFF2-40B4-BE49-F238E27FC236}">
                <a16:creationId xmlns:a16="http://schemas.microsoft.com/office/drawing/2014/main" id="{C4A2AAC6-B284-1206-7BD9-20184250A4B0}"/>
              </a:ext>
            </a:extLst>
          </p:cNvPr>
          <p:cNvSpPr/>
          <p:nvPr userDrawn="1"/>
        </p:nvSpPr>
        <p:spPr>
          <a:xfrm>
            <a:off x="2013065"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8" name="Rectangle 7">
            <a:extLst>
              <a:ext uri="{FF2B5EF4-FFF2-40B4-BE49-F238E27FC236}">
                <a16:creationId xmlns:a16="http://schemas.microsoft.com/office/drawing/2014/main" id="{4DD758C9-6FA1-B010-BEE0-D007E48DC048}"/>
              </a:ext>
            </a:extLst>
          </p:cNvPr>
          <p:cNvSpPr/>
          <p:nvPr userDrawn="1"/>
        </p:nvSpPr>
        <p:spPr>
          <a:xfrm>
            <a:off x="3414154"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0" name="Rectangle 9">
            <a:extLst>
              <a:ext uri="{FF2B5EF4-FFF2-40B4-BE49-F238E27FC236}">
                <a16:creationId xmlns:a16="http://schemas.microsoft.com/office/drawing/2014/main" id="{2019BCF8-AA39-1315-2FCD-D6C2DC4E65EE}"/>
              </a:ext>
            </a:extLst>
          </p:cNvPr>
          <p:cNvSpPr/>
          <p:nvPr userDrawn="1"/>
        </p:nvSpPr>
        <p:spPr>
          <a:xfrm>
            <a:off x="4815243"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5" name="Rectangle 14">
            <a:extLst>
              <a:ext uri="{FF2B5EF4-FFF2-40B4-BE49-F238E27FC236}">
                <a16:creationId xmlns:a16="http://schemas.microsoft.com/office/drawing/2014/main" id="{3AC39A01-31E7-4DE4-33E5-2791C4E125D2}"/>
              </a:ext>
            </a:extLst>
          </p:cNvPr>
          <p:cNvSpPr/>
          <p:nvPr userDrawn="1"/>
        </p:nvSpPr>
        <p:spPr>
          <a:xfrm>
            <a:off x="611976"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6" name="Rectangle 15">
            <a:extLst>
              <a:ext uri="{FF2B5EF4-FFF2-40B4-BE49-F238E27FC236}">
                <a16:creationId xmlns:a16="http://schemas.microsoft.com/office/drawing/2014/main" id="{93A30980-D058-81C2-D771-597E104D3E6D}"/>
              </a:ext>
            </a:extLst>
          </p:cNvPr>
          <p:cNvSpPr/>
          <p:nvPr userDrawn="1"/>
        </p:nvSpPr>
        <p:spPr>
          <a:xfrm>
            <a:off x="2013065"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7" name="Rectangle 16">
            <a:extLst>
              <a:ext uri="{FF2B5EF4-FFF2-40B4-BE49-F238E27FC236}">
                <a16:creationId xmlns:a16="http://schemas.microsoft.com/office/drawing/2014/main" id="{EE9874A9-57F8-D10F-6EBC-34659B59E7ED}"/>
              </a:ext>
            </a:extLst>
          </p:cNvPr>
          <p:cNvSpPr/>
          <p:nvPr userDrawn="1"/>
        </p:nvSpPr>
        <p:spPr>
          <a:xfrm>
            <a:off x="3414154"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8" name="Rectangle 17">
            <a:extLst>
              <a:ext uri="{FF2B5EF4-FFF2-40B4-BE49-F238E27FC236}">
                <a16:creationId xmlns:a16="http://schemas.microsoft.com/office/drawing/2014/main" id="{EB648D60-528B-7BE2-5C80-9CF9E19B8D80}"/>
              </a:ext>
            </a:extLst>
          </p:cNvPr>
          <p:cNvSpPr/>
          <p:nvPr userDrawn="1"/>
        </p:nvSpPr>
        <p:spPr>
          <a:xfrm>
            <a:off x="4815243"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 name="Rectangle 10">
            <a:extLst>
              <a:ext uri="{FF2B5EF4-FFF2-40B4-BE49-F238E27FC236}">
                <a16:creationId xmlns:a16="http://schemas.microsoft.com/office/drawing/2014/main" id="{B2C8906C-1184-025C-B7AB-0C85D1D7A5F6}"/>
              </a:ext>
            </a:extLst>
          </p:cNvPr>
          <p:cNvSpPr/>
          <p:nvPr userDrawn="1"/>
        </p:nvSpPr>
        <p:spPr>
          <a:xfrm>
            <a:off x="611976"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 name="Rectangle 11">
            <a:extLst>
              <a:ext uri="{FF2B5EF4-FFF2-40B4-BE49-F238E27FC236}">
                <a16:creationId xmlns:a16="http://schemas.microsoft.com/office/drawing/2014/main" id="{C3221F86-36C7-002B-7DFE-D6B517B1116A}"/>
              </a:ext>
            </a:extLst>
          </p:cNvPr>
          <p:cNvSpPr/>
          <p:nvPr userDrawn="1"/>
        </p:nvSpPr>
        <p:spPr>
          <a:xfrm>
            <a:off x="2013065"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3" name="Rectangle 12">
            <a:extLst>
              <a:ext uri="{FF2B5EF4-FFF2-40B4-BE49-F238E27FC236}">
                <a16:creationId xmlns:a16="http://schemas.microsoft.com/office/drawing/2014/main" id="{8C62EA3A-A1B9-B759-A5A4-42C6E69600EF}"/>
              </a:ext>
            </a:extLst>
          </p:cNvPr>
          <p:cNvSpPr/>
          <p:nvPr userDrawn="1"/>
        </p:nvSpPr>
        <p:spPr>
          <a:xfrm>
            <a:off x="3414154"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4" name="Rectangle 13">
            <a:extLst>
              <a:ext uri="{FF2B5EF4-FFF2-40B4-BE49-F238E27FC236}">
                <a16:creationId xmlns:a16="http://schemas.microsoft.com/office/drawing/2014/main" id="{6A10F9D5-52D8-FC09-5F9D-B7A3CCF25802}"/>
              </a:ext>
            </a:extLst>
          </p:cNvPr>
          <p:cNvSpPr/>
          <p:nvPr userDrawn="1"/>
        </p:nvSpPr>
        <p:spPr>
          <a:xfrm>
            <a:off x="4815243"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9" name="Rectangle 18">
            <a:extLst>
              <a:ext uri="{FF2B5EF4-FFF2-40B4-BE49-F238E27FC236}">
                <a16:creationId xmlns:a16="http://schemas.microsoft.com/office/drawing/2014/main" id="{8E9844A9-31E0-0353-DCB9-CE0787D132C7}"/>
              </a:ext>
            </a:extLst>
          </p:cNvPr>
          <p:cNvSpPr/>
          <p:nvPr userDrawn="1"/>
        </p:nvSpPr>
        <p:spPr>
          <a:xfrm>
            <a:off x="611976"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0" name="Rectangle 19">
            <a:extLst>
              <a:ext uri="{FF2B5EF4-FFF2-40B4-BE49-F238E27FC236}">
                <a16:creationId xmlns:a16="http://schemas.microsoft.com/office/drawing/2014/main" id="{D96DC221-C9CE-81C6-D552-AA3CF91A245F}"/>
              </a:ext>
            </a:extLst>
          </p:cNvPr>
          <p:cNvSpPr/>
          <p:nvPr userDrawn="1"/>
        </p:nvSpPr>
        <p:spPr>
          <a:xfrm>
            <a:off x="2013065"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1" name="Rectangle 20">
            <a:extLst>
              <a:ext uri="{FF2B5EF4-FFF2-40B4-BE49-F238E27FC236}">
                <a16:creationId xmlns:a16="http://schemas.microsoft.com/office/drawing/2014/main" id="{C6DDC6E0-9652-56CE-8F96-0D7F56E7673E}"/>
              </a:ext>
            </a:extLst>
          </p:cNvPr>
          <p:cNvSpPr/>
          <p:nvPr userDrawn="1"/>
        </p:nvSpPr>
        <p:spPr>
          <a:xfrm>
            <a:off x="3414154"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2" name="Rectangle 21">
            <a:extLst>
              <a:ext uri="{FF2B5EF4-FFF2-40B4-BE49-F238E27FC236}">
                <a16:creationId xmlns:a16="http://schemas.microsoft.com/office/drawing/2014/main" id="{BFBAE9F9-4D1F-90C6-DF5D-347AB16CE936}"/>
              </a:ext>
            </a:extLst>
          </p:cNvPr>
          <p:cNvSpPr/>
          <p:nvPr userDrawn="1"/>
        </p:nvSpPr>
        <p:spPr>
          <a:xfrm>
            <a:off x="4815243"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pic>
        <p:nvPicPr>
          <p:cNvPr id="24" name="Graphic 23">
            <a:extLst>
              <a:ext uri="{FF2B5EF4-FFF2-40B4-BE49-F238E27FC236}">
                <a16:creationId xmlns:a16="http://schemas.microsoft.com/office/drawing/2014/main" id="{26224CAB-F7E5-51A6-BB79-406AAF4BCBD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354850" y="5595384"/>
            <a:ext cx="393192" cy="393192"/>
          </a:xfrm>
          <a:prstGeom prst="rect">
            <a:avLst/>
          </a:prstGeom>
        </p:spPr>
      </p:pic>
      <p:pic>
        <p:nvPicPr>
          <p:cNvPr id="29" name="Graphic 28">
            <a:extLst>
              <a:ext uri="{FF2B5EF4-FFF2-40B4-BE49-F238E27FC236}">
                <a16:creationId xmlns:a16="http://schemas.microsoft.com/office/drawing/2014/main" id="{9C0751AA-A40F-9555-B695-722A48D996D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04422" y="5661618"/>
            <a:ext cx="498403" cy="264111"/>
          </a:xfrm>
          <a:prstGeom prst="rect">
            <a:avLst/>
          </a:prstGeom>
        </p:spPr>
      </p:pic>
      <p:pic>
        <p:nvPicPr>
          <p:cNvPr id="30" name="Graphic 29">
            <a:extLst>
              <a:ext uri="{FF2B5EF4-FFF2-40B4-BE49-F238E27FC236}">
                <a16:creationId xmlns:a16="http://schemas.microsoft.com/office/drawing/2014/main" id="{BD18D2FC-8E52-0A22-A0D5-A9A8EA61643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92431" y="5661618"/>
            <a:ext cx="498403" cy="264111"/>
          </a:xfrm>
          <a:prstGeom prst="rect">
            <a:avLst/>
          </a:prstGeom>
        </p:spPr>
      </p:pic>
      <p:pic>
        <p:nvPicPr>
          <p:cNvPr id="23" name="Graphic 22">
            <a:extLst>
              <a:ext uri="{FF2B5EF4-FFF2-40B4-BE49-F238E27FC236}">
                <a16:creationId xmlns:a16="http://schemas.microsoft.com/office/drawing/2014/main" id="{E1F2F65F-632B-10A2-4F6F-597CBAB09DE6}"/>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359764" y="4747869"/>
            <a:ext cx="383365" cy="396144"/>
          </a:xfrm>
          <a:prstGeom prst="rect">
            <a:avLst/>
          </a:prstGeom>
        </p:spPr>
      </p:pic>
      <p:pic>
        <p:nvPicPr>
          <p:cNvPr id="25" name="Graphic 24">
            <a:extLst>
              <a:ext uri="{FF2B5EF4-FFF2-40B4-BE49-F238E27FC236}">
                <a16:creationId xmlns:a16="http://schemas.microsoft.com/office/drawing/2014/main" id="{7DBF0760-995D-2015-B22A-1914B9B74F7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47772" y="4747869"/>
            <a:ext cx="383365" cy="396144"/>
          </a:xfrm>
          <a:prstGeom prst="rect">
            <a:avLst/>
          </a:prstGeom>
        </p:spPr>
      </p:pic>
      <p:pic>
        <p:nvPicPr>
          <p:cNvPr id="28" name="Graphic 27">
            <a:extLst>
              <a:ext uri="{FF2B5EF4-FFF2-40B4-BE49-F238E27FC236}">
                <a16:creationId xmlns:a16="http://schemas.microsoft.com/office/drawing/2014/main" id="{3CF80B42-85FB-2BD3-74CB-467D56CB99EE}"/>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8042858" y="5595384"/>
            <a:ext cx="393192" cy="393192"/>
          </a:xfrm>
          <a:prstGeom prst="rect">
            <a:avLst/>
          </a:prstGeom>
        </p:spPr>
      </p:pic>
      <p:pic>
        <p:nvPicPr>
          <p:cNvPr id="57" name="Graphic 56">
            <a:extLst>
              <a:ext uri="{FF2B5EF4-FFF2-40B4-BE49-F238E27FC236}">
                <a16:creationId xmlns:a16="http://schemas.microsoft.com/office/drawing/2014/main" id="{F9C3B31D-7A3D-F302-F268-E593E1EE5EFC}"/>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5137850" y="3035632"/>
            <a:ext cx="431548" cy="435740"/>
          </a:xfrm>
          <a:prstGeom prst="rect">
            <a:avLst/>
          </a:prstGeom>
        </p:spPr>
      </p:pic>
      <p:pic>
        <p:nvPicPr>
          <p:cNvPr id="59" name="Graphic 58">
            <a:extLst>
              <a:ext uri="{FF2B5EF4-FFF2-40B4-BE49-F238E27FC236}">
                <a16:creationId xmlns:a16="http://schemas.microsoft.com/office/drawing/2014/main" id="{0CCD2555-E794-3790-1280-F74C3AB7B79C}"/>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749330" y="3067055"/>
            <a:ext cx="406412" cy="372894"/>
          </a:xfrm>
          <a:prstGeom prst="rect">
            <a:avLst/>
          </a:prstGeom>
        </p:spPr>
      </p:pic>
      <p:pic>
        <p:nvPicPr>
          <p:cNvPr id="60" name="Graphic 59">
            <a:extLst>
              <a:ext uri="{FF2B5EF4-FFF2-40B4-BE49-F238E27FC236}">
                <a16:creationId xmlns:a16="http://schemas.microsoft.com/office/drawing/2014/main" id="{D48A10F7-0EAD-8B96-43BA-A03B20E81F62}"/>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968101" y="3102669"/>
            <a:ext cx="364512" cy="301666"/>
          </a:xfrm>
          <a:prstGeom prst="rect">
            <a:avLst/>
          </a:prstGeom>
        </p:spPr>
      </p:pic>
      <p:pic>
        <p:nvPicPr>
          <p:cNvPr id="61" name="Graphic 60">
            <a:extLst>
              <a:ext uri="{FF2B5EF4-FFF2-40B4-BE49-F238E27FC236}">
                <a16:creationId xmlns:a16="http://schemas.microsoft.com/office/drawing/2014/main" id="{84683326-3407-530F-7315-D7584C92FE8C}"/>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2348240" y="3064961"/>
            <a:ext cx="406412" cy="377082"/>
          </a:xfrm>
          <a:prstGeom prst="rect">
            <a:avLst/>
          </a:prstGeom>
        </p:spPr>
      </p:pic>
      <p:pic>
        <p:nvPicPr>
          <p:cNvPr id="62" name="Graphic 61">
            <a:extLst>
              <a:ext uri="{FF2B5EF4-FFF2-40B4-BE49-F238E27FC236}">
                <a16:creationId xmlns:a16="http://schemas.microsoft.com/office/drawing/2014/main" id="{A5B2A2F2-9589-6102-942D-7E73C31CBB52}"/>
              </a:ext>
            </a:extLst>
          </p:cNvPr>
          <p:cNvPicPr>
            <a:picLocks noChangeAspect="1"/>
          </p:cNvPicPr>
          <p:nvPr userDrawn="1"/>
        </p:nvPicPr>
        <p:blipFill>
          <a:blip r:embed="rId22">
            <a:extLst>
              <a:ext uri="{96DAC541-7B7A-43D3-8B79-37D633B846F1}">
                <asvg:svgBlip xmlns:asvg="http://schemas.microsoft.com/office/drawing/2016/SVG/main" r:embed="rId23"/>
              </a:ext>
            </a:extLst>
          </a:blip>
          <a:stretch>
            <a:fillRect/>
          </a:stretch>
        </p:blipFill>
        <p:spPr>
          <a:xfrm>
            <a:off x="873829" y="4789883"/>
            <a:ext cx="553056" cy="314236"/>
          </a:xfrm>
          <a:prstGeom prst="rect">
            <a:avLst/>
          </a:prstGeom>
        </p:spPr>
      </p:pic>
      <p:pic>
        <p:nvPicPr>
          <p:cNvPr id="63" name="Graphic 62">
            <a:extLst>
              <a:ext uri="{FF2B5EF4-FFF2-40B4-BE49-F238E27FC236}">
                <a16:creationId xmlns:a16="http://schemas.microsoft.com/office/drawing/2014/main" id="{AA064ECC-25BE-C898-6498-5BBA3DEB482F}"/>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5139944" y="4800357"/>
            <a:ext cx="427360" cy="293286"/>
          </a:xfrm>
          <a:prstGeom prst="rect">
            <a:avLst/>
          </a:prstGeom>
        </p:spPr>
      </p:pic>
      <p:pic>
        <p:nvPicPr>
          <p:cNvPr id="64" name="Graphic 63">
            <a:extLst>
              <a:ext uri="{FF2B5EF4-FFF2-40B4-BE49-F238E27FC236}">
                <a16:creationId xmlns:a16="http://schemas.microsoft.com/office/drawing/2014/main" id="{88DCFC3F-7881-34DC-84C0-1615E1DE8B9D}"/>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3784943" y="4743795"/>
            <a:ext cx="335184" cy="406410"/>
          </a:xfrm>
          <a:prstGeom prst="rect">
            <a:avLst/>
          </a:prstGeom>
        </p:spPr>
      </p:pic>
      <p:pic>
        <p:nvPicPr>
          <p:cNvPr id="65" name="Graphic 64">
            <a:extLst>
              <a:ext uri="{FF2B5EF4-FFF2-40B4-BE49-F238E27FC236}">
                <a16:creationId xmlns:a16="http://schemas.microsoft.com/office/drawing/2014/main" id="{38E79046-B655-008A-2297-FE1CEC0BD331}"/>
              </a:ext>
            </a:extLst>
          </p:cNvPr>
          <p:cNvPicPr>
            <a:picLocks noChangeAspect="1"/>
          </p:cNvPicPr>
          <p:nvPr userDrawn="1"/>
        </p:nvPicPr>
        <p:blipFill>
          <a:blip r:embed="rId28">
            <a:extLst>
              <a:ext uri="{96DAC541-7B7A-43D3-8B79-37D633B846F1}">
                <asvg:svgBlip xmlns:asvg="http://schemas.microsoft.com/office/drawing/2016/SVG/main" r:embed="rId29"/>
              </a:ext>
            </a:extLst>
          </a:blip>
          <a:stretch>
            <a:fillRect/>
          </a:stretch>
        </p:blipFill>
        <p:spPr>
          <a:xfrm>
            <a:off x="1016283" y="3897046"/>
            <a:ext cx="268148" cy="406410"/>
          </a:xfrm>
          <a:prstGeom prst="rect">
            <a:avLst/>
          </a:prstGeom>
        </p:spPr>
      </p:pic>
      <p:pic>
        <p:nvPicPr>
          <p:cNvPr id="66" name="Graphic 65">
            <a:extLst>
              <a:ext uri="{FF2B5EF4-FFF2-40B4-BE49-F238E27FC236}">
                <a16:creationId xmlns:a16="http://schemas.microsoft.com/office/drawing/2014/main" id="{342B7807-7909-089D-7E9D-40F53CA0C203}"/>
              </a:ext>
            </a:extLst>
          </p:cNvPr>
          <p:cNvPicPr>
            <a:picLocks noChangeAspect="1"/>
          </p:cNvPicPr>
          <p:nvPr userDrawn="1"/>
        </p:nvPicPr>
        <p:blipFill>
          <a:blip r:embed="rId30">
            <a:extLst>
              <a:ext uri="{96DAC541-7B7A-43D3-8B79-37D633B846F1}">
                <asvg:svgBlip xmlns:asvg="http://schemas.microsoft.com/office/drawing/2016/SVG/main" r:embed="rId31"/>
              </a:ext>
            </a:extLst>
          </a:blip>
          <a:stretch>
            <a:fillRect/>
          </a:stretch>
        </p:blipFill>
        <p:spPr>
          <a:xfrm>
            <a:off x="5169272" y="3905425"/>
            <a:ext cx="368704" cy="389652"/>
          </a:xfrm>
          <a:prstGeom prst="rect">
            <a:avLst/>
          </a:prstGeom>
        </p:spPr>
      </p:pic>
      <p:pic>
        <p:nvPicPr>
          <p:cNvPr id="67" name="Graphic 66">
            <a:extLst>
              <a:ext uri="{FF2B5EF4-FFF2-40B4-BE49-F238E27FC236}">
                <a16:creationId xmlns:a16="http://schemas.microsoft.com/office/drawing/2014/main" id="{B16179DE-91A5-CE45-A3B6-A8466BABCBE8}"/>
              </a:ext>
            </a:extLst>
          </p:cNvPr>
          <p:cNvPicPr>
            <a:picLocks noChangeAspect="1"/>
          </p:cNvPicPr>
          <p:nvPr userDrawn="1"/>
        </p:nvPicPr>
        <p:blipFill>
          <a:blip r:embed="rId32">
            <a:extLst>
              <a:ext uri="{96DAC541-7B7A-43D3-8B79-37D633B846F1}">
                <asvg:svgBlip xmlns:asvg="http://schemas.microsoft.com/office/drawing/2016/SVG/main" r:embed="rId33"/>
              </a:ext>
            </a:extLst>
          </a:blip>
          <a:stretch>
            <a:fillRect/>
          </a:stretch>
        </p:blipFill>
        <p:spPr>
          <a:xfrm>
            <a:off x="3745139" y="3917993"/>
            <a:ext cx="414794" cy="364516"/>
          </a:xfrm>
          <a:prstGeom prst="rect">
            <a:avLst/>
          </a:prstGeom>
        </p:spPr>
      </p:pic>
      <p:pic>
        <p:nvPicPr>
          <p:cNvPr id="68" name="Graphic 67">
            <a:extLst>
              <a:ext uri="{FF2B5EF4-FFF2-40B4-BE49-F238E27FC236}">
                <a16:creationId xmlns:a16="http://schemas.microsoft.com/office/drawing/2014/main" id="{BABB90BD-92BA-9D83-2498-7C10DBAAB49F}"/>
              </a:ext>
            </a:extLst>
          </p:cNvPr>
          <p:cNvPicPr>
            <a:picLocks noChangeAspect="1"/>
          </p:cNvPicPr>
          <p:nvPr userDrawn="1"/>
        </p:nvPicPr>
        <p:blipFill>
          <a:blip r:embed="rId34">
            <a:extLst>
              <a:ext uri="{96DAC541-7B7A-43D3-8B79-37D633B846F1}">
                <asvg:svgBlip xmlns:asvg="http://schemas.microsoft.com/office/drawing/2016/SVG/main" r:embed="rId35"/>
              </a:ext>
            </a:extLst>
          </a:blip>
          <a:stretch>
            <a:fillRect/>
          </a:stretch>
        </p:blipFill>
        <p:spPr>
          <a:xfrm>
            <a:off x="2383855" y="3892856"/>
            <a:ext cx="335184" cy="414790"/>
          </a:xfrm>
          <a:prstGeom prst="rect">
            <a:avLst/>
          </a:prstGeom>
        </p:spPr>
      </p:pic>
      <p:pic>
        <p:nvPicPr>
          <p:cNvPr id="69" name="Graphic 68">
            <a:extLst>
              <a:ext uri="{FF2B5EF4-FFF2-40B4-BE49-F238E27FC236}">
                <a16:creationId xmlns:a16="http://schemas.microsoft.com/office/drawing/2014/main" id="{4FCDE04C-7DEF-8398-3A98-643EDEECECE1}"/>
              </a:ext>
            </a:extLst>
          </p:cNvPr>
          <p:cNvPicPr>
            <a:picLocks noChangeAspect="1"/>
          </p:cNvPicPr>
          <p:nvPr userDrawn="1"/>
        </p:nvPicPr>
        <p:blipFill>
          <a:blip r:embed="rId36">
            <a:extLst>
              <a:ext uri="{96DAC541-7B7A-43D3-8B79-37D633B846F1}">
                <asvg:svgBlip xmlns:asvg="http://schemas.microsoft.com/office/drawing/2016/SVG/main" r:embed="rId37"/>
              </a:ext>
            </a:extLst>
          </a:blip>
          <a:stretch>
            <a:fillRect/>
          </a:stretch>
        </p:blipFill>
        <p:spPr>
          <a:xfrm>
            <a:off x="10825858" y="3035632"/>
            <a:ext cx="431548" cy="435740"/>
          </a:xfrm>
          <a:prstGeom prst="rect">
            <a:avLst/>
          </a:prstGeom>
        </p:spPr>
      </p:pic>
      <p:pic>
        <p:nvPicPr>
          <p:cNvPr id="70" name="Graphic 69">
            <a:extLst>
              <a:ext uri="{FF2B5EF4-FFF2-40B4-BE49-F238E27FC236}">
                <a16:creationId xmlns:a16="http://schemas.microsoft.com/office/drawing/2014/main" id="{5AF39B1A-AC01-5329-A192-1D0FB550B27B}"/>
              </a:ext>
            </a:extLst>
          </p:cNvPr>
          <p:cNvPicPr>
            <a:picLocks noChangeAspect="1"/>
          </p:cNvPicPr>
          <p:nvPr userDrawn="1"/>
        </p:nvPicPr>
        <p:blipFill>
          <a:blip r:embed="rId38">
            <a:extLst>
              <a:ext uri="{96DAC541-7B7A-43D3-8B79-37D633B846F1}">
                <asvg:svgBlip xmlns:asvg="http://schemas.microsoft.com/office/drawing/2016/SVG/main" r:embed="rId39"/>
              </a:ext>
            </a:extLst>
          </a:blip>
          <a:stretch>
            <a:fillRect/>
          </a:stretch>
        </p:blipFill>
        <p:spPr>
          <a:xfrm>
            <a:off x="9437338" y="3067055"/>
            <a:ext cx="406412" cy="372894"/>
          </a:xfrm>
          <a:prstGeom prst="rect">
            <a:avLst/>
          </a:prstGeom>
        </p:spPr>
      </p:pic>
      <p:pic>
        <p:nvPicPr>
          <p:cNvPr id="71" name="Graphic 70">
            <a:extLst>
              <a:ext uri="{FF2B5EF4-FFF2-40B4-BE49-F238E27FC236}">
                <a16:creationId xmlns:a16="http://schemas.microsoft.com/office/drawing/2014/main" id="{62015225-F8E7-6FB6-302A-BA57A800F3C2}"/>
              </a:ext>
            </a:extLst>
          </p:cNvPr>
          <p:cNvPicPr>
            <a:picLocks noChangeAspect="1"/>
          </p:cNvPicPr>
          <p:nvPr userDrawn="1"/>
        </p:nvPicPr>
        <p:blipFill>
          <a:blip r:embed="rId40">
            <a:extLst>
              <a:ext uri="{96DAC541-7B7A-43D3-8B79-37D633B846F1}">
                <asvg:svgBlip xmlns:asvg="http://schemas.microsoft.com/office/drawing/2016/SVG/main" r:embed="rId41"/>
              </a:ext>
            </a:extLst>
          </a:blip>
          <a:stretch>
            <a:fillRect/>
          </a:stretch>
        </p:blipFill>
        <p:spPr>
          <a:xfrm>
            <a:off x="6656109" y="3102669"/>
            <a:ext cx="364512" cy="301666"/>
          </a:xfrm>
          <a:prstGeom prst="rect">
            <a:avLst/>
          </a:prstGeom>
        </p:spPr>
      </p:pic>
      <p:pic>
        <p:nvPicPr>
          <p:cNvPr id="72" name="Graphic 71">
            <a:extLst>
              <a:ext uri="{FF2B5EF4-FFF2-40B4-BE49-F238E27FC236}">
                <a16:creationId xmlns:a16="http://schemas.microsoft.com/office/drawing/2014/main" id="{D61527FB-A646-4E99-6923-311A7F96B49D}"/>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a:xfrm>
            <a:off x="8036248" y="3064961"/>
            <a:ext cx="406412" cy="377082"/>
          </a:xfrm>
          <a:prstGeom prst="rect">
            <a:avLst/>
          </a:prstGeom>
        </p:spPr>
      </p:pic>
      <p:pic>
        <p:nvPicPr>
          <p:cNvPr id="73" name="Graphic 72">
            <a:extLst>
              <a:ext uri="{FF2B5EF4-FFF2-40B4-BE49-F238E27FC236}">
                <a16:creationId xmlns:a16="http://schemas.microsoft.com/office/drawing/2014/main" id="{07327DE7-A0F2-386E-A767-EA029CBB67E9}"/>
              </a:ext>
            </a:extLst>
          </p:cNvPr>
          <p:cNvPicPr>
            <a:picLocks noChangeAspect="1"/>
          </p:cNvPicPr>
          <p:nvPr userDrawn="1"/>
        </p:nvPicPr>
        <p:blipFill>
          <a:blip r:embed="rId44">
            <a:extLst>
              <a:ext uri="{96DAC541-7B7A-43D3-8B79-37D633B846F1}">
                <asvg:svgBlip xmlns:asvg="http://schemas.microsoft.com/office/drawing/2016/SVG/main" r:embed="rId45"/>
              </a:ext>
            </a:extLst>
          </a:blip>
          <a:stretch>
            <a:fillRect/>
          </a:stretch>
        </p:blipFill>
        <p:spPr>
          <a:xfrm>
            <a:off x="6561837" y="4789883"/>
            <a:ext cx="553056" cy="314236"/>
          </a:xfrm>
          <a:prstGeom prst="rect">
            <a:avLst/>
          </a:prstGeom>
        </p:spPr>
      </p:pic>
      <p:pic>
        <p:nvPicPr>
          <p:cNvPr id="74" name="Graphic 73">
            <a:extLst>
              <a:ext uri="{FF2B5EF4-FFF2-40B4-BE49-F238E27FC236}">
                <a16:creationId xmlns:a16="http://schemas.microsoft.com/office/drawing/2014/main" id="{38C57FBB-0F8F-ABA5-62FB-44F28A41886F}"/>
              </a:ext>
            </a:extLst>
          </p:cNvPr>
          <p:cNvPicPr>
            <a:picLocks noChangeAspect="1"/>
          </p:cNvPicPr>
          <p:nvPr userDrawn="1"/>
        </p:nvPicPr>
        <p:blipFill>
          <a:blip r:embed="rId46">
            <a:extLst>
              <a:ext uri="{96DAC541-7B7A-43D3-8B79-37D633B846F1}">
                <asvg:svgBlip xmlns:asvg="http://schemas.microsoft.com/office/drawing/2016/SVG/main" r:embed="rId47"/>
              </a:ext>
            </a:extLst>
          </a:blip>
          <a:stretch>
            <a:fillRect/>
          </a:stretch>
        </p:blipFill>
        <p:spPr>
          <a:xfrm>
            <a:off x="10827952" y="4800357"/>
            <a:ext cx="427360" cy="293286"/>
          </a:xfrm>
          <a:prstGeom prst="rect">
            <a:avLst/>
          </a:prstGeom>
        </p:spPr>
      </p:pic>
      <p:pic>
        <p:nvPicPr>
          <p:cNvPr id="75" name="Graphic 74">
            <a:extLst>
              <a:ext uri="{FF2B5EF4-FFF2-40B4-BE49-F238E27FC236}">
                <a16:creationId xmlns:a16="http://schemas.microsoft.com/office/drawing/2014/main" id="{B073A22E-CBE2-5B98-7ECF-2D4EF6CB3168}"/>
              </a:ext>
            </a:extLst>
          </p:cNvPr>
          <p:cNvPicPr>
            <a:picLocks noChangeAspect="1"/>
          </p:cNvPicPr>
          <p:nvPr userDrawn="1"/>
        </p:nvPicPr>
        <p:blipFill>
          <a:blip r:embed="rId48">
            <a:extLst>
              <a:ext uri="{96DAC541-7B7A-43D3-8B79-37D633B846F1}">
                <asvg:svgBlip xmlns:asvg="http://schemas.microsoft.com/office/drawing/2016/SVG/main" r:embed="rId49"/>
              </a:ext>
            </a:extLst>
          </a:blip>
          <a:stretch>
            <a:fillRect/>
          </a:stretch>
        </p:blipFill>
        <p:spPr>
          <a:xfrm>
            <a:off x="9472951" y="4743795"/>
            <a:ext cx="335184" cy="406410"/>
          </a:xfrm>
          <a:prstGeom prst="rect">
            <a:avLst/>
          </a:prstGeom>
        </p:spPr>
      </p:pic>
      <p:pic>
        <p:nvPicPr>
          <p:cNvPr id="76" name="Graphic 75">
            <a:extLst>
              <a:ext uri="{FF2B5EF4-FFF2-40B4-BE49-F238E27FC236}">
                <a16:creationId xmlns:a16="http://schemas.microsoft.com/office/drawing/2014/main" id="{ECB31C10-D041-E7EB-D27C-26D8B91A6290}"/>
              </a:ext>
            </a:extLst>
          </p:cNvPr>
          <p:cNvPicPr>
            <a:picLocks noChangeAspect="1"/>
          </p:cNvPicPr>
          <p:nvPr userDrawn="1"/>
        </p:nvPicPr>
        <p:blipFill>
          <a:blip r:embed="rId50">
            <a:extLst>
              <a:ext uri="{96DAC541-7B7A-43D3-8B79-37D633B846F1}">
                <asvg:svgBlip xmlns:asvg="http://schemas.microsoft.com/office/drawing/2016/SVG/main" r:embed="rId51"/>
              </a:ext>
            </a:extLst>
          </a:blip>
          <a:stretch>
            <a:fillRect/>
          </a:stretch>
        </p:blipFill>
        <p:spPr>
          <a:xfrm>
            <a:off x="6704291" y="3897046"/>
            <a:ext cx="268148" cy="406410"/>
          </a:xfrm>
          <a:prstGeom prst="rect">
            <a:avLst/>
          </a:prstGeom>
        </p:spPr>
      </p:pic>
      <p:pic>
        <p:nvPicPr>
          <p:cNvPr id="77" name="Graphic 76">
            <a:extLst>
              <a:ext uri="{FF2B5EF4-FFF2-40B4-BE49-F238E27FC236}">
                <a16:creationId xmlns:a16="http://schemas.microsoft.com/office/drawing/2014/main" id="{C29D7841-7651-2914-5C05-3326BD958D2C}"/>
              </a:ext>
            </a:extLst>
          </p:cNvPr>
          <p:cNvPicPr>
            <a:picLocks noChangeAspect="1"/>
          </p:cNvPicPr>
          <p:nvPr userDrawn="1"/>
        </p:nvPicPr>
        <p:blipFill>
          <a:blip r:embed="rId52">
            <a:extLst>
              <a:ext uri="{96DAC541-7B7A-43D3-8B79-37D633B846F1}">
                <asvg:svgBlip xmlns:asvg="http://schemas.microsoft.com/office/drawing/2016/SVG/main" r:embed="rId53"/>
              </a:ext>
            </a:extLst>
          </a:blip>
          <a:stretch>
            <a:fillRect/>
          </a:stretch>
        </p:blipFill>
        <p:spPr>
          <a:xfrm>
            <a:off x="10857280" y="3905425"/>
            <a:ext cx="368704" cy="389652"/>
          </a:xfrm>
          <a:prstGeom prst="rect">
            <a:avLst/>
          </a:prstGeom>
        </p:spPr>
      </p:pic>
      <p:pic>
        <p:nvPicPr>
          <p:cNvPr id="78" name="Graphic 77">
            <a:extLst>
              <a:ext uri="{FF2B5EF4-FFF2-40B4-BE49-F238E27FC236}">
                <a16:creationId xmlns:a16="http://schemas.microsoft.com/office/drawing/2014/main" id="{E37490F8-0777-1E02-96D0-4466BA9A3C24}"/>
              </a:ext>
            </a:extLst>
          </p:cNvPr>
          <p:cNvPicPr>
            <a:picLocks noChangeAspect="1"/>
          </p:cNvPicPr>
          <p:nvPr userDrawn="1"/>
        </p:nvPicPr>
        <p:blipFill>
          <a:blip r:embed="rId54">
            <a:extLst>
              <a:ext uri="{96DAC541-7B7A-43D3-8B79-37D633B846F1}">
                <asvg:svgBlip xmlns:asvg="http://schemas.microsoft.com/office/drawing/2016/SVG/main" r:embed="rId55"/>
              </a:ext>
            </a:extLst>
          </a:blip>
          <a:stretch>
            <a:fillRect/>
          </a:stretch>
        </p:blipFill>
        <p:spPr>
          <a:xfrm>
            <a:off x="9433147" y="3917993"/>
            <a:ext cx="414794" cy="364516"/>
          </a:xfrm>
          <a:prstGeom prst="rect">
            <a:avLst/>
          </a:prstGeom>
        </p:spPr>
      </p:pic>
      <p:pic>
        <p:nvPicPr>
          <p:cNvPr id="79" name="Graphic 78">
            <a:extLst>
              <a:ext uri="{FF2B5EF4-FFF2-40B4-BE49-F238E27FC236}">
                <a16:creationId xmlns:a16="http://schemas.microsoft.com/office/drawing/2014/main" id="{FE85C859-7E10-D2A5-9C2E-50E7BD3769C3}"/>
              </a:ext>
            </a:extLst>
          </p:cNvPr>
          <p:cNvPicPr>
            <a:picLocks noChangeAspect="1"/>
          </p:cNvPicPr>
          <p:nvPr userDrawn="1"/>
        </p:nvPicPr>
        <p:blipFill>
          <a:blip r:embed="rId56">
            <a:extLst>
              <a:ext uri="{96DAC541-7B7A-43D3-8B79-37D633B846F1}">
                <asvg:svgBlip xmlns:asvg="http://schemas.microsoft.com/office/drawing/2016/SVG/main" r:embed="rId57"/>
              </a:ext>
            </a:extLst>
          </a:blip>
          <a:stretch>
            <a:fillRect/>
          </a:stretch>
        </p:blipFill>
        <p:spPr>
          <a:xfrm>
            <a:off x="8071863" y="3892856"/>
            <a:ext cx="335184" cy="414790"/>
          </a:xfrm>
          <a:prstGeom prst="rect">
            <a:avLst/>
          </a:prstGeom>
        </p:spPr>
      </p:pic>
      <p:pic>
        <p:nvPicPr>
          <p:cNvPr id="80" name="Graphic 79">
            <a:extLst>
              <a:ext uri="{FF2B5EF4-FFF2-40B4-BE49-F238E27FC236}">
                <a16:creationId xmlns:a16="http://schemas.microsoft.com/office/drawing/2014/main" id="{C4556B3B-01B8-1F36-AAAF-7F89E5A8980E}"/>
              </a:ext>
            </a:extLst>
          </p:cNvPr>
          <p:cNvPicPr>
            <a:picLocks noChangeAspect="1"/>
          </p:cNvPicPr>
          <p:nvPr userDrawn="1"/>
        </p:nvPicPr>
        <p:blipFill>
          <a:blip r:embed="rId58">
            <a:extLst>
              <a:ext uri="{96DAC541-7B7A-43D3-8B79-37D633B846F1}">
                <asvg:svgBlip xmlns:asvg="http://schemas.microsoft.com/office/drawing/2016/SVG/main" r:embed="rId59"/>
              </a:ext>
            </a:extLst>
          </a:blip>
          <a:stretch>
            <a:fillRect/>
          </a:stretch>
        </p:blipFill>
        <p:spPr>
          <a:xfrm>
            <a:off x="3761899" y="5626158"/>
            <a:ext cx="381274" cy="335186"/>
          </a:xfrm>
          <a:prstGeom prst="rect">
            <a:avLst/>
          </a:prstGeom>
        </p:spPr>
      </p:pic>
      <p:pic>
        <p:nvPicPr>
          <p:cNvPr id="81" name="Graphic 80">
            <a:extLst>
              <a:ext uri="{FF2B5EF4-FFF2-40B4-BE49-F238E27FC236}">
                <a16:creationId xmlns:a16="http://schemas.microsoft.com/office/drawing/2014/main" id="{74083512-148C-BE3E-0A6B-4EB7ACB7635D}"/>
              </a:ext>
            </a:extLst>
          </p:cNvPr>
          <p:cNvPicPr>
            <a:picLocks noChangeAspect="1"/>
          </p:cNvPicPr>
          <p:nvPr userDrawn="1"/>
        </p:nvPicPr>
        <p:blipFill>
          <a:blip r:embed="rId60">
            <a:extLst>
              <a:ext uri="{96DAC541-7B7A-43D3-8B79-37D633B846F1}">
                <asvg:svgBlip xmlns:asvg="http://schemas.microsoft.com/office/drawing/2016/SVG/main" r:embed="rId61"/>
              </a:ext>
            </a:extLst>
          </a:blip>
          <a:stretch>
            <a:fillRect/>
          </a:stretch>
        </p:blipFill>
        <p:spPr>
          <a:xfrm>
            <a:off x="9449907" y="5626158"/>
            <a:ext cx="381274" cy="335186"/>
          </a:xfrm>
          <a:prstGeom prst="rect">
            <a:avLst/>
          </a:prstGeom>
        </p:spPr>
      </p:pic>
      <p:pic>
        <p:nvPicPr>
          <p:cNvPr id="82" name="Graphic 81">
            <a:extLst>
              <a:ext uri="{FF2B5EF4-FFF2-40B4-BE49-F238E27FC236}">
                <a16:creationId xmlns:a16="http://schemas.microsoft.com/office/drawing/2014/main" id="{7B56EDB3-3AD8-BE2F-23F1-114D21EF0F0D}"/>
              </a:ext>
            </a:extLst>
          </p:cNvPr>
          <p:cNvPicPr>
            <a:picLocks noChangeAspect="1"/>
          </p:cNvPicPr>
          <p:nvPr userDrawn="1"/>
        </p:nvPicPr>
        <p:blipFill>
          <a:blip r:embed="rId62">
            <a:extLst>
              <a:ext uri="{96DAC541-7B7A-43D3-8B79-37D633B846F1}">
                <asvg:svgBlip xmlns:asvg="http://schemas.microsoft.com/office/drawing/2016/SVG/main" r:embed="rId63"/>
              </a:ext>
            </a:extLst>
          </a:blip>
          <a:stretch>
            <a:fillRect/>
          </a:stretch>
        </p:blipFill>
        <p:spPr>
          <a:xfrm>
            <a:off x="873829" y="5691100"/>
            <a:ext cx="553056" cy="211090"/>
          </a:xfrm>
          <a:prstGeom prst="rect">
            <a:avLst/>
          </a:prstGeom>
        </p:spPr>
      </p:pic>
      <p:pic>
        <p:nvPicPr>
          <p:cNvPr id="83" name="Graphic 82">
            <a:extLst>
              <a:ext uri="{FF2B5EF4-FFF2-40B4-BE49-F238E27FC236}">
                <a16:creationId xmlns:a16="http://schemas.microsoft.com/office/drawing/2014/main" id="{3C5FD4BF-C84B-9571-95AF-DDC68DF0BC3A}"/>
              </a:ext>
            </a:extLst>
          </p:cNvPr>
          <p:cNvPicPr>
            <a:picLocks noChangeAspect="1"/>
          </p:cNvPicPr>
          <p:nvPr userDrawn="1"/>
        </p:nvPicPr>
        <p:blipFill>
          <a:blip r:embed="rId64">
            <a:extLst>
              <a:ext uri="{96DAC541-7B7A-43D3-8B79-37D633B846F1}">
                <asvg:svgBlip xmlns:asvg="http://schemas.microsoft.com/office/drawing/2016/SVG/main" r:embed="rId65"/>
              </a:ext>
            </a:extLst>
          </a:blip>
          <a:stretch>
            <a:fillRect/>
          </a:stretch>
        </p:blipFill>
        <p:spPr>
          <a:xfrm>
            <a:off x="6561837" y="5691100"/>
            <a:ext cx="553056" cy="211090"/>
          </a:xfrm>
          <a:prstGeom prst="rect">
            <a:avLst/>
          </a:prstGeom>
        </p:spPr>
      </p:pic>
    </p:spTree>
    <p:extLst>
      <p:ext uri="{BB962C8B-B14F-4D97-AF65-F5344CB8AC3E}">
        <p14:creationId xmlns:p14="http://schemas.microsoft.com/office/powerpoint/2010/main" val="187169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ssets: Flags">
    <p:spTree>
      <p:nvGrpSpPr>
        <p:cNvPr id="1" name=""/>
        <p:cNvGrpSpPr/>
        <p:nvPr/>
      </p:nvGrpSpPr>
      <p:grpSpPr>
        <a:xfrm>
          <a:off x="0" y="0"/>
          <a:ext cx="0" cy="0"/>
          <a:chOff x="0" y="0"/>
          <a:chExt cx="0" cy="0"/>
        </a:xfrm>
      </p:grpSpPr>
      <p:sp>
        <p:nvSpPr>
          <p:cNvPr id="9" name="Title 4">
            <a:extLst>
              <a:ext uri="{FF2B5EF4-FFF2-40B4-BE49-F238E27FC236}">
                <a16:creationId xmlns:a16="http://schemas.microsoft.com/office/drawing/2014/main" id="{45306817-371D-B82A-27B8-E9CDBE004F56}"/>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t>Flags</a:t>
            </a:r>
          </a:p>
        </p:txBody>
      </p:sp>
      <p:sp>
        <p:nvSpPr>
          <p:cNvPr id="3" name="Date Placeholder 2">
            <a:extLst>
              <a:ext uri="{FF2B5EF4-FFF2-40B4-BE49-F238E27FC236}">
                <a16:creationId xmlns:a16="http://schemas.microsoft.com/office/drawing/2014/main" id="{2225974E-213A-CD8E-31F8-395C4304874F}"/>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4194A40C-9FE1-4173-B1B6-B8D78E7FE556}"/>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3722B363-E810-8EF5-FFFB-CEADD69EF21E}"/>
              </a:ext>
            </a:extLst>
          </p:cNvPr>
          <p:cNvSpPr>
            <a:spLocks noGrp="1"/>
          </p:cNvSpPr>
          <p:nvPr>
            <p:ph type="sldNum" sz="quarter" idx="12"/>
          </p:nvPr>
        </p:nvSpPr>
        <p:spPr/>
        <p:txBody>
          <a:bodyPr/>
          <a:lstStyle/>
          <a:p>
            <a:fld id="{53C98C43-8B83-4748-BA0D-B0C90A16569F}" type="slidenum">
              <a:rPr lang="en-GB" smtClean="0"/>
              <a:pPr/>
              <a:t>‹Nr.›</a:t>
            </a:fld>
            <a:endParaRPr lang="en-GB"/>
          </a:p>
        </p:txBody>
      </p:sp>
      <p:sp>
        <p:nvSpPr>
          <p:cNvPr id="2" name="Textplatzhalter 1">
            <a:extLst>
              <a:ext uri="{FF2B5EF4-FFF2-40B4-BE49-F238E27FC236}">
                <a16:creationId xmlns:a16="http://schemas.microsoft.com/office/drawing/2014/main" id="{498F9FF2-A6F6-425D-9509-43B142848DCE}"/>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Graphical assets in master</a:t>
            </a:r>
          </a:p>
        </p:txBody>
      </p:sp>
      <p:sp>
        <p:nvSpPr>
          <p:cNvPr id="106" name="Content Placeholder 5">
            <a:extLst>
              <a:ext uri="{FF2B5EF4-FFF2-40B4-BE49-F238E27FC236}">
                <a16:creationId xmlns:a16="http://schemas.microsoft.com/office/drawing/2014/main" id="{AE45043C-5CB8-1F34-BA98-86D05EDA21D6}"/>
              </a:ext>
            </a:extLst>
          </p:cNvPr>
          <p:cNvSpPr txBox="1">
            <a:spLocks/>
          </p:cNvSpPr>
          <p:nvPr userDrawn="1"/>
        </p:nvSpPr>
        <p:spPr bwMode="auto">
          <a:xfrm>
            <a:off x="407987" y="1851538"/>
            <a:ext cx="7757421" cy="740624"/>
          </a:xfrm>
          <a:prstGeom prst="rect">
            <a:avLst/>
          </a:prstGeom>
        </p:spPr>
        <p:txBody>
          <a:bodyPr vert="horz" lIns="0" tIns="0" rIns="0" bIns="0" rtlCol="0" anchor="t">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400" b="0" i="0" u="none" strike="noStrike" kern="1200" cap="none" spc="0" normalizeH="0" baseline="0" noProof="0" dirty="0">
                <a:ln>
                  <a:noFill/>
                </a:ln>
                <a:solidFill>
                  <a:srgbClr val="002733"/>
                </a:solidFill>
                <a:effectLst/>
                <a:uLnTx/>
                <a:uFillTx/>
                <a:latin typeface="The Group TEXT" panose="00000500000000000000" pitchFamily="2" charset="0"/>
                <a:ea typeface="+mn-ea"/>
                <a:cs typeface="+mn-cs"/>
              </a:rPr>
              <a:t>If you need to mark a whole slide for a specific country, you may place the flag under the wordmark on the top right to ensure they do not overlap. Flags may also be placed next to elements that need to be linked to specific countries. For more, go to </a:t>
            </a:r>
            <a:r>
              <a:rPr kumimoji="0" lang="en-GB" sz="1400" b="0" i="0" u="none" strike="noStrike" kern="1200" cap="none" spc="0" normalizeH="0" baseline="0" noProof="0" dirty="0">
                <a:ln>
                  <a:noFill/>
                </a:ln>
                <a:solidFill>
                  <a:schemeClr val="accent2"/>
                </a:solidFill>
                <a:effectLst/>
                <a:uLnTx/>
                <a:uFillTx/>
                <a:latin typeface="The Group TEXT" panose="00000500000000000000" pitchFamily="2" charset="0"/>
                <a:ea typeface="+mn-ea"/>
                <a:cs typeface="+mn-cs"/>
              </a:rPr>
              <a:t>Frontify</a:t>
            </a:r>
            <a:r>
              <a:rPr kumimoji="0" lang="en-GB" sz="1400" b="0" i="0" u="none" strike="noStrike" kern="1200" cap="none" spc="0" normalizeH="0" baseline="0" noProof="0" dirty="0">
                <a:ln>
                  <a:noFill/>
                </a:ln>
                <a:solidFill>
                  <a:srgbClr val="002733"/>
                </a:solidFill>
                <a:effectLst/>
                <a:uLnTx/>
                <a:uFillTx/>
                <a:latin typeface="The Group TEXT" panose="00000500000000000000" pitchFamily="2" charset="0"/>
                <a:ea typeface="+mn-ea"/>
                <a:cs typeface="+mn-cs"/>
              </a:rPr>
              <a:t>.</a:t>
            </a:r>
          </a:p>
        </p:txBody>
      </p:sp>
      <p:sp>
        <p:nvSpPr>
          <p:cNvPr id="107" name="Rectangle 93">
            <a:extLst>
              <a:ext uri="{FF2B5EF4-FFF2-40B4-BE49-F238E27FC236}">
                <a16:creationId xmlns:a16="http://schemas.microsoft.com/office/drawing/2014/main" id="{1368F4AA-E715-BB90-30E3-4C7E35C0EE44}"/>
              </a:ext>
            </a:extLst>
          </p:cNvPr>
          <p:cNvSpPr>
            <a:spLocks noChangeArrowheads="1"/>
          </p:cNvSpPr>
          <p:nvPr userDrawn="1"/>
        </p:nvSpPr>
        <p:spPr bwMode="auto">
          <a:xfrm>
            <a:off x="867161" y="516883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hina</a:t>
            </a:r>
            <a:endParaRPr kumimoji="0" lang="en-US" sz="18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08" name="Picture 245">
            <a:extLst>
              <a:ext uri="{FF2B5EF4-FFF2-40B4-BE49-F238E27FC236}">
                <a16:creationId xmlns:a16="http://schemas.microsoft.com/office/drawing/2014/main" id="{EE458643-A45E-13B3-0D79-D5E355C7E4D9}"/>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407987" y="5157111"/>
            <a:ext cx="387258" cy="262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Rectangle 138">
            <a:extLst>
              <a:ext uri="{FF2B5EF4-FFF2-40B4-BE49-F238E27FC236}">
                <a16:creationId xmlns:a16="http://schemas.microsoft.com/office/drawing/2014/main" id="{4FB45407-536A-4819-3683-B8A4D5E5DA4B}"/>
              </a:ext>
            </a:extLst>
          </p:cNvPr>
          <p:cNvSpPr>
            <a:spLocks noChangeArrowheads="1"/>
          </p:cNvSpPr>
          <p:nvPr userDrawn="1"/>
        </p:nvSpPr>
        <p:spPr bwMode="auto">
          <a:xfrm>
            <a:off x="867161" y="554558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zech Republic</a:t>
            </a:r>
          </a:p>
        </p:txBody>
      </p:sp>
      <p:pic>
        <p:nvPicPr>
          <p:cNvPr id="114" name="Picture 254">
            <a:extLst>
              <a:ext uri="{FF2B5EF4-FFF2-40B4-BE49-F238E27FC236}">
                <a16:creationId xmlns:a16="http://schemas.microsoft.com/office/drawing/2014/main" id="{53A8207A-0310-1C33-84D6-44A21163BD02}"/>
              </a:ext>
            </a:extLst>
          </p:cNvPr>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407987" y="5533589"/>
            <a:ext cx="388060" cy="263018"/>
          </a:xfrm>
          <a:prstGeom prst="rect">
            <a:avLst/>
          </a:prstGeom>
          <a:noFill/>
          <a:ln w="9525">
            <a:solidFill>
              <a:schemeClr val="accent6"/>
            </a:solidFill>
            <a:miter lim="800000"/>
            <a:headEnd/>
            <a:tailEnd/>
          </a:ln>
          <a:extLst>
            <a:ext uri="{909E8E84-426E-40DD-AFC4-6F175D3DCCD1}">
              <a14:hiddenFill xmlns:a14="http://schemas.microsoft.com/office/drawing/2010/main">
                <a:solidFill>
                  <a:srgbClr val="FFFFFF"/>
                </a:solidFill>
              </a14:hiddenFill>
            </a:ext>
          </a:extLst>
        </p:spPr>
      </p:pic>
      <p:pic>
        <p:nvPicPr>
          <p:cNvPr id="123" name="Grafik 8">
            <a:extLst>
              <a:ext uri="{FF2B5EF4-FFF2-40B4-BE49-F238E27FC236}">
                <a16:creationId xmlns:a16="http://schemas.microsoft.com/office/drawing/2014/main" id="{D86397DA-029B-6229-00BC-5EED8298377E}"/>
              </a:ext>
            </a:extLst>
          </p:cNvPr>
          <p:cNvPicPr>
            <a:picLocks noChangeAspect="1"/>
          </p:cNvPicPr>
          <p:nvPr userDrawn="1"/>
        </p:nvPicPr>
        <p:blipFill>
          <a:blip r:embed="rId4"/>
          <a:stretch>
            <a:fillRect/>
          </a:stretch>
        </p:blipFill>
        <p:spPr>
          <a:xfrm>
            <a:off x="407987" y="4024988"/>
            <a:ext cx="388060" cy="259295"/>
          </a:xfrm>
          <a:prstGeom prst="rect">
            <a:avLst/>
          </a:prstGeom>
        </p:spPr>
      </p:pic>
      <p:sp>
        <p:nvSpPr>
          <p:cNvPr id="124" name="Rectangle 110">
            <a:extLst>
              <a:ext uri="{FF2B5EF4-FFF2-40B4-BE49-F238E27FC236}">
                <a16:creationId xmlns:a16="http://schemas.microsoft.com/office/drawing/2014/main" id="{F8E7C822-2542-0C17-23F2-F6FED07BEC0D}"/>
              </a:ext>
            </a:extLst>
          </p:cNvPr>
          <p:cNvSpPr>
            <a:spLocks noChangeArrowheads="1"/>
          </p:cNvSpPr>
          <p:nvPr userDrawn="1"/>
        </p:nvSpPr>
        <p:spPr bwMode="auto">
          <a:xfrm>
            <a:off x="867161" y="403512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Belgium</a:t>
            </a:r>
          </a:p>
        </p:txBody>
      </p:sp>
      <p:sp>
        <p:nvSpPr>
          <p:cNvPr id="129" name="Rectangle 118">
            <a:extLst>
              <a:ext uri="{FF2B5EF4-FFF2-40B4-BE49-F238E27FC236}">
                <a16:creationId xmlns:a16="http://schemas.microsoft.com/office/drawing/2014/main" id="{F9427890-59BF-235C-6785-99B5DC575975}"/>
              </a:ext>
            </a:extLst>
          </p:cNvPr>
          <p:cNvSpPr>
            <a:spLocks noChangeArrowheads="1"/>
          </p:cNvSpPr>
          <p:nvPr userDrawn="1"/>
        </p:nvSpPr>
        <p:spPr bwMode="auto">
          <a:xfrm>
            <a:off x="867161" y="364722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ustria</a:t>
            </a:r>
          </a:p>
        </p:txBody>
      </p:sp>
      <p:pic>
        <p:nvPicPr>
          <p:cNvPr id="130" name="Grafik 29">
            <a:extLst>
              <a:ext uri="{FF2B5EF4-FFF2-40B4-BE49-F238E27FC236}">
                <a16:creationId xmlns:a16="http://schemas.microsoft.com/office/drawing/2014/main" id="{C7CDE5FD-6758-86C1-8B5E-74168DAA5ADA}"/>
              </a:ext>
            </a:extLst>
          </p:cNvPr>
          <p:cNvPicPr>
            <a:picLocks noChangeAspect="1"/>
          </p:cNvPicPr>
          <p:nvPr userDrawn="1"/>
        </p:nvPicPr>
        <p:blipFill>
          <a:blip r:embed="rId5"/>
          <a:stretch>
            <a:fillRect/>
          </a:stretch>
        </p:blipFill>
        <p:spPr>
          <a:xfrm>
            <a:off x="407987" y="3647221"/>
            <a:ext cx="387258" cy="264308"/>
          </a:xfrm>
          <a:prstGeom prst="rect">
            <a:avLst/>
          </a:prstGeom>
          <a:ln>
            <a:solidFill>
              <a:schemeClr val="accent6"/>
            </a:solidFill>
          </a:ln>
        </p:spPr>
      </p:pic>
      <p:pic>
        <p:nvPicPr>
          <p:cNvPr id="135" name="Grafik 33">
            <a:extLst>
              <a:ext uri="{FF2B5EF4-FFF2-40B4-BE49-F238E27FC236}">
                <a16:creationId xmlns:a16="http://schemas.microsoft.com/office/drawing/2014/main" id="{84FE096F-711C-0D66-084E-8A263E15B795}"/>
              </a:ext>
            </a:extLst>
          </p:cNvPr>
          <p:cNvPicPr>
            <a:picLocks noChangeAspect="1"/>
          </p:cNvPicPr>
          <p:nvPr userDrawn="1"/>
        </p:nvPicPr>
        <p:blipFill>
          <a:blip r:embed="rId6"/>
          <a:stretch>
            <a:fillRect/>
          </a:stretch>
        </p:blipFill>
        <p:spPr>
          <a:xfrm>
            <a:off x="407987" y="3267843"/>
            <a:ext cx="390500" cy="265918"/>
          </a:xfrm>
          <a:prstGeom prst="rect">
            <a:avLst/>
          </a:prstGeom>
        </p:spPr>
      </p:pic>
      <p:sp>
        <p:nvSpPr>
          <p:cNvPr id="136" name="Rectangle 93">
            <a:extLst>
              <a:ext uri="{FF2B5EF4-FFF2-40B4-BE49-F238E27FC236}">
                <a16:creationId xmlns:a16="http://schemas.microsoft.com/office/drawing/2014/main" id="{2B12EE75-50E9-1AD2-8AF8-81F8C6581478}"/>
              </a:ext>
            </a:extLst>
          </p:cNvPr>
          <p:cNvSpPr>
            <a:spLocks noChangeArrowheads="1"/>
          </p:cNvSpPr>
          <p:nvPr userDrawn="1"/>
        </p:nvSpPr>
        <p:spPr bwMode="auto">
          <a:xfrm>
            <a:off x="867161" y="328129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ustralia</a:t>
            </a:r>
            <a:endParaRPr kumimoji="0" lang="en-US" sz="18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sp>
        <p:nvSpPr>
          <p:cNvPr id="143" name="Rectangle 363">
            <a:extLst>
              <a:ext uri="{FF2B5EF4-FFF2-40B4-BE49-F238E27FC236}">
                <a16:creationId xmlns:a16="http://schemas.microsoft.com/office/drawing/2014/main" id="{E47FBF01-5678-3D40-3092-DD1D13E72F99}"/>
              </a:ext>
            </a:extLst>
          </p:cNvPr>
          <p:cNvSpPr>
            <a:spLocks noChangeArrowheads="1"/>
          </p:cNvSpPr>
          <p:nvPr userDrawn="1"/>
        </p:nvSpPr>
        <p:spPr bwMode="auto">
          <a:xfrm>
            <a:off x="867161" y="290208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rgentina</a:t>
            </a:r>
          </a:p>
        </p:txBody>
      </p:sp>
      <p:pic>
        <p:nvPicPr>
          <p:cNvPr id="144" name="Grafik 58">
            <a:extLst>
              <a:ext uri="{FF2B5EF4-FFF2-40B4-BE49-F238E27FC236}">
                <a16:creationId xmlns:a16="http://schemas.microsoft.com/office/drawing/2014/main" id="{E231E1E4-68B7-92F0-D4B7-181054BE83AB}"/>
              </a:ext>
            </a:extLst>
          </p:cNvPr>
          <p:cNvPicPr>
            <a:picLocks noChangeAspect="1"/>
          </p:cNvPicPr>
          <p:nvPr userDrawn="1"/>
        </p:nvPicPr>
        <p:blipFill>
          <a:blip r:embed="rId7"/>
          <a:stretch>
            <a:fillRect/>
          </a:stretch>
        </p:blipFill>
        <p:spPr>
          <a:xfrm>
            <a:off x="407987" y="2891909"/>
            <a:ext cx="388060" cy="259381"/>
          </a:xfrm>
          <a:prstGeom prst="rect">
            <a:avLst/>
          </a:prstGeom>
          <a:ln>
            <a:solidFill>
              <a:schemeClr val="accent6"/>
            </a:solidFill>
          </a:ln>
        </p:spPr>
      </p:pic>
      <p:sp>
        <p:nvSpPr>
          <p:cNvPr id="149" name="Rectangle 85">
            <a:extLst>
              <a:ext uri="{FF2B5EF4-FFF2-40B4-BE49-F238E27FC236}">
                <a16:creationId xmlns:a16="http://schemas.microsoft.com/office/drawing/2014/main" id="{F7C36B8E-C25E-1267-4AA8-74B601992BE8}"/>
              </a:ext>
            </a:extLst>
          </p:cNvPr>
          <p:cNvSpPr>
            <a:spLocks noChangeArrowheads="1"/>
          </p:cNvSpPr>
          <p:nvPr userDrawn="1"/>
        </p:nvSpPr>
        <p:spPr bwMode="auto">
          <a:xfrm>
            <a:off x="867161" y="441656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Brazil</a:t>
            </a:r>
          </a:p>
        </p:txBody>
      </p:sp>
      <p:pic>
        <p:nvPicPr>
          <p:cNvPr id="150" name="Grafik 31">
            <a:extLst>
              <a:ext uri="{FF2B5EF4-FFF2-40B4-BE49-F238E27FC236}">
                <a16:creationId xmlns:a16="http://schemas.microsoft.com/office/drawing/2014/main" id="{ED03557B-F8D3-044F-C582-4531A39B531D}"/>
              </a:ext>
            </a:extLst>
          </p:cNvPr>
          <p:cNvPicPr>
            <a:picLocks noChangeAspect="1"/>
          </p:cNvPicPr>
          <p:nvPr userDrawn="1"/>
        </p:nvPicPr>
        <p:blipFill>
          <a:blip r:embed="rId8"/>
          <a:stretch>
            <a:fillRect/>
          </a:stretch>
        </p:blipFill>
        <p:spPr>
          <a:xfrm>
            <a:off x="407987" y="4404971"/>
            <a:ext cx="390195" cy="262202"/>
          </a:xfrm>
          <a:prstGeom prst="rect">
            <a:avLst/>
          </a:prstGeom>
        </p:spPr>
      </p:pic>
      <p:sp>
        <p:nvSpPr>
          <p:cNvPr id="161" name="Rectangle 363">
            <a:extLst>
              <a:ext uri="{FF2B5EF4-FFF2-40B4-BE49-F238E27FC236}">
                <a16:creationId xmlns:a16="http://schemas.microsoft.com/office/drawing/2014/main" id="{6BA6DF07-2BA4-5EF5-7F1E-221FDA3F694C}"/>
              </a:ext>
            </a:extLst>
          </p:cNvPr>
          <p:cNvSpPr>
            <a:spLocks noChangeArrowheads="1"/>
          </p:cNvSpPr>
          <p:nvPr userDrawn="1"/>
        </p:nvSpPr>
        <p:spPr bwMode="auto">
          <a:xfrm>
            <a:off x="867161" y="479190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anada</a:t>
            </a:r>
          </a:p>
        </p:txBody>
      </p:sp>
      <p:pic>
        <p:nvPicPr>
          <p:cNvPr id="162" name="Grafik 66">
            <a:extLst>
              <a:ext uri="{FF2B5EF4-FFF2-40B4-BE49-F238E27FC236}">
                <a16:creationId xmlns:a16="http://schemas.microsoft.com/office/drawing/2014/main" id="{9B8C417F-4A8F-7A69-CA90-528934459FBB}"/>
              </a:ext>
            </a:extLst>
          </p:cNvPr>
          <p:cNvPicPr>
            <a:picLocks noChangeAspect="1"/>
          </p:cNvPicPr>
          <p:nvPr userDrawn="1"/>
        </p:nvPicPr>
        <p:blipFill>
          <a:blip r:embed="rId9"/>
          <a:stretch>
            <a:fillRect/>
          </a:stretch>
        </p:blipFill>
        <p:spPr>
          <a:xfrm>
            <a:off x="407987" y="4780633"/>
            <a:ext cx="388569" cy="261560"/>
          </a:xfrm>
          <a:prstGeom prst="rect">
            <a:avLst/>
          </a:prstGeom>
          <a:ln>
            <a:solidFill>
              <a:schemeClr val="accent6"/>
            </a:solidFill>
          </a:ln>
        </p:spPr>
      </p:pic>
      <p:pic>
        <p:nvPicPr>
          <p:cNvPr id="121" name="Picture 24" descr="Dänemark Flagge">
            <a:extLst>
              <a:ext uri="{FF2B5EF4-FFF2-40B4-BE49-F238E27FC236}">
                <a16:creationId xmlns:a16="http://schemas.microsoft.com/office/drawing/2014/main" id="{EA400D79-C3DE-5B9E-B953-B05BA2D4ACE0}"/>
              </a:ext>
            </a:extLst>
          </p:cNvPr>
          <p:cNvPicPr preferRelativeResize="0">
            <a:picLocks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2533700" y="2896486"/>
            <a:ext cx="388060" cy="254803"/>
          </a:xfrm>
          <a:prstGeom prst="rect">
            <a:avLst/>
          </a:prstGeom>
          <a:noFill/>
          <a:extLst>
            <a:ext uri="{909E8E84-426E-40DD-AFC4-6F175D3DCCD1}">
              <a14:hiddenFill xmlns:a14="http://schemas.microsoft.com/office/drawing/2010/main">
                <a:solidFill>
                  <a:srgbClr val="FFFFFF"/>
                </a:solidFill>
              </a14:hiddenFill>
            </a:ext>
          </a:extLst>
        </p:spPr>
      </p:pic>
      <p:sp>
        <p:nvSpPr>
          <p:cNvPr id="122" name="Rectangle 363">
            <a:extLst>
              <a:ext uri="{FF2B5EF4-FFF2-40B4-BE49-F238E27FC236}">
                <a16:creationId xmlns:a16="http://schemas.microsoft.com/office/drawing/2014/main" id="{0DFB2FDB-98DB-B26F-999B-C8D750F4B408}"/>
              </a:ext>
            </a:extLst>
          </p:cNvPr>
          <p:cNvSpPr>
            <a:spLocks noChangeArrowheads="1"/>
          </p:cNvSpPr>
          <p:nvPr userDrawn="1"/>
        </p:nvSpPr>
        <p:spPr bwMode="auto">
          <a:xfrm>
            <a:off x="2992875" y="290437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Denmark</a:t>
            </a:r>
          </a:p>
        </p:txBody>
      </p:sp>
      <p:sp>
        <p:nvSpPr>
          <p:cNvPr id="125" name="Rectangle 134">
            <a:extLst>
              <a:ext uri="{FF2B5EF4-FFF2-40B4-BE49-F238E27FC236}">
                <a16:creationId xmlns:a16="http://schemas.microsoft.com/office/drawing/2014/main" id="{71FE0CA0-6C1D-2A2A-F1EF-90AE8C992572}"/>
              </a:ext>
            </a:extLst>
          </p:cNvPr>
          <p:cNvSpPr>
            <a:spLocks noChangeArrowheads="1"/>
          </p:cNvSpPr>
          <p:nvPr userDrawn="1"/>
        </p:nvSpPr>
        <p:spPr bwMode="auto">
          <a:xfrm>
            <a:off x="2984117" y="516863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taly</a:t>
            </a:r>
          </a:p>
        </p:txBody>
      </p:sp>
      <p:pic>
        <p:nvPicPr>
          <p:cNvPr id="126" name="Picture 251">
            <a:extLst>
              <a:ext uri="{FF2B5EF4-FFF2-40B4-BE49-F238E27FC236}">
                <a16:creationId xmlns:a16="http://schemas.microsoft.com/office/drawing/2014/main" id="{EFC9131C-8EF2-CEF1-3D0F-E5631C1CCA4B}"/>
              </a:ext>
            </a:extLst>
          </p:cNvPr>
          <p:cNvPicPr>
            <a:picLocks noChangeAspect="1" noChangeArrowheads="1"/>
          </p:cNvPicPr>
          <p:nvPr userDrawn="1"/>
        </p:nvPicPr>
        <p:blipFill>
          <a:blip r:embed="rId11" cstate="hqprint">
            <a:extLst>
              <a:ext uri="{28A0092B-C50C-407E-A947-70E740481C1C}">
                <a14:useLocalDpi xmlns:a14="http://schemas.microsoft.com/office/drawing/2010/main" val="0"/>
              </a:ext>
            </a:extLst>
          </a:blip>
          <a:srcRect/>
          <a:stretch>
            <a:fillRect/>
          </a:stretch>
        </p:blipFill>
        <p:spPr bwMode="auto">
          <a:xfrm>
            <a:off x="2534503" y="5154887"/>
            <a:ext cx="388400" cy="266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 name="Rectangle 340">
            <a:extLst>
              <a:ext uri="{FF2B5EF4-FFF2-40B4-BE49-F238E27FC236}">
                <a16:creationId xmlns:a16="http://schemas.microsoft.com/office/drawing/2014/main" id="{2CF7259C-0DBA-D1B2-B62E-12727DBBB8C9}"/>
              </a:ext>
            </a:extLst>
          </p:cNvPr>
          <p:cNvSpPr>
            <a:spLocks noChangeArrowheads="1"/>
          </p:cNvSpPr>
          <p:nvPr userDrawn="1"/>
        </p:nvSpPr>
        <p:spPr bwMode="auto">
          <a:xfrm>
            <a:off x="2984117" y="47866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ndia</a:t>
            </a:r>
          </a:p>
        </p:txBody>
      </p:sp>
      <p:pic>
        <p:nvPicPr>
          <p:cNvPr id="134" name="Grafik 54">
            <a:extLst>
              <a:ext uri="{FF2B5EF4-FFF2-40B4-BE49-F238E27FC236}">
                <a16:creationId xmlns:a16="http://schemas.microsoft.com/office/drawing/2014/main" id="{E5FA624F-08E8-2D4B-23F9-F55328FC4B57}"/>
              </a:ext>
            </a:extLst>
          </p:cNvPr>
          <p:cNvPicPr>
            <a:picLocks noChangeAspect="1"/>
          </p:cNvPicPr>
          <p:nvPr userDrawn="1"/>
        </p:nvPicPr>
        <p:blipFill>
          <a:blip r:embed="rId12"/>
          <a:stretch>
            <a:fillRect/>
          </a:stretch>
        </p:blipFill>
        <p:spPr>
          <a:xfrm>
            <a:off x="2534503" y="4777120"/>
            <a:ext cx="388060" cy="258060"/>
          </a:xfrm>
          <a:prstGeom prst="rect">
            <a:avLst/>
          </a:prstGeom>
          <a:ln>
            <a:solidFill>
              <a:schemeClr val="accent6"/>
            </a:solidFill>
          </a:ln>
        </p:spPr>
      </p:pic>
      <p:sp>
        <p:nvSpPr>
          <p:cNvPr id="139" name="Rectangle 340">
            <a:extLst>
              <a:ext uri="{FF2B5EF4-FFF2-40B4-BE49-F238E27FC236}">
                <a16:creationId xmlns:a16="http://schemas.microsoft.com/office/drawing/2014/main" id="{4D756FB0-2F48-FFB8-A861-0E75D1ED01FE}"/>
              </a:ext>
            </a:extLst>
          </p:cNvPr>
          <p:cNvSpPr>
            <a:spLocks noChangeArrowheads="1"/>
          </p:cNvSpPr>
          <p:nvPr userDrawn="1"/>
        </p:nvSpPr>
        <p:spPr bwMode="auto">
          <a:xfrm>
            <a:off x="2984117" y="440933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Greece</a:t>
            </a:r>
          </a:p>
        </p:txBody>
      </p:sp>
      <p:pic>
        <p:nvPicPr>
          <p:cNvPr id="140" name="Grafik 57">
            <a:extLst>
              <a:ext uri="{FF2B5EF4-FFF2-40B4-BE49-F238E27FC236}">
                <a16:creationId xmlns:a16="http://schemas.microsoft.com/office/drawing/2014/main" id="{100E31CF-C720-ECED-C357-212D18CC15D0}"/>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2534503" y="4397742"/>
            <a:ext cx="388060" cy="262205"/>
          </a:xfrm>
          <a:prstGeom prst="rect">
            <a:avLst/>
          </a:prstGeom>
        </p:spPr>
      </p:pic>
      <p:sp>
        <p:nvSpPr>
          <p:cNvPr id="141" name="Rectangle 97">
            <a:extLst>
              <a:ext uri="{FF2B5EF4-FFF2-40B4-BE49-F238E27FC236}">
                <a16:creationId xmlns:a16="http://schemas.microsoft.com/office/drawing/2014/main" id="{54D33270-AA90-2BB4-76BE-3C0B71FCEA94}"/>
              </a:ext>
            </a:extLst>
          </p:cNvPr>
          <p:cNvSpPr>
            <a:spLocks noChangeArrowheads="1"/>
          </p:cNvSpPr>
          <p:nvPr userDrawn="1"/>
        </p:nvSpPr>
        <p:spPr bwMode="auto">
          <a:xfrm>
            <a:off x="2984117" y="403353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Germany</a:t>
            </a:r>
          </a:p>
        </p:txBody>
      </p:sp>
      <p:pic>
        <p:nvPicPr>
          <p:cNvPr id="142" name="Picture 246">
            <a:extLst>
              <a:ext uri="{FF2B5EF4-FFF2-40B4-BE49-F238E27FC236}">
                <a16:creationId xmlns:a16="http://schemas.microsoft.com/office/drawing/2014/main" id="{453CA485-FE8C-E364-0387-223D9C89B8EE}"/>
              </a:ext>
            </a:extLst>
          </p:cNvPr>
          <p:cNvPicPr>
            <a:picLocks noChangeAspect="1" noChangeArrowheads="1"/>
          </p:cNvPicPr>
          <p:nvPr userDrawn="1"/>
        </p:nvPicPr>
        <p:blipFill>
          <a:blip r:embed="rId14" cstate="hqprint">
            <a:extLst>
              <a:ext uri="{28A0092B-C50C-407E-A947-70E740481C1C}">
                <a14:useLocalDpi xmlns:a14="http://schemas.microsoft.com/office/drawing/2010/main" val="0"/>
              </a:ext>
            </a:extLst>
          </a:blip>
          <a:srcRect/>
          <a:stretch>
            <a:fillRect/>
          </a:stretch>
        </p:blipFill>
        <p:spPr bwMode="auto">
          <a:xfrm>
            <a:off x="2534503" y="4021808"/>
            <a:ext cx="387258" cy="262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1" name="Rectangle 93">
            <a:extLst>
              <a:ext uri="{FF2B5EF4-FFF2-40B4-BE49-F238E27FC236}">
                <a16:creationId xmlns:a16="http://schemas.microsoft.com/office/drawing/2014/main" id="{0A728BD5-E09A-550F-A39E-9C0DB39B9867}"/>
              </a:ext>
            </a:extLst>
          </p:cNvPr>
          <p:cNvSpPr>
            <a:spLocks noChangeArrowheads="1"/>
          </p:cNvSpPr>
          <p:nvPr userDrawn="1"/>
        </p:nvSpPr>
        <p:spPr bwMode="auto">
          <a:xfrm>
            <a:off x="2984117" y="554646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Japan</a:t>
            </a:r>
          </a:p>
        </p:txBody>
      </p:sp>
      <p:pic>
        <p:nvPicPr>
          <p:cNvPr id="152" name="Grafik 64">
            <a:extLst>
              <a:ext uri="{FF2B5EF4-FFF2-40B4-BE49-F238E27FC236}">
                <a16:creationId xmlns:a16="http://schemas.microsoft.com/office/drawing/2014/main" id="{D8618EB4-AD9B-3962-A86B-F230318D1039}"/>
              </a:ext>
            </a:extLst>
          </p:cNvPr>
          <p:cNvPicPr preferRelativeResize="0">
            <a:picLocks/>
          </p:cNvPicPr>
          <p:nvPr userDrawn="1"/>
        </p:nvPicPr>
        <p:blipFill>
          <a:blip r:embed="rId15" cstate="print">
            <a:extLst>
              <a:ext uri="{28A0092B-C50C-407E-A947-70E740481C1C}">
                <a14:useLocalDpi xmlns:a14="http://schemas.microsoft.com/office/drawing/2010/main" val="0"/>
              </a:ext>
            </a:extLst>
          </a:blip>
          <a:stretch>
            <a:fillRect/>
          </a:stretch>
        </p:blipFill>
        <p:spPr>
          <a:xfrm>
            <a:off x="2534503" y="5534871"/>
            <a:ext cx="388569" cy="262202"/>
          </a:xfrm>
          <a:prstGeom prst="rect">
            <a:avLst/>
          </a:prstGeom>
          <a:ln>
            <a:solidFill>
              <a:schemeClr val="accent6"/>
            </a:solidFill>
          </a:ln>
        </p:spPr>
      </p:pic>
      <p:sp>
        <p:nvSpPr>
          <p:cNvPr id="155" name="Rectangle 93">
            <a:extLst>
              <a:ext uri="{FF2B5EF4-FFF2-40B4-BE49-F238E27FC236}">
                <a16:creationId xmlns:a16="http://schemas.microsoft.com/office/drawing/2014/main" id="{D4D501A6-38EA-4F03-1341-9613EA49CC33}"/>
              </a:ext>
            </a:extLst>
          </p:cNvPr>
          <p:cNvSpPr>
            <a:spLocks noChangeArrowheads="1"/>
          </p:cNvSpPr>
          <p:nvPr userDrawn="1"/>
        </p:nvSpPr>
        <p:spPr bwMode="auto">
          <a:xfrm>
            <a:off x="2992875" y="328581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inland</a:t>
            </a:r>
          </a:p>
        </p:txBody>
      </p:sp>
      <p:pic>
        <p:nvPicPr>
          <p:cNvPr id="156" name="Grafik 65">
            <a:extLst>
              <a:ext uri="{FF2B5EF4-FFF2-40B4-BE49-F238E27FC236}">
                <a16:creationId xmlns:a16="http://schemas.microsoft.com/office/drawing/2014/main" id="{E97235BC-4DEE-F6C1-BAFE-2295B5C9B77F}"/>
              </a:ext>
            </a:extLst>
          </p:cNvPr>
          <p:cNvPicPr>
            <a:picLocks noChangeAspect="1"/>
          </p:cNvPicPr>
          <p:nvPr userDrawn="1"/>
        </p:nvPicPr>
        <p:blipFill>
          <a:blip r:embed="rId16"/>
          <a:stretch>
            <a:fillRect/>
          </a:stretch>
        </p:blipFill>
        <p:spPr>
          <a:xfrm>
            <a:off x="2533700" y="3272148"/>
            <a:ext cx="388569" cy="266350"/>
          </a:xfrm>
          <a:prstGeom prst="rect">
            <a:avLst/>
          </a:prstGeom>
          <a:ln>
            <a:solidFill>
              <a:schemeClr val="accent6"/>
            </a:solidFill>
          </a:ln>
        </p:spPr>
      </p:pic>
      <p:sp>
        <p:nvSpPr>
          <p:cNvPr id="163" name="Rectangle 122">
            <a:extLst>
              <a:ext uri="{FF2B5EF4-FFF2-40B4-BE49-F238E27FC236}">
                <a16:creationId xmlns:a16="http://schemas.microsoft.com/office/drawing/2014/main" id="{F1229C77-EE76-F314-A054-15C2794A0774}"/>
              </a:ext>
            </a:extLst>
          </p:cNvPr>
          <p:cNvSpPr>
            <a:spLocks noChangeArrowheads="1"/>
          </p:cNvSpPr>
          <p:nvPr userDrawn="1"/>
        </p:nvSpPr>
        <p:spPr bwMode="auto">
          <a:xfrm>
            <a:off x="2992875" y="366859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rance</a:t>
            </a:r>
          </a:p>
        </p:txBody>
      </p:sp>
      <p:pic>
        <p:nvPicPr>
          <p:cNvPr id="164" name="Grafik 30">
            <a:extLst>
              <a:ext uri="{FF2B5EF4-FFF2-40B4-BE49-F238E27FC236}">
                <a16:creationId xmlns:a16="http://schemas.microsoft.com/office/drawing/2014/main" id="{76E165FE-35AE-8DEB-EB0E-68FAB6E612D5}"/>
              </a:ext>
            </a:extLst>
          </p:cNvPr>
          <p:cNvPicPr>
            <a:picLocks noChangeAspect="1"/>
          </p:cNvPicPr>
          <p:nvPr userDrawn="1"/>
        </p:nvPicPr>
        <p:blipFill>
          <a:blip r:embed="rId17"/>
          <a:stretch>
            <a:fillRect/>
          </a:stretch>
        </p:blipFill>
        <p:spPr>
          <a:xfrm>
            <a:off x="2533700" y="3655677"/>
            <a:ext cx="388060" cy="264854"/>
          </a:xfrm>
          <a:prstGeom prst="rect">
            <a:avLst/>
          </a:prstGeom>
          <a:ln>
            <a:solidFill>
              <a:schemeClr val="accent6"/>
            </a:solidFill>
          </a:ln>
        </p:spPr>
      </p:pic>
      <p:pic>
        <p:nvPicPr>
          <p:cNvPr id="109" name="Grafik 7">
            <a:extLst>
              <a:ext uri="{FF2B5EF4-FFF2-40B4-BE49-F238E27FC236}">
                <a16:creationId xmlns:a16="http://schemas.microsoft.com/office/drawing/2014/main" id="{D9FD4B1F-25E4-D3D5-9194-241216A6A0F7}"/>
              </a:ext>
            </a:extLst>
          </p:cNvPr>
          <p:cNvPicPr>
            <a:picLocks noChangeAspect="1"/>
          </p:cNvPicPr>
          <p:nvPr userDrawn="1"/>
        </p:nvPicPr>
        <p:blipFill>
          <a:blip r:embed="rId18"/>
          <a:stretch>
            <a:fillRect/>
          </a:stretch>
        </p:blipFill>
        <p:spPr>
          <a:xfrm>
            <a:off x="4659414" y="3282747"/>
            <a:ext cx="388060" cy="258060"/>
          </a:xfrm>
          <a:prstGeom prst="rect">
            <a:avLst/>
          </a:prstGeom>
          <a:ln>
            <a:solidFill>
              <a:schemeClr val="accent6"/>
            </a:solidFill>
          </a:ln>
        </p:spPr>
      </p:pic>
      <p:sp>
        <p:nvSpPr>
          <p:cNvPr id="110" name="Rectangle 114">
            <a:extLst>
              <a:ext uri="{FF2B5EF4-FFF2-40B4-BE49-F238E27FC236}">
                <a16:creationId xmlns:a16="http://schemas.microsoft.com/office/drawing/2014/main" id="{18BFF3EC-C7FD-5D95-B08C-02728C92F9C1}"/>
              </a:ext>
            </a:extLst>
          </p:cNvPr>
          <p:cNvSpPr>
            <a:spLocks noChangeArrowheads="1"/>
          </p:cNvSpPr>
          <p:nvPr userDrawn="1"/>
        </p:nvSpPr>
        <p:spPr bwMode="auto">
          <a:xfrm>
            <a:off x="5109027" y="329226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Netherlands</a:t>
            </a:r>
          </a:p>
        </p:txBody>
      </p:sp>
      <p:pic>
        <p:nvPicPr>
          <p:cNvPr id="115" name="Picture 55" descr="http://ts2.mm.bing.net/th?id=HN.608007944726712025&amp;pid=15.1&amp;P=0">
            <a:extLst>
              <a:ext uri="{FF2B5EF4-FFF2-40B4-BE49-F238E27FC236}">
                <a16:creationId xmlns:a16="http://schemas.microsoft.com/office/drawing/2014/main" id="{C60957C5-8A92-0818-8095-8F1AE954C352}"/>
              </a:ext>
            </a:extLst>
          </p:cNvPr>
          <p:cNvPicPr preferRelativeResize="0">
            <a:picLocks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4659414" y="3659225"/>
            <a:ext cx="388060" cy="266477"/>
          </a:xfrm>
          <a:prstGeom prst="rect">
            <a:avLst/>
          </a:prstGeom>
          <a:noFill/>
          <a:extLst>
            <a:ext uri="{909E8E84-426E-40DD-AFC4-6F175D3DCCD1}">
              <a14:hiddenFill xmlns:a14="http://schemas.microsoft.com/office/drawing/2010/main">
                <a:solidFill>
                  <a:srgbClr val="FFFFFF"/>
                </a:solidFill>
              </a14:hiddenFill>
            </a:ext>
          </a:extLst>
        </p:spPr>
      </p:pic>
      <p:sp>
        <p:nvSpPr>
          <p:cNvPr id="116" name="Rectangle 93">
            <a:extLst>
              <a:ext uri="{FF2B5EF4-FFF2-40B4-BE49-F238E27FC236}">
                <a16:creationId xmlns:a16="http://schemas.microsoft.com/office/drawing/2014/main" id="{CD3E475D-CB1C-CD13-DA49-698C533E649C}"/>
              </a:ext>
            </a:extLst>
          </p:cNvPr>
          <p:cNvSpPr>
            <a:spLocks noChangeArrowheads="1"/>
          </p:cNvSpPr>
          <p:nvPr userDrawn="1"/>
        </p:nvSpPr>
        <p:spPr bwMode="auto">
          <a:xfrm>
            <a:off x="5109027" y="367295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Norway</a:t>
            </a:r>
          </a:p>
        </p:txBody>
      </p:sp>
      <p:sp>
        <p:nvSpPr>
          <p:cNvPr id="119" name="Rectangle 336">
            <a:extLst>
              <a:ext uri="{FF2B5EF4-FFF2-40B4-BE49-F238E27FC236}">
                <a16:creationId xmlns:a16="http://schemas.microsoft.com/office/drawing/2014/main" id="{2ED56CA1-DC08-660C-B5DA-0DBAC57067D3}"/>
              </a:ext>
            </a:extLst>
          </p:cNvPr>
          <p:cNvSpPr>
            <a:spLocks noChangeArrowheads="1"/>
          </p:cNvSpPr>
          <p:nvPr userDrawn="1"/>
        </p:nvSpPr>
        <p:spPr bwMode="auto">
          <a:xfrm>
            <a:off x="5109027" y="405075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Poland</a:t>
            </a:r>
          </a:p>
        </p:txBody>
      </p:sp>
      <p:pic>
        <p:nvPicPr>
          <p:cNvPr id="120" name="Grafik 32">
            <a:extLst>
              <a:ext uri="{FF2B5EF4-FFF2-40B4-BE49-F238E27FC236}">
                <a16:creationId xmlns:a16="http://schemas.microsoft.com/office/drawing/2014/main" id="{06D84435-41DE-F90F-93DA-237DB82B229D}"/>
              </a:ext>
            </a:extLst>
          </p:cNvPr>
          <p:cNvPicPr>
            <a:picLocks noChangeAspect="1"/>
          </p:cNvPicPr>
          <p:nvPr userDrawn="1"/>
        </p:nvPicPr>
        <p:blipFill>
          <a:blip r:embed="rId20"/>
          <a:stretch>
            <a:fillRect/>
          </a:stretch>
        </p:blipFill>
        <p:spPr>
          <a:xfrm>
            <a:off x="4659414" y="4039161"/>
            <a:ext cx="388061" cy="262202"/>
          </a:xfrm>
          <a:prstGeom prst="rect">
            <a:avLst/>
          </a:prstGeom>
          <a:ln>
            <a:solidFill>
              <a:schemeClr val="accent6"/>
            </a:solidFill>
          </a:ln>
        </p:spPr>
      </p:pic>
      <p:sp>
        <p:nvSpPr>
          <p:cNvPr id="137" name="Rectangle 93">
            <a:extLst>
              <a:ext uri="{FF2B5EF4-FFF2-40B4-BE49-F238E27FC236}">
                <a16:creationId xmlns:a16="http://schemas.microsoft.com/office/drawing/2014/main" id="{86EB48C3-F259-40C3-0051-9A91BD035C97}"/>
              </a:ext>
            </a:extLst>
          </p:cNvPr>
          <p:cNvSpPr>
            <a:spLocks noChangeArrowheads="1"/>
          </p:cNvSpPr>
          <p:nvPr userDrawn="1"/>
        </p:nvSpPr>
        <p:spPr bwMode="auto">
          <a:xfrm>
            <a:off x="5115713" y="555337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lovakia</a:t>
            </a:r>
          </a:p>
        </p:txBody>
      </p:sp>
      <p:pic>
        <p:nvPicPr>
          <p:cNvPr id="138" name="Grafik 56">
            <a:extLst>
              <a:ext uri="{FF2B5EF4-FFF2-40B4-BE49-F238E27FC236}">
                <a16:creationId xmlns:a16="http://schemas.microsoft.com/office/drawing/2014/main" id="{E024A080-FA16-EBC6-56D8-4110B09B25F8}"/>
              </a:ext>
            </a:extLst>
          </p:cNvPr>
          <p:cNvPicPr>
            <a:picLocks noChangeAspect="1"/>
          </p:cNvPicPr>
          <p:nvPr userDrawn="1"/>
        </p:nvPicPr>
        <p:blipFill>
          <a:blip r:embed="rId21"/>
          <a:stretch>
            <a:fillRect/>
          </a:stretch>
        </p:blipFill>
        <p:spPr>
          <a:xfrm>
            <a:off x="4659414" y="5543855"/>
            <a:ext cx="388060" cy="258060"/>
          </a:xfrm>
          <a:prstGeom prst="rect">
            <a:avLst/>
          </a:prstGeom>
          <a:ln>
            <a:solidFill>
              <a:schemeClr val="accent6"/>
            </a:solidFill>
          </a:ln>
        </p:spPr>
      </p:pic>
      <p:pic>
        <p:nvPicPr>
          <p:cNvPr id="145" name="Picture 18" descr="Südafrika Flagge">
            <a:extLst>
              <a:ext uri="{FF2B5EF4-FFF2-40B4-BE49-F238E27FC236}">
                <a16:creationId xmlns:a16="http://schemas.microsoft.com/office/drawing/2014/main" id="{4DC3EF76-DFAE-7F36-D867-2236163ACCA1}"/>
              </a:ext>
            </a:extLst>
          </p:cNvPr>
          <p:cNvPicPr preferRelativeResize="0">
            <a:picLocks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4659414" y="5167921"/>
            <a:ext cx="388569" cy="255134"/>
          </a:xfrm>
          <a:prstGeom prst="rect">
            <a:avLst/>
          </a:prstGeom>
          <a:noFill/>
          <a:extLst>
            <a:ext uri="{909E8E84-426E-40DD-AFC4-6F175D3DCCD1}">
              <a14:hiddenFill xmlns:a14="http://schemas.microsoft.com/office/drawing/2010/main">
                <a:solidFill>
                  <a:srgbClr val="FFFFFF"/>
                </a:solidFill>
              </a14:hiddenFill>
            </a:ext>
          </a:extLst>
        </p:spPr>
      </p:pic>
      <p:sp>
        <p:nvSpPr>
          <p:cNvPr id="146" name="Rectangle 340">
            <a:extLst>
              <a:ext uri="{FF2B5EF4-FFF2-40B4-BE49-F238E27FC236}">
                <a16:creationId xmlns:a16="http://schemas.microsoft.com/office/drawing/2014/main" id="{DDDE4561-2691-6419-61BB-A3B917B5C853}"/>
              </a:ext>
            </a:extLst>
          </p:cNvPr>
          <p:cNvSpPr>
            <a:spLocks noChangeArrowheads="1"/>
          </p:cNvSpPr>
          <p:nvPr userDrawn="1"/>
        </p:nvSpPr>
        <p:spPr bwMode="auto">
          <a:xfrm>
            <a:off x="5115713" y="517597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outh Africa</a:t>
            </a:r>
          </a:p>
        </p:txBody>
      </p:sp>
      <p:sp>
        <p:nvSpPr>
          <p:cNvPr id="153" name="Rectangle 93">
            <a:extLst>
              <a:ext uri="{FF2B5EF4-FFF2-40B4-BE49-F238E27FC236}">
                <a16:creationId xmlns:a16="http://schemas.microsoft.com/office/drawing/2014/main" id="{30AEE88C-CED5-4701-B5BE-7CED1B2699BF}"/>
              </a:ext>
            </a:extLst>
          </p:cNvPr>
          <p:cNvSpPr>
            <a:spLocks noChangeArrowheads="1"/>
          </p:cNvSpPr>
          <p:nvPr userDrawn="1"/>
        </p:nvSpPr>
        <p:spPr bwMode="auto">
          <a:xfrm>
            <a:off x="5109027" y="44244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Portugal</a:t>
            </a:r>
          </a:p>
        </p:txBody>
      </p:sp>
      <p:pic>
        <p:nvPicPr>
          <p:cNvPr id="154" name="Grafik 55">
            <a:extLst>
              <a:ext uri="{FF2B5EF4-FFF2-40B4-BE49-F238E27FC236}">
                <a16:creationId xmlns:a16="http://schemas.microsoft.com/office/drawing/2014/main" id="{47C8E10D-3C5B-0470-C440-440B4C97BE56}"/>
              </a:ext>
            </a:extLst>
          </p:cNvPr>
          <p:cNvPicPr>
            <a:picLocks noChangeAspect="1"/>
          </p:cNvPicPr>
          <p:nvPr userDrawn="1"/>
        </p:nvPicPr>
        <p:blipFill>
          <a:blip r:embed="rId23"/>
          <a:stretch>
            <a:fillRect/>
          </a:stretch>
        </p:blipFill>
        <p:spPr>
          <a:xfrm>
            <a:off x="4659414" y="4414823"/>
            <a:ext cx="388352" cy="258253"/>
          </a:xfrm>
          <a:prstGeom prst="rect">
            <a:avLst/>
          </a:prstGeom>
        </p:spPr>
      </p:pic>
      <p:sp>
        <p:nvSpPr>
          <p:cNvPr id="159" name="Rectangle 340">
            <a:extLst>
              <a:ext uri="{FF2B5EF4-FFF2-40B4-BE49-F238E27FC236}">
                <a16:creationId xmlns:a16="http://schemas.microsoft.com/office/drawing/2014/main" id="{9ECE8B09-AD79-F2FA-7CF4-B7103DA153B8}"/>
              </a:ext>
            </a:extLst>
          </p:cNvPr>
          <p:cNvSpPr>
            <a:spLocks noChangeArrowheads="1"/>
          </p:cNvSpPr>
          <p:nvPr userDrawn="1"/>
        </p:nvSpPr>
        <p:spPr bwMode="auto">
          <a:xfrm>
            <a:off x="5109027" y="291635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Mexico</a:t>
            </a:r>
          </a:p>
        </p:txBody>
      </p:sp>
      <p:pic>
        <p:nvPicPr>
          <p:cNvPr id="160" name="Grafik 49">
            <a:extLst>
              <a:ext uri="{FF2B5EF4-FFF2-40B4-BE49-F238E27FC236}">
                <a16:creationId xmlns:a16="http://schemas.microsoft.com/office/drawing/2014/main" id="{F71F6FA5-B3D6-B106-6C06-B9AF37DA3194}"/>
              </a:ext>
            </a:extLst>
          </p:cNvPr>
          <p:cNvPicPr>
            <a:picLocks noChangeAspect="1"/>
          </p:cNvPicPr>
          <p:nvPr userDrawn="1"/>
        </p:nvPicPr>
        <p:blipFill>
          <a:blip r:embed="rId24"/>
          <a:stretch>
            <a:fillRect/>
          </a:stretch>
        </p:blipFill>
        <p:spPr>
          <a:xfrm>
            <a:off x="4659414" y="2906269"/>
            <a:ext cx="388060" cy="259201"/>
          </a:xfrm>
          <a:prstGeom prst="rect">
            <a:avLst/>
          </a:prstGeom>
        </p:spPr>
      </p:pic>
      <p:sp>
        <p:nvSpPr>
          <p:cNvPr id="165" name="Rectangle 363">
            <a:extLst>
              <a:ext uri="{FF2B5EF4-FFF2-40B4-BE49-F238E27FC236}">
                <a16:creationId xmlns:a16="http://schemas.microsoft.com/office/drawing/2014/main" id="{F374A815-37A7-DA65-EBE4-07D475EDD72F}"/>
              </a:ext>
            </a:extLst>
          </p:cNvPr>
          <p:cNvSpPr>
            <a:spLocks noChangeArrowheads="1"/>
          </p:cNvSpPr>
          <p:nvPr userDrawn="1"/>
        </p:nvSpPr>
        <p:spPr bwMode="auto">
          <a:xfrm>
            <a:off x="5109027" y="479835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Russia</a:t>
            </a:r>
          </a:p>
        </p:txBody>
      </p:sp>
      <p:pic>
        <p:nvPicPr>
          <p:cNvPr id="166" name="Grafik 53">
            <a:extLst>
              <a:ext uri="{FF2B5EF4-FFF2-40B4-BE49-F238E27FC236}">
                <a16:creationId xmlns:a16="http://schemas.microsoft.com/office/drawing/2014/main" id="{F74337D5-7548-66EF-E364-89C9AD683B4A}"/>
              </a:ext>
            </a:extLst>
          </p:cNvPr>
          <p:cNvPicPr>
            <a:picLocks noChangeAspect="1"/>
          </p:cNvPicPr>
          <p:nvPr userDrawn="1"/>
        </p:nvPicPr>
        <p:blipFill>
          <a:blip r:embed="rId25"/>
          <a:stretch>
            <a:fillRect/>
          </a:stretch>
        </p:blipFill>
        <p:spPr>
          <a:xfrm>
            <a:off x="4659414" y="4798352"/>
            <a:ext cx="388060" cy="258061"/>
          </a:xfrm>
          <a:prstGeom prst="rect">
            <a:avLst/>
          </a:prstGeom>
          <a:ln>
            <a:solidFill>
              <a:schemeClr val="accent6"/>
            </a:solidFill>
          </a:ln>
        </p:spPr>
      </p:pic>
      <p:sp>
        <p:nvSpPr>
          <p:cNvPr id="111" name="Rectangle 89">
            <a:extLst>
              <a:ext uri="{FF2B5EF4-FFF2-40B4-BE49-F238E27FC236}">
                <a16:creationId xmlns:a16="http://schemas.microsoft.com/office/drawing/2014/main" id="{13D9F7E6-E3C9-41D6-7EDF-4269C6C338BE}"/>
              </a:ext>
            </a:extLst>
          </p:cNvPr>
          <p:cNvSpPr>
            <a:spLocks noChangeArrowheads="1"/>
          </p:cNvSpPr>
          <p:nvPr userDrawn="1"/>
        </p:nvSpPr>
        <p:spPr bwMode="auto">
          <a:xfrm>
            <a:off x="7238551" y="442638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UK</a:t>
            </a:r>
          </a:p>
        </p:txBody>
      </p:sp>
      <p:pic>
        <p:nvPicPr>
          <p:cNvPr id="112" name="Picture 253">
            <a:extLst>
              <a:ext uri="{FF2B5EF4-FFF2-40B4-BE49-F238E27FC236}">
                <a16:creationId xmlns:a16="http://schemas.microsoft.com/office/drawing/2014/main" id="{CBDCDED0-C55B-5DDF-677B-CA34A2CA35A3}"/>
              </a:ext>
            </a:extLst>
          </p:cNvPr>
          <p:cNvPicPr>
            <a:picLocks noChangeAspect="1" noChangeArrowheads="1"/>
          </p:cNvPicPr>
          <p:nvPr userDrawn="1"/>
        </p:nvPicPr>
        <p:blipFill>
          <a:blip r:embed="rId26" cstate="hqprint">
            <a:extLst>
              <a:ext uri="{28A0092B-C50C-407E-A947-70E740481C1C}">
                <a14:useLocalDpi xmlns:a14="http://schemas.microsoft.com/office/drawing/2010/main" val="0"/>
              </a:ext>
            </a:extLst>
          </a:blip>
          <a:srcRect/>
          <a:stretch>
            <a:fillRect/>
          </a:stretch>
        </p:blipFill>
        <p:spPr bwMode="auto">
          <a:xfrm>
            <a:off x="6782251" y="4414387"/>
            <a:ext cx="388060" cy="26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 name="Picture 6" descr="http://wallpaperspoints.com/wp-content/uploads/2013/06/USA-flag-download-hd-wallpapers.gif">
            <a:hlinkClick r:id="rId27"/>
            <a:extLst>
              <a:ext uri="{FF2B5EF4-FFF2-40B4-BE49-F238E27FC236}">
                <a16:creationId xmlns:a16="http://schemas.microsoft.com/office/drawing/2014/main" id="{2CCC8836-F9A6-ABBF-0F6B-10742DB66C40}"/>
              </a:ext>
            </a:extLst>
          </p:cNvPr>
          <p:cNvPicPr preferRelativeResize="0">
            <a:picLocks noChangeArrowheads="1"/>
          </p:cNvPicPr>
          <p:nvPr userDrawn="1"/>
        </p:nvPicPr>
        <p:blipFill>
          <a:blip r:embed="rId28" cstate="hqprint">
            <a:extLst>
              <a:ext uri="{28A0092B-C50C-407E-A947-70E740481C1C}">
                <a14:useLocalDpi xmlns:a14="http://schemas.microsoft.com/office/drawing/2010/main" val="0"/>
              </a:ext>
            </a:extLst>
          </a:blip>
          <a:srcRect/>
          <a:stretch>
            <a:fillRect/>
          </a:stretch>
        </p:blipFill>
        <p:spPr bwMode="auto">
          <a:xfrm>
            <a:off x="6782251" y="4790865"/>
            <a:ext cx="388060" cy="262202"/>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118" name="Rectangle 363">
            <a:extLst>
              <a:ext uri="{FF2B5EF4-FFF2-40B4-BE49-F238E27FC236}">
                <a16:creationId xmlns:a16="http://schemas.microsoft.com/office/drawing/2014/main" id="{CD345D1E-6E0A-608E-C5EE-BD518E18B734}"/>
              </a:ext>
            </a:extLst>
          </p:cNvPr>
          <p:cNvSpPr>
            <a:spLocks noChangeArrowheads="1"/>
          </p:cNvSpPr>
          <p:nvPr userDrawn="1"/>
        </p:nvSpPr>
        <p:spPr bwMode="auto">
          <a:xfrm>
            <a:off x="7238551" y="480245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USA</a:t>
            </a:r>
          </a:p>
        </p:txBody>
      </p:sp>
      <p:sp>
        <p:nvSpPr>
          <p:cNvPr id="127" name="Rectangle 371">
            <a:extLst>
              <a:ext uri="{FF2B5EF4-FFF2-40B4-BE49-F238E27FC236}">
                <a16:creationId xmlns:a16="http://schemas.microsoft.com/office/drawing/2014/main" id="{254B4104-6D57-4DA7-652D-C4A610047560}"/>
              </a:ext>
            </a:extLst>
          </p:cNvPr>
          <p:cNvSpPr>
            <a:spLocks noChangeArrowheads="1"/>
          </p:cNvSpPr>
          <p:nvPr userDrawn="1"/>
        </p:nvSpPr>
        <p:spPr bwMode="auto">
          <a:xfrm>
            <a:off x="7238551" y="329250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weden</a:t>
            </a:r>
          </a:p>
        </p:txBody>
      </p:sp>
      <p:pic>
        <p:nvPicPr>
          <p:cNvPr id="128" name="Grafik 51">
            <a:extLst>
              <a:ext uri="{FF2B5EF4-FFF2-40B4-BE49-F238E27FC236}">
                <a16:creationId xmlns:a16="http://schemas.microsoft.com/office/drawing/2014/main" id="{A71C40E7-3274-38DD-6FF1-49DD8ADFFE6B}"/>
              </a:ext>
            </a:extLst>
          </p:cNvPr>
          <p:cNvPicPr>
            <a:picLocks noChangeAspect="1"/>
          </p:cNvPicPr>
          <p:nvPr userDrawn="1"/>
        </p:nvPicPr>
        <p:blipFill>
          <a:blip r:embed="rId29"/>
          <a:stretch>
            <a:fillRect/>
          </a:stretch>
        </p:blipFill>
        <p:spPr>
          <a:xfrm>
            <a:off x="6782251" y="3282264"/>
            <a:ext cx="388060" cy="259503"/>
          </a:xfrm>
          <a:prstGeom prst="rect">
            <a:avLst/>
          </a:prstGeom>
        </p:spPr>
      </p:pic>
      <p:sp>
        <p:nvSpPr>
          <p:cNvPr id="131" name="Rectangle 371">
            <a:extLst>
              <a:ext uri="{FF2B5EF4-FFF2-40B4-BE49-F238E27FC236}">
                <a16:creationId xmlns:a16="http://schemas.microsoft.com/office/drawing/2014/main" id="{B2B6F63B-27B4-AAD3-F933-01944F7C6862}"/>
              </a:ext>
            </a:extLst>
          </p:cNvPr>
          <p:cNvSpPr>
            <a:spLocks noChangeArrowheads="1"/>
          </p:cNvSpPr>
          <p:nvPr userDrawn="1"/>
        </p:nvSpPr>
        <p:spPr bwMode="auto">
          <a:xfrm>
            <a:off x="7238551" y="291401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pain</a:t>
            </a:r>
          </a:p>
        </p:txBody>
      </p:sp>
      <p:pic>
        <p:nvPicPr>
          <p:cNvPr id="132" name="Grafik 50">
            <a:extLst>
              <a:ext uri="{FF2B5EF4-FFF2-40B4-BE49-F238E27FC236}">
                <a16:creationId xmlns:a16="http://schemas.microsoft.com/office/drawing/2014/main" id="{AFFDD6B2-1C29-B621-C516-3473E5530AF4}"/>
              </a:ext>
            </a:extLst>
          </p:cNvPr>
          <p:cNvPicPr>
            <a:picLocks noChangeAspect="1"/>
          </p:cNvPicPr>
          <p:nvPr userDrawn="1"/>
        </p:nvPicPr>
        <p:blipFill>
          <a:blip r:embed="rId30"/>
          <a:stretch>
            <a:fillRect/>
          </a:stretch>
        </p:blipFill>
        <p:spPr>
          <a:xfrm flipH="1">
            <a:off x="6782251" y="2904497"/>
            <a:ext cx="388060" cy="258060"/>
          </a:xfrm>
          <a:prstGeom prst="rect">
            <a:avLst/>
          </a:prstGeom>
        </p:spPr>
      </p:pic>
      <p:sp>
        <p:nvSpPr>
          <p:cNvPr id="147" name="Rectangle 130">
            <a:extLst>
              <a:ext uri="{FF2B5EF4-FFF2-40B4-BE49-F238E27FC236}">
                <a16:creationId xmlns:a16="http://schemas.microsoft.com/office/drawing/2014/main" id="{C50872E4-12A4-BA6C-B33A-84B9D86D041D}"/>
              </a:ext>
            </a:extLst>
          </p:cNvPr>
          <p:cNvSpPr>
            <a:spLocks noChangeArrowheads="1"/>
          </p:cNvSpPr>
          <p:nvPr userDrawn="1"/>
        </p:nvSpPr>
        <p:spPr bwMode="auto">
          <a:xfrm>
            <a:off x="7238551" y="36738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witzerland</a:t>
            </a:r>
          </a:p>
        </p:txBody>
      </p:sp>
      <p:pic>
        <p:nvPicPr>
          <p:cNvPr id="148" name="Picture 255">
            <a:extLst>
              <a:ext uri="{FF2B5EF4-FFF2-40B4-BE49-F238E27FC236}">
                <a16:creationId xmlns:a16="http://schemas.microsoft.com/office/drawing/2014/main" id="{5082CD09-E24F-DBE2-614F-37FAFA8DEA95}"/>
              </a:ext>
            </a:extLst>
          </p:cNvPr>
          <p:cNvPicPr>
            <a:picLocks noChangeAspect="1" noChangeArrowheads="1"/>
          </p:cNvPicPr>
          <p:nvPr userDrawn="1"/>
        </p:nvPicPr>
        <p:blipFill>
          <a:blip r:embed="rId31" cstate="hqprint">
            <a:extLst>
              <a:ext uri="{28A0092B-C50C-407E-A947-70E740481C1C}">
                <a14:useLocalDpi xmlns:a14="http://schemas.microsoft.com/office/drawing/2010/main" val="0"/>
              </a:ext>
            </a:extLst>
          </a:blip>
          <a:srcRect/>
          <a:stretch>
            <a:fillRect/>
          </a:stretch>
        </p:blipFill>
        <p:spPr bwMode="auto">
          <a:xfrm>
            <a:off x="6782251" y="3662248"/>
            <a:ext cx="388061" cy="262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7" name="Rectangle 126">
            <a:extLst>
              <a:ext uri="{FF2B5EF4-FFF2-40B4-BE49-F238E27FC236}">
                <a16:creationId xmlns:a16="http://schemas.microsoft.com/office/drawing/2014/main" id="{8DD365DB-562B-EC91-FF49-89BDDAADBE7F}"/>
              </a:ext>
            </a:extLst>
          </p:cNvPr>
          <p:cNvSpPr>
            <a:spLocks noChangeArrowheads="1"/>
          </p:cNvSpPr>
          <p:nvPr userDrawn="1"/>
        </p:nvSpPr>
        <p:spPr bwMode="auto">
          <a:xfrm>
            <a:off x="7238551" y="404990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Turkey</a:t>
            </a:r>
          </a:p>
        </p:txBody>
      </p:sp>
      <p:pic>
        <p:nvPicPr>
          <p:cNvPr id="158" name="Picture 256">
            <a:extLst>
              <a:ext uri="{FF2B5EF4-FFF2-40B4-BE49-F238E27FC236}">
                <a16:creationId xmlns:a16="http://schemas.microsoft.com/office/drawing/2014/main" id="{ED232B72-00C2-A9C8-8E8A-8A655D0EFD89}"/>
              </a:ext>
            </a:extLst>
          </p:cNvPr>
          <p:cNvPicPr>
            <a:picLocks noChangeAspect="1" noChangeArrowheads="1"/>
          </p:cNvPicPr>
          <p:nvPr userDrawn="1"/>
        </p:nvPicPr>
        <p:blipFill>
          <a:blip r:embed="rId32" cstate="hqprint">
            <a:extLst>
              <a:ext uri="{28A0092B-C50C-407E-A947-70E740481C1C}">
                <a14:useLocalDpi xmlns:a14="http://schemas.microsoft.com/office/drawing/2010/main" val="0"/>
              </a:ext>
            </a:extLst>
          </a:blip>
          <a:srcRect/>
          <a:stretch>
            <a:fillRect/>
          </a:stretch>
        </p:blipFill>
        <p:spPr bwMode="auto">
          <a:xfrm>
            <a:off x="6782251" y="4037909"/>
            <a:ext cx="388060" cy="26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7" name="Rectangle 93">
            <a:extLst>
              <a:ext uri="{FF2B5EF4-FFF2-40B4-BE49-F238E27FC236}">
                <a16:creationId xmlns:a16="http://schemas.microsoft.com/office/drawing/2014/main" id="{C31373D6-0EDE-C517-1E4B-0463A0338EE6}"/>
              </a:ext>
            </a:extLst>
          </p:cNvPr>
          <p:cNvSpPr>
            <a:spLocks noChangeArrowheads="1"/>
          </p:cNvSpPr>
          <p:nvPr userDrawn="1"/>
        </p:nvSpPr>
        <p:spPr bwMode="auto">
          <a:xfrm>
            <a:off x="7238551" y="552122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Europe</a:t>
            </a:r>
          </a:p>
        </p:txBody>
      </p:sp>
      <p:pic>
        <p:nvPicPr>
          <p:cNvPr id="168" name="Grafik 68">
            <a:extLst>
              <a:ext uri="{FF2B5EF4-FFF2-40B4-BE49-F238E27FC236}">
                <a16:creationId xmlns:a16="http://schemas.microsoft.com/office/drawing/2014/main" id="{464B0594-58DF-CFBE-3AD5-0784F4EFB226}"/>
              </a:ext>
            </a:extLst>
          </p:cNvPr>
          <p:cNvPicPr>
            <a:picLocks noChangeAspect="1"/>
          </p:cNvPicPr>
          <p:nvPr userDrawn="1"/>
        </p:nvPicPr>
        <p:blipFill>
          <a:blip r:embed="rId33"/>
          <a:stretch>
            <a:fillRect/>
          </a:stretch>
        </p:blipFill>
        <p:spPr>
          <a:xfrm>
            <a:off x="6782251" y="5521227"/>
            <a:ext cx="388569" cy="261777"/>
          </a:xfrm>
          <a:prstGeom prst="rect">
            <a:avLst/>
          </a:prstGeom>
        </p:spPr>
      </p:pic>
    </p:spTree>
    <p:extLst>
      <p:ext uri="{BB962C8B-B14F-4D97-AF65-F5344CB8AC3E}">
        <p14:creationId xmlns:p14="http://schemas.microsoft.com/office/powerpoint/2010/main" val="3292246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ssets: Draft new tag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6CFE904-CE5A-6FD6-1226-B5017C90E20A}"/>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77D235EE-620B-C671-B0E2-995C33EE4664}"/>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117BC68A-259F-5FCC-1B26-7B7FED41B425}"/>
              </a:ext>
            </a:extLst>
          </p:cNvPr>
          <p:cNvSpPr>
            <a:spLocks noGrp="1"/>
          </p:cNvSpPr>
          <p:nvPr>
            <p:ph type="sldNum" sz="quarter" idx="12"/>
          </p:nvPr>
        </p:nvSpPr>
        <p:spPr/>
        <p:txBody>
          <a:bodyPr/>
          <a:lstStyle/>
          <a:p>
            <a:fld id="{53C98C43-8B83-4748-BA0D-B0C90A16569F}" type="slidenum">
              <a:rPr lang="en-GB" smtClean="0"/>
              <a:pPr/>
              <a:t>‹Nr.›</a:t>
            </a:fld>
            <a:endParaRPr lang="en-GB"/>
          </a:p>
        </p:txBody>
      </p:sp>
      <p:grpSp>
        <p:nvGrpSpPr>
          <p:cNvPr id="6" name="Group 5">
            <a:extLst>
              <a:ext uri="{FF2B5EF4-FFF2-40B4-BE49-F238E27FC236}">
                <a16:creationId xmlns:a16="http://schemas.microsoft.com/office/drawing/2014/main" id="{470DBD1E-AE61-CF8B-9C92-83ADB1B46A92}"/>
              </a:ext>
            </a:extLst>
          </p:cNvPr>
          <p:cNvGrpSpPr/>
          <p:nvPr userDrawn="1"/>
        </p:nvGrpSpPr>
        <p:grpSpPr>
          <a:xfrm>
            <a:off x="5666870" y="259874"/>
            <a:ext cx="858253" cy="302506"/>
            <a:chOff x="5913580" y="2232837"/>
            <a:chExt cx="1178336" cy="457201"/>
          </a:xfrm>
        </p:grpSpPr>
        <p:sp>
          <p:nvSpPr>
            <p:cNvPr id="7" name="TextBox 48">
              <a:extLst>
                <a:ext uri="{FF2B5EF4-FFF2-40B4-BE49-F238E27FC236}">
                  <a16:creationId xmlns:a16="http://schemas.microsoft.com/office/drawing/2014/main" id="{784C9020-3D00-4A61-4546-712252351E62}"/>
                </a:ext>
              </a:extLst>
            </p:cNvPr>
            <p:cNvSpPr txBox="1">
              <a:spLocks/>
            </p:cNvSpPr>
            <p:nvPr/>
          </p:nvSpPr>
          <p:spPr>
            <a:xfrm>
              <a:off x="5913580" y="2232838"/>
              <a:ext cx="1138418" cy="4572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marL="179996" lvl="0" indent="-179996" defTabSz="914377" eaLnBrk="1" latinLnBrk="0" hangingPunct="1">
                <a:lnSpc>
                  <a:spcPct val="110000"/>
                </a:lnSpc>
                <a:spcBef>
                  <a:spcPts val="0"/>
                </a:spcBef>
                <a:spcAft>
                  <a:spcPts val="451"/>
                </a:spcAft>
                <a:buFont typeface="The Group TEXT" panose="020B0604020202020204" pitchFamily="34" charset="0"/>
                <a:buChar char="•"/>
                <a:defRPr sz="1400">
                  <a:latin typeface="VWAG TheSans" panose="020B0502050302020203" pitchFamily="34" charset="0"/>
                  <a:sym typeface="VWAG TheSans" panose="020B0502050302020203" pitchFamily="34" charset="0"/>
                </a:defRPr>
              </a:lvl1pPr>
              <a:lvl2pPr marL="359991" lvl="1" indent="-179996"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2pPr>
              <a:lvl3pPr marL="715963" lvl="2"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3pPr>
              <a:lvl4pPr marL="989013" lvl="3"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4pPr>
              <a:lvl5pPr marL="1252538" lvl="4"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5pPr>
              <a:lvl6pPr marL="1524000" lvl="5"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6pPr>
              <a:lvl7pPr marL="1795463" lvl="6"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7pPr>
              <a:lvl8pPr marL="2058988" lvl="7"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8pPr>
              <a:lvl9pPr marL="2332038" lvl="8"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9pPr>
            </a:lstStyle>
            <a:p>
              <a:pPr marL="0" marR="0" lvl="0" indent="0" algn="ctr" defTabSz="914377" rtl="0" eaLnBrk="1" fontAlgn="base" latinLnBrk="0" hangingPunct="1">
                <a:lnSpc>
                  <a:spcPct val="100000"/>
                </a:lnSpc>
                <a:spcBef>
                  <a:spcPts val="0"/>
                </a:spcBef>
                <a:spcAft>
                  <a:spcPts val="451"/>
                </a:spcAft>
                <a:buClr>
                  <a:srgbClr val="4C5356"/>
                </a:buClr>
                <a:buSzPct val="100000"/>
                <a:buFont typeface="The Group TEXT" panose="020B0604020202020204" pitchFamily="34" charset="0"/>
                <a:buNone/>
                <a:tabLst/>
                <a:defRPr/>
              </a:pPr>
              <a:r>
                <a:rPr kumimoji="0" lang="en-US" b="0" i="0" u="none" strike="noStrike" kern="1200" cap="none" spc="50" normalizeH="0" noProof="0">
                  <a:ln>
                    <a:noFill/>
                  </a:ln>
                  <a:solidFill>
                    <a:srgbClr val="008C82"/>
                  </a:solidFill>
                  <a:effectLst/>
                  <a:uLnTx/>
                  <a:uFillTx/>
                  <a:latin typeface="The Group TEXT" panose="00000500000000000000" pitchFamily="2" charset="0"/>
                  <a:ea typeface="+mn-ea"/>
                  <a:cs typeface="+mn-cs"/>
                  <a:sym typeface="VWAG TheSans" panose="020B0502050302020203" pitchFamily="34" charset="0"/>
                </a:rPr>
                <a:t>DRAFT</a:t>
              </a:r>
            </a:p>
          </p:txBody>
        </p:sp>
        <p:cxnSp>
          <p:nvCxnSpPr>
            <p:cNvPr id="8" name="Straight Connector 7">
              <a:extLst>
                <a:ext uri="{FF2B5EF4-FFF2-40B4-BE49-F238E27FC236}">
                  <a16:creationId xmlns:a16="http://schemas.microsoft.com/office/drawing/2014/main" id="{828BE56F-3D36-2C46-7AF1-7C2C77484A6C}"/>
                </a:ext>
              </a:extLst>
            </p:cNvPr>
            <p:cNvCxnSpPr/>
            <p:nvPr/>
          </p:nvCxnSpPr>
          <p:spPr>
            <a:xfrm>
              <a:off x="5932967" y="22328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09CBD6F-D87A-3EB8-CC79-64D1C6608A01}"/>
                </a:ext>
              </a:extLst>
            </p:cNvPr>
            <p:cNvCxnSpPr/>
            <p:nvPr/>
          </p:nvCxnSpPr>
          <p:spPr>
            <a:xfrm>
              <a:off x="5932967" y="26900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4F9809F8-4393-CBA5-77FA-AA5490958F9C}"/>
              </a:ext>
            </a:extLst>
          </p:cNvPr>
          <p:cNvGrpSpPr/>
          <p:nvPr userDrawn="1"/>
        </p:nvGrpSpPr>
        <p:grpSpPr>
          <a:xfrm>
            <a:off x="6973014" y="259874"/>
            <a:ext cx="858253" cy="302506"/>
            <a:chOff x="5913580" y="2232837"/>
            <a:chExt cx="1178336" cy="457201"/>
          </a:xfrm>
        </p:grpSpPr>
        <p:sp>
          <p:nvSpPr>
            <p:cNvPr id="11" name="TextBox 48">
              <a:extLst>
                <a:ext uri="{FF2B5EF4-FFF2-40B4-BE49-F238E27FC236}">
                  <a16:creationId xmlns:a16="http://schemas.microsoft.com/office/drawing/2014/main" id="{1DF300E6-D6DB-2F4E-8768-363DB8BD255E}"/>
                </a:ext>
              </a:extLst>
            </p:cNvPr>
            <p:cNvSpPr txBox="1">
              <a:spLocks/>
            </p:cNvSpPr>
            <p:nvPr/>
          </p:nvSpPr>
          <p:spPr>
            <a:xfrm>
              <a:off x="5913580" y="2232838"/>
              <a:ext cx="1138418" cy="4572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marL="179996" lvl="0" indent="-179996" defTabSz="914377" eaLnBrk="1" latinLnBrk="0" hangingPunct="1">
                <a:lnSpc>
                  <a:spcPct val="110000"/>
                </a:lnSpc>
                <a:spcBef>
                  <a:spcPts val="0"/>
                </a:spcBef>
                <a:spcAft>
                  <a:spcPts val="451"/>
                </a:spcAft>
                <a:buFont typeface="The Group TEXT" panose="020B0604020202020204" pitchFamily="34" charset="0"/>
                <a:buChar char="•"/>
                <a:defRPr sz="1400">
                  <a:latin typeface="VWAG TheSans" panose="020B0502050302020203" pitchFamily="34" charset="0"/>
                  <a:sym typeface="VWAG TheSans" panose="020B0502050302020203" pitchFamily="34" charset="0"/>
                </a:defRPr>
              </a:lvl1pPr>
              <a:lvl2pPr marL="359991" lvl="1" indent="-179996"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2pPr>
              <a:lvl3pPr marL="715963" lvl="2"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3pPr>
              <a:lvl4pPr marL="989013" lvl="3"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4pPr>
              <a:lvl5pPr marL="1252538" lvl="4"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5pPr>
              <a:lvl6pPr marL="1524000" lvl="5"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6pPr>
              <a:lvl7pPr marL="1795463" lvl="6"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7pPr>
              <a:lvl8pPr marL="2058988" lvl="7"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8pPr>
              <a:lvl9pPr marL="2332038" lvl="8"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9pPr>
            </a:lstStyle>
            <a:p>
              <a:pPr marL="0" marR="0" lvl="0" indent="0" algn="ctr" defTabSz="914377" rtl="0" eaLnBrk="1" fontAlgn="base" latinLnBrk="0" hangingPunct="1">
                <a:lnSpc>
                  <a:spcPct val="100000"/>
                </a:lnSpc>
                <a:spcBef>
                  <a:spcPts val="0"/>
                </a:spcBef>
                <a:spcAft>
                  <a:spcPts val="451"/>
                </a:spcAft>
                <a:buClr>
                  <a:srgbClr val="4C5356"/>
                </a:buClr>
                <a:buSzPct val="100000"/>
                <a:buFont typeface="The Group TEXT" panose="020B0604020202020204" pitchFamily="34" charset="0"/>
                <a:buNone/>
                <a:tabLst/>
                <a:defRPr/>
              </a:pPr>
              <a:r>
                <a:rPr kumimoji="0" lang="en-US" b="0" i="0" u="none" strike="noStrike" kern="1200" cap="none" spc="50" normalizeH="0" noProof="0">
                  <a:ln>
                    <a:noFill/>
                  </a:ln>
                  <a:solidFill>
                    <a:srgbClr val="008C82"/>
                  </a:solidFill>
                  <a:effectLst/>
                  <a:uLnTx/>
                  <a:uFillTx/>
                  <a:latin typeface="The Group TEXT" panose="00000500000000000000" pitchFamily="2" charset="0"/>
                  <a:ea typeface="+mn-ea"/>
                  <a:cs typeface="+mn-cs"/>
                  <a:sym typeface="VWAG TheSans" panose="020B0502050302020203" pitchFamily="34" charset="0"/>
                </a:rPr>
                <a:t>NEW</a:t>
              </a:r>
            </a:p>
          </p:txBody>
        </p:sp>
        <p:cxnSp>
          <p:nvCxnSpPr>
            <p:cNvPr id="12" name="Straight Connector 11">
              <a:extLst>
                <a:ext uri="{FF2B5EF4-FFF2-40B4-BE49-F238E27FC236}">
                  <a16:creationId xmlns:a16="http://schemas.microsoft.com/office/drawing/2014/main" id="{A903B1D7-FA77-0FE3-7AD6-587636BE70E4}"/>
                </a:ext>
              </a:extLst>
            </p:cNvPr>
            <p:cNvCxnSpPr/>
            <p:nvPr/>
          </p:nvCxnSpPr>
          <p:spPr>
            <a:xfrm>
              <a:off x="5932967" y="22328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DBEDB4E-4520-6D54-7E71-B5C75397B28E}"/>
                </a:ext>
              </a:extLst>
            </p:cNvPr>
            <p:cNvCxnSpPr/>
            <p:nvPr/>
          </p:nvCxnSpPr>
          <p:spPr>
            <a:xfrm>
              <a:off x="5932967" y="26900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 name="Title 4">
            <a:extLst>
              <a:ext uri="{FF2B5EF4-FFF2-40B4-BE49-F238E27FC236}">
                <a16:creationId xmlns:a16="http://schemas.microsoft.com/office/drawing/2014/main" id="{C982178B-37B0-DE56-9FE1-97D0455F2C98}"/>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Content status markers</a:t>
            </a:r>
          </a:p>
        </p:txBody>
      </p:sp>
      <p:sp>
        <p:nvSpPr>
          <p:cNvPr id="14" name="Textplatzhalter 1">
            <a:extLst>
              <a:ext uri="{FF2B5EF4-FFF2-40B4-BE49-F238E27FC236}">
                <a16:creationId xmlns:a16="http://schemas.microsoft.com/office/drawing/2014/main" id="{9ED394AD-EAFB-51E9-0ED1-26AD5E881165}"/>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DRAFT and NEW markers in master</a:t>
            </a:r>
          </a:p>
        </p:txBody>
      </p:sp>
      <p:sp>
        <p:nvSpPr>
          <p:cNvPr id="17" name="Content Placeholder 5">
            <a:extLst>
              <a:ext uri="{FF2B5EF4-FFF2-40B4-BE49-F238E27FC236}">
                <a16:creationId xmlns:a16="http://schemas.microsoft.com/office/drawing/2014/main" id="{007AE09F-8A03-CF2D-E55F-DD04CCDB6BD5}"/>
              </a:ext>
            </a:extLst>
          </p:cNvPr>
          <p:cNvSpPr txBox="1">
            <a:spLocks/>
          </p:cNvSpPr>
          <p:nvPr userDrawn="1"/>
        </p:nvSpPr>
        <p:spPr bwMode="auto">
          <a:xfrm>
            <a:off x="406402" y="1851538"/>
            <a:ext cx="3962398" cy="460165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1"/>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1"/>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1"/>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b="0" dirty="0">
                <a:solidFill>
                  <a:schemeClr val="tx2"/>
                </a:solidFill>
              </a:rPr>
              <a:t>These content status markers are available as graphic assets you can copy from master view.</a:t>
            </a:r>
          </a:p>
          <a:p>
            <a:r>
              <a:rPr lang="en-GB" b="0" dirty="0">
                <a:solidFill>
                  <a:schemeClr val="tx2"/>
                </a:solidFill>
              </a:rPr>
              <a:t>The selected tag will need to be placed </a:t>
            </a:r>
            <a:br>
              <a:rPr lang="en-GB" b="0" dirty="0">
                <a:solidFill>
                  <a:schemeClr val="tx2"/>
                </a:solidFill>
              </a:rPr>
            </a:br>
            <a:r>
              <a:rPr lang="en-GB" b="0" dirty="0">
                <a:solidFill>
                  <a:schemeClr val="tx2"/>
                </a:solidFill>
              </a:rPr>
              <a:t>centre-aligned and horizontally-aligned to the Volkswagen logo. If you need it to be applied to all slides within a presentation, go to View &gt; Slide master and place it on the first slide of the master theme.</a:t>
            </a:r>
          </a:p>
        </p:txBody>
      </p:sp>
    </p:spTree>
    <p:extLst>
      <p:ext uri="{BB962C8B-B14F-4D97-AF65-F5344CB8AC3E}">
        <p14:creationId xmlns:p14="http://schemas.microsoft.com/office/powerpoint/2010/main" val="5772035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8CAA309-ECCF-F9A7-219E-61A61D920D6F}"/>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C96486F8-BC02-F9A1-FAE3-DBD9BB6ACFAE}"/>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6E749338-85A6-95E8-9484-0778CF2B32E3}"/>
              </a:ext>
            </a:extLst>
          </p:cNvPr>
          <p:cNvSpPr>
            <a:spLocks noGrp="1"/>
          </p:cNvSpPr>
          <p:nvPr>
            <p:ph type="sldNum" sz="quarter" idx="12"/>
          </p:nvPr>
        </p:nvSpPr>
        <p:spPr/>
        <p:txBody>
          <a:bodyPr/>
          <a:lstStyle/>
          <a:p>
            <a:fld id="{53C98C43-8B83-4748-BA0D-B0C90A16569F}" type="slidenum">
              <a:rPr lang="en-GB" smtClean="0"/>
              <a:pPr/>
              <a:t>‹Nr.›</a:t>
            </a:fld>
            <a:endParaRPr lang="en-GB"/>
          </a:p>
        </p:txBody>
      </p:sp>
      <p:sp>
        <p:nvSpPr>
          <p:cNvPr id="7" name="Content Placeholder 5">
            <a:extLst>
              <a:ext uri="{FF2B5EF4-FFF2-40B4-BE49-F238E27FC236}">
                <a16:creationId xmlns:a16="http://schemas.microsoft.com/office/drawing/2014/main" id="{3FF8A01D-320B-28A9-7065-3B49D5B62288}"/>
              </a:ext>
            </a:extLst>
          </p:cNvPr>
          <p:cNvSpPr txBox="1">
            <a:spLocks/>
          </p:cNvSpPr>
          <p:nvPr userDrawn="1"/>
        </p:nvSpPr>
        <p:spPr bwMode="auto">
          <a:xfrm>
            <a:off x="406404" y="1851538"/>
            <a:ext cx="10108364" cy="460165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1"/>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1"/>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1"/>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b="0" dirty="0">
                <a:solidFill>
                  <a:schemeClr val="tx2"/>
                </a:solidFill>
              </a:rPr>
              <a:t>The classification set as public, internal, confidential and secret will be automatically set by Office 365. </a:t>
            </a:r>
            <a:br>
              <a:rPr lang="en-GB" b="0" dirty="0">
                <a:solidFill>
                  <a:schemeClr val="tx2"/>
                </a:solidFill>
              </a:rPr>
            </a:br>
            <a:r>
              <a:rPr lang="en-GB" b="0" dirty="0">
                <a:solidFill>
                  <a:schemeClr val="tx2"/>
                </a:solidFill>
              </a:rPr>
              <a:t>As soon as the document is created, the class has to be defined. </a:t>
            </a:r>
          </a:p>
          <a:p>
            <a:r>
              <a:rPr lang="en-GB" b="0" dirty="0">
                <a:solidFill>
                  <a:schemeClr val="tx2"/>
                </a:solidFill>
              </a:rPr>
              <a:t>On the title slide, the class has to be set manually and in capital letters below the title — please add it manually. </a:t>
            </a:r>
          </a:p>
          <a:p>
            <a:r>
              <a:rPr lang="en-GB" b="0" dirty="0">
                <a:solidFill>
                  <a:schemeClr val="tx2"/>
                </a:solidFill>
              </a:rPr>
              <a:t>The position of the confidentiality class on the content slide is bottom left, automatically set by the software.  </a:t>
            </a:r>
          </a:p>
          <a:p>
            <a:r>
              <a:rPr lang="en-GB" b="0" dirty="0">
                <a:solidFill>
                  <a:schemeClr val="tx2"/>
                </a:solidFill>
              </a:rPr>
              <a:t>REMARK: The confidentiality classification does not appear on slides with full-page pictures.  </a:t>
            </a:r>
          </a:p>
          <a:p>
            <a:r>
              <a:rPr lang="en-GB" b="0" dirty="0">
                <a:solidFill>
                  <a:schemeClr val="tx2"/>
                </a:solidFill>
              </a:rPr>
              <a:t>You can find detailed information about confidentiality classification in GroupWiki: </a:t>
            </a:r>
            <a:br>
              <a:rPr lang="en-GB" b="0" dirty="0"/>
            </a:br>
            <a:r>
              <a:rPr lang="en-GB" b="0" dirty="0">
                <a:hlinkClick r:id="rId2"/>
              </a:rPr>
              <a:t>https://group-wiki.wob.vw.vwg/wikis/pages/viewpage.action?pageId=527796483</a:t>
            </a:r>
            <a:r>
              <a:rPr lang="en-GB" b="0" dirty="0"/>
              <a:t> </a:t>
            </a:r>
          </a:p>
        </p:txBody>
      </p:sp>
      <p:sp>
        <p:nvSpPr>
          <p:cNvPr id="8" name="Title 1">
            <a:extLst>
              <a:ext uri="{FF2B5EF4-FFF2-40B4-BE49-F238E27FC236}">
                <a16:creationId xmlns:a16="http://schemas.microsoft.com/office/drawing/2014/main" id="{34E96837-2ABF-A7CF-7A53-90D4729BC05F}"/>
              </a:ext>
            </a:extLst>
          </p:cNvPr>
          <p:cNvSpPr txBox="1">
            <a:spLocks/>
          </p:cNvSpPr>
          <p:nvPr userDrawn="1"/>
        </p:nvSpPr>
        <p:spPr bwMode="gray">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US" dirty="0"/>
              <a:t>Confidentiality Classification</a:t>
            </a:r>
            <a:endParaRPr lang="ar-AE" dirty="0"/>
          </a:p>
        </p:txBody>
      </p:sp>
    </p:spTree>
    <p:extLst>
      <p:ext uri="{BB962C8B-B14F-4D97-AF65-F5344CB8AC3E}">
        <p14:creationId xmlns:p14="http://schemas.microsoft.com/office/powerpoint/2010/main" val="2121890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uide: Footer">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690108AE-776C-5C18-5DD5-AB52CCD1278A}"/>
              </a:ext>
            </a:extLst>
          </p:cNvPr>
          <p:cNvPicPr>
            <a:picLocks noChangeAspect="1"/>
          </p:cNvPicPr>
          <p:nvPr userDrawn="1"/>
        </p:nvPicPr>
        <p:blipFill rotWithShape="1">
          <a:blip r:embed="rId2"/>
          <a:srcRect b="63951"/>
          <a:stretch/>
        </p:blipFill>
        <p:spPr>
          <a:xfrm>
            <a:off x="7239130" y="4613350"/>
            <a:ext cx="2814023" cy="1024957"/>
          </a:xfrm>
          <a:prstGeom prst="rect">
            <a:avLst/>
          </a:prstGeom>
        </p:spPr>
      </p:pic>
      <p:sp>
        <p:nvSpPr>
          <p:cNvPr id="3" name="Date Placeholder 2">
            <a:extLst>
              <a:ext uri="{FF2B5EF4-FFF2-40B4-BE49-F238E27FC236}">
                <a16:creationId xmlns:a16="http://schemas.microsoft.com/office/drawing/2014/main" id="{F6CFE904-CE5A-6FD6-1226-B5017C90E20A}"/>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77D235EE-620B-C671-B0E2-995C33EE4664}"/>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117BC68A-259F-5FCC-1B26-7B7FED41B425}"/>
              </a:ext>
            </a:extLst>
          </p:cNvPr>
          <p:cNvSpPr>
            <a:spLocks noGrp="1"/>
          </p:cNvSpPr>
          <p:nvPr>
            <p:ph type="sldNum" sz="quarter" idx="12"/>
          </p:nvPr>
        </p:nvSpPr>
        <p:spPr/>
        <p:txBody>
          <a:bodyPr/>
          <a:lstStyle/>
          <a:p>
            <a:fld id="{53C98C43-8B83-4748-BA0D-B0C90A16569F}" type="slidenum">
              <a:rPr lang="en-GB" smtClean="0"/>
              <a:pPr/>
              <a:t>‹Nr.›</a:t>
            </a:fld>
            <a:endParaRPr lang="en-GB"/>
          </a:p>
        </p:txBody>
      </p:sp>
      <p:sp>
        <p:nvSpPr>
          <p:cNvPr id="2" name="Title 4">
            <a:extLst>
              <a:ext uri="{FF2B5EF4-FFF2-40B4-BE49-F238E27FC236}">
                <a16:creationId xmlns:a16="http://schemas.microsoft.com/office/drawing/2014/main" id="{C982178B-37B0-DE56-9FE1-97D0455F2C98}"/>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Footer</a:t>
            </a:r>
          </a:p>
        </p:txBody>
      </p:sp>
      <p:sp>
        <p:nvSpPr>
          <p:cNvPr id="14" name="Textplatzhalter 1">
            <a:extLst>
              <a:ext uri="{FF2B5EF4-FFF2-40B4-BE49-F238E27FC236}">
                <a16:creationId xmlns:a16="http://schemas.microsoft.com/office/drawing/2014/main" id="{9ED394AD-EAFB-51E9-0ED1-26AD5E881165}"/>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Insert &gt; Header &amp; Footer</a:t>
            </a:r>
          </a:p>
        </p:txBody>
      </p:sp>
      <p:grpSp>
        <p:nvGrpSpPr>
          <p:cNvPr id="17" name="Group 16">
            <a:extLst>
              <a:ext uri="{FF2B5EF4-FFF2-40B4-BE49-F238E27FC236}">
                <a16:creationId xmlns:a16="http://schemas.microsoft.com/office/drawing/2014/main" id="{BA503552-1785-CA27-26CC-0F4B7539346D}"/>
              </a:ext>
            </a:extLst>
          </p:cNvPr>
          <p:cNvGrpSpPr/>
          <p:nvPr userDrawn="1"/>
        </p:nvGrpSpPr>
        <p:grpSpPr>
          <a:xfrm>
            <a:off x="2208859" y="1056085"/>
            <a:ext cx="7866579" cy="4632885"/>
            <a:chOff x="2327238" y="1311961"/>
            <a:chExt cx="7866579" cy="4632885"/>
          </a:xfrm>
        </p:grpSpPr>
        <p:grpSp>
          <p:nvGrpSpPr>
            <p:cNvPr id="18" name="Group 17">
              <a:extLst>
                <a:ext uri="{FF2B5EF4-FFF2-40B4-BE49-F238E27FC236}">
                  <a16:creationId xmlns:a16="http://schemas.microsoft.com/office/drawing/2014/main" id="{07C368FB-20C2-A202-5BE6-0FFE1BA7658E}"/>
                </a:ext>
              </a:extLst>
            </p:cNvPr>
            <p:cNvGrpSpPr/>
            <p:nvPr/>
          </p:nvGrpSpPr>
          <p:grpSpPr>
            <a:xfrm>
              <a:off x="2327238" y="2507955"/>
              <a:ext cx="6246608" cy="492380"/>
              <a:chOff x="3246919" y="3371759"/>
              <a:chExt cx="5535706" cy="436344"/>
            </a:xfrm>
          </p:grpSpPr>
          <p:pic>
            <p:nvPicPr>
              <p:cNvPr id="25" name="Picture 24">
                <a:extLst>
                  <a:ext uri="{FF2B5EF4-FFF2-40B4-BE49-F238E27FC236}">
                    <a16:creationId xmlns:a16="http://schemas.microsoft.com/office/drawing/2014/main" id="{DD26EC80-8A14-176C-AE65-17F41EB08F95}"/>
                  </a:ext>
                </a:extLst>
              </p:cNvPr>
              <p:cNvPicPr>
                <a:picLocks noChangeAspect="1"/>
              </p:cNvPicPr>
              <p:nvPr/>
            </p:nvPicPr>
            <p:blipFill>
              <a:blip r:embed="rId3"/>
              <a:stretch>
                <a:fillRect/>
              </a:stretch>
            </p:blipFill>
            <p:spPr>
              <a:xfrm>
                <a:off x="3246919" y="3371759"/>
                <a:ext cx="5535706" cy="436344"/>
              </a:xfrm>
              <a:prstGeom prst="rect">
                <a:avLst/>
              </a:prstGeom>
              <a:ln>
                <a:solidFill>
                  <a:schemeClr val="accent5"/>
                </a:solidFill>
              </a:ln>
            </p:spPr>
          </p:pic>
          <p:sp>
            <p:nvSpPr>
              <p:cNvPr id="26" name="Rectangle 25">
                <a:extLst>
                  <a:ext uri="{FF2B5EF4-FFF2-40B4-BE49-F238E27FC236}">
                    <a16:creationId xmlns:a16="http://schemas.microsoft.com/office/drawing/2014/main" id="{7B55E587-4F1F-DD6C-C993-92E8D5A1714C}"/>
                  </a:ext>
                </a:extLst>
              </p:cNvPr>
              <p:cNvSpPr/>
              <p:nvPr/>
            </p:nvSpPr>
            <p:spPr>
              <a:xfrm>
                <a:off x="7235725" y="3439323"/>
                <a:ext cx="940088"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27" name="Rectangle 26">
                <a:extLst>
                  <a:ext uri="{FF2B5EF4-FFF2-40B4-BE49-F238E27FC236}">
                    <a16:creationId xmlns:a16="http://schemas.microsoft.com/office/drawing/2014/main" id="{621CCF81-2836-EDAA-8EF0-693A08C8A0CF}"/>
                  </a:ext>
                </a:extLst>
              </p:cNvPr>
              <p:cNvSpPr/>
              <p:nvPr/>
            </p:nvSpPr>
            <p:spPr>
              <a:xfrm>
                <a:off x="8334711" y="3439323"/>
                <a:ext cx="360000"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28" name="Rectangle 27">
                <a:extLst>
                  <a:ext uri="{FF2B5EF4-FFF2-40B4-BE49-F238E27FC236}">
                    <a16:creationId xmlns:a16="http://schemas.microsoft.com/office/drawing/2014/main" id="{320348BB-92E8-5BC5-1442-549D3AED15B9}"/>
                  </a:ext>
                </a:extLst>
              </p:cNvPr>
              <p:cNvSpPr/>
              <p:nvPr/>
            </p:nvSpPr>
            <p:spPr>
              <a:xfrm>
                <a:off x="3307431" y="3439323"/>
                <a:ext cx="3560781"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grpSp>
        <p:sp>
          <p:nvSpPr>
            <p:cNvPr id="19" name="TextBox 18">
              <a:extLst>
                <a:ext uri="{FF2B5EF4-FFF2-40B4-BE49-F238E27FC236}">
                  <a16:creationId xmlns:a16="http://schemas.microsoft.com/office/drawing/2014/main" id="{9ECA9FDC-D17A-0456-C7B3-766667BC85A3}"/>
                </a:ext>
              </a:extLst>
            </p:cNvPr>
            <p:cNvSpPr txBox="1"/>
            <p:nvPr/>
          </p:nvSpPr>
          <p:spPr>
            <a:xfrm>
              <a:off x="8068410" y="1311961"/>
              <a:ext cx="2060879" cy="861774"/>
            </a:xfrm>
            <a:prstGeom prst="rect">
              <a:avLst/>
            </a:prstGeom>
            <a:noFill/>
          </p:spPr>
          <p:txBody>
            <a:bodyPr wrap="square" lIns="0" tIns="0" rIns="0" bIns="0" rtlCol="0">
              <a:spAutoFit/>
            </a:bodyPr>
            <a:lstStyle/>
            <a:p>
              <a:r>
                <a:rPr lang="en-GB" sz="1400" b="1" kern="1200">
                  <a:solidFill>
                    <a:srgbClr val="002733"/>
                  </a:solidFill>
                  <a:latin typeface="+mn-lt"/>
                  <a:ea typeface="+mn-ea"/>
                  <a:cs typeface="+mn-cs"/>
                </a:rPr>
                <a:t>The page number </a:t>
              </a:r>
              <a:r>
                <a:rPr lang="en-GB" sz="1400"/>
                <a:t>is counted automatically and does not need to be adapted.</a:t>
              </a:r>
            </a:p>
          </p:txBody>
        </p:sp>
        <p:sp>
          <p:nvSpPr>
            <p:cNvPr id="20" name="TextBox 19">
              <a:extLst>
                <a:ext uri="{FF2B5EF4-FFF2-40B4-BE49-F238E27FC236}">
                  <a16:creationId xmlns:a16="http://schemas.microsoft.com/office/drawing/2014/main" id="{4B9D3E18-24D8-5E30-37FD-5F36F7301B6C}"/>
                </a:ext>
              </a:extLst>
            </p:cNvPr>
            <p:cNvSpPr txBox="1"/>
            <p:nvPr/>
          </p:nvSpPr>
          <p:spPr>
            <a:xfrm>
              <a:off x="7379790" y="3359523"/>
              <a:ext cx="2814027" cy="861774"/>
            </a:xfrm>
            <a:prstGeom prst="rect">
              <a:avLst/>
            </a:prstGeom>
            <a:noFill/>
          </p:spPr>
          <p:txBody>
            <a:bodyPr wrap="square" lIns="0" tIns="0" rIns="0" bIns="0" rtlCol="0">
              <a:spAutoFit/>
            </a:bodyPr>
            <a:lstStyle/>
            <a:p>
              <a:r>
                <a:rPr lang="en-GB" sz="1400" b="1" kern="1200" dirty="0">
                  <a:solidFill>
                    <a:srgbClr val="002733"/>
                  </a:solidFill>
                  <a:latin typeface="+mn-lt"/>
                  <a:ea typeface="+mn-ea"/>
                  <a:cs typeface="+mn-cs"/>
                </a:rPr>
                <a:t>The static date </a:t>
              </a:r>
              <a:r>
                <a:rPr lang="en-GB" sz="1400" dirty="0"/>
                <a:t>has to be adapted manually. You can change it into a dynamic one through Insert, then Header &amp; Footer.</a:t>
              </a:r>
            </a:p>
          </p:txBody>
        </p:sp>
        <p:cxnSp>
          <p:nvCxnSpPr>
            <p:cNvPr id="21" name="Straight Connector 20">
              <a:extLst>
                <a:ext uri="{FF2B5EF4-FFF2-40B4-BE49-F238E27FC236}">
                  <a16:creationId xmlns:a16="http://schemas.microsoft.com/office/drawing/2014/main" id="{5003359C-D567-C583-AA93-AD56CDB77965}"/>
                </a:ext>
              </a:extLst>
            </p:cNvPr>
            <p:cNvCxnSpPr>
              <a:cxnSpLocks/>
            </p:cNvCxnSpPr>
            <p:nvPr/>
          </p:nvCxnSpPr>
          <p:spPr>
            <a:xfrm flipV="1">
              <a:off x="7379790" y="2924095"/>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22" name="Straight Connector 21">
              <a:extLst>
                <a:ext uri="{FF2B5EF4-FFF2-40B4-BE49-F238E27FC236}">
                  <a16:creationId xmlns:a16="http://schemas.microsoft.com/office/drawing/2014/main" id="{328A4559-E21D-396E-0467-012E45204620}"/>
                </a:ext>
              </a:extLst>
            </p:cNvPr>
            <p:cNvCxnSpPr>
              <a:cxnSpLocks/>
            </p:cNvCxnSpPr>
            <p:nvPr/>
          </p:nvCxnSpPr>
          <p:spPr>
            <a:xfrm flipV="1">
              <a:off x="2524613" y="2924095"/>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23" name="TextBox 22">
              <a:extLst>
                <a:ext uri="{FF2B5EF4-FFF2-40B4-BE49-F238E27FC236}">
                  <a16:creationId xmlns:a16="http://schemas.microsoft.com/office/drawing/2014/main" id="{9D2BDD9D-D25C-24DE-3192-77B6B76DD1A5}"/>
                </a:ext>
              </a:extLst>
            </p:cNvPr>
            <p:cNvSpPr txBox="1"/>
            <p:nvPr/>
          </p:nvSpPr>
          <p:spPr>
            <a:xfrm>
              <a:off x="2395521" y="3359523"/>
              <a:ext cx="4241989" cy="2585323"/>
            </a:xfrm>
            <a:prstGeom prst="rect">
              <a:avLst/>
            </a:prstGeom>
            <a:noFill/>
          </p:spPr>
          <p:txBody>
            <a:bodyPr wrap="square" lIns="0" tIns="0" rIns="0" bIns="0" rtlCol="0">
              <a:spAutoFit/>
            </a:bodyPr>
            <a:lstStyle/>
            <a:p>
              <a:r>
                <a:rPr lang="en-GB" sz="1400" dirty="0"/>
                <a:t>The footer consists of three elements, which are right-aligned. At the bottom right you will find the information regarding organisational unit and CSD-class, next to the date and the page number in the right corner. </a:t>
              </a:r>
            </a:p>
            <a:p>
              <a:endParaRPr lang="en-GB" sz="1400" dirty="0"/>
            </a:p>
            <a:p>
              <a:r>
                <a:rPr lang="en-GB" sz="1400" dirty="0"/>
                <a:t>The information given in the footer can be adjusted through </a:t>
              </a:r>
              <a:r>
                <a:rPr lang="en-GB" sz="1400" b="1" dirty="0">
                  <a:solidFill>
                    <a:srgbClr val="002733"/>
                  </a:solidFill>
                </a:rPr>
                <a:t>Insert, then Header &amp; Footer.</a:t>
              </a:r>
            </a:p>
            <a:p>
              <a:endParaRPr lang="en-GB" sz="1400" dirty="0"/>
            </a:p>
            <a:p>
              <a:r>
                <a:rPr lang="en-GB" sz="1400" dirty="0"/>
                <a:t>HINT: Information about CSD-class (safekeeping period) can be found in the Volkswagen Net (Intranet). Just write “</a:t>
              </a:r>
              <a:r>
                <a:rPr lang="en-GB" sz="1400" dirty="0" err="1"/>
                <a:t>ksu</a:t>
              </a:r>
              <a:r>
                <a:rPr lang="en-GB" sz="1400" dirty="0"/>
                <a:t>” into the browser bar.</a:t>
              </a:r>
            </a:p>
          </p:txBody>
        </p:sp>
        <p:cxnSp>
          <p:nvCxnSpPr>
            <p:cNvPr id="24" name="Straight Connector 23">
              <a:extLst>
                <a:ext uri="{FF2B5EF4-FFF2-40B4-BE49-F238E27FC236}">
                  <a16:creationId xmlns:a16="http://schemas.microsoft.com/office/drawing/2014/main" id="{0A27B573-98B1-5DA8-4724-01B55B397422}"/>
                </a:ext>
              </a:extLst>
            </p:cNvPr>
            <p:cNvCxnSpPr>
              <a:cxnSpLocks/>
            </p:cNvCxnSpPr>
            <p:nvPr/>
          </p:nvCxnSpPr>
          <p:spPr>
            <a:xfrm flipV="1">
              <a:off x="8271526" y="2203521"/>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grpSp>
      <p:cxnSp>
        <p:nvCxnSpPr>
          <p:cNvPr id="29" name="Elbow Connector 28">
            <a:extLst>
              <a:ext uri="{FF2B5EF4-FFF2-40B4-BE49-F238E27FC236}">
                <a16:creationId xmlns:a16="http://schemas.microsoft.com/office/drawing/2014/main" id="{3B235A54-069D-F51F-3F1F-3716359D5A75}"/>
              </a:ext>
            </a:extLst>
          </p:cNvPr>
          <p:cNvCxnSpPr>
            <a:cxnSpLocks/>
            <a:stCxn id="25" idx="3"/>
          </p:cNvCxnSpPr>
          <p:nvPr userDrawn="1"/>
        </p:nvCxnSpPr>
        <p:spPr>
          <a:xfrm>
            <a:off x="8455467" y="2498269"/>
            <a:ext cx="2060885" cy="3958975"/>
          </a:xfrm>
          <a:prstGeom prst="bentConnector2">
            <a:avLst/>
          </a:prstGeom>
          <a:ln w="9525">
            <a:solidFill>
              <a:schemeClr val="accent5"/>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pic>
        <p:nvPicPr>
          <p:cNvPr id="31" name="Picture 30">
            <a:extLst>
              <a:ext uri="{FF2B5EF4-FFF2-40B4-BE49-F238E27FC236}">
                <a16:creationId xmlns:a16="http://schemas.microsoft.com/office/drawing/2014/main" id="{D277A782-D3C6-07CA-A203-0FA864C8FE4B}"/>
              </a:ext>
            </a:extLst>
          </p:cNvPr>
          <p:cNvPicPr>
            <a:picLocks noChangeAspect="1"/>
          </p:cNvPicPr>
          <p:nvPr userDrawn="1"/>
        </p:nvPicPr>
        <p:blipFill>
          <a:blip r:embed="rId4"/>
          <a:stretch>
            <a:fillRect/>
          </a:stretch>
        </p:blipFill>
        <p:spPr>
          <a:xfrm>
            <a:off x="7239129" y="4393363"/>
            <a:ext cx="2814017" cy="295241"/>
          </a:xfrm>
          <a:prstGeom prst="rect">
            <a:avLst/>
          </a:prstGeom>
        </p:spPr>
      </p:pic>
    </p:spTree>
    <p:extLst>
      <p:ext uri="{BB962C8B-B14F-4D97-AF65-F5344CB8AC3E}">
        <p14:creationId xmlns:p14="http://schemas.microsoft.com/office/powerpoint/2010/main" val="134803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ith gradient 3">
    <p:bg>
      <p:bgRef idx="1001">
        <a:schemeClr val="bg1"/>
      </p:bgRef>
    </p:bg>
    <p:spTree>
      <p:nvGrpSpPr>
        <p:cNvPr id="1" name=""/>
        <p:cNvGrpSpPr/>
        <p:nvPr/>
      </p:nvGrpSpPr>
      <p:grpSpPr>
        <a:xfrm>
          <a:off x="0" y="0"/>
          <a:ext cx="0" cy="0"/>
          <a:chOff x="0" y="0"/>
          <a:chExt cx="0" cy="0"/>
        </a:xfrm>
      </p:grpSpPr>
      <p:sp>
        <p:nvSpPr>
          <p:cNvPr id="4" name="Graphic 6">
            <a:extLst>
              <a:ext uri="{FF2B5EF4-FFF2-40B4-BE49-F238E27FC236}">
                <a16:creationId xmlns:a16="http://schemas.microsoft.com/office/drawing/2014/main" id="{67F0E6C0-13B3-9D23-728C-1A038C5F5084}"/>
              </a:ext>
            </a:extLst>
          </p:cNvPr>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pPr lvl="0"/>
            <a:endParaRPr lang="en-GB"/>
          </a:p>
        </p:txBody>
      </p:sp>
      <p:sp>
        <p:nvSpPr>
          <p:cNvPr id="9" name="Graphic 7">
            <a:extLst>
              <a:ext uri="{FF2B5EF4-FFF2-40B4-BE49-F238E27FC236}">
                <a16:creationId xmlns:a16="http://schemas.microsoft.com/office/drawing/2014/main" id="{E85637EC-2501-DFA4-6954-7B51C84A5E41}"/>
              </a:ext>
            </a:extLst>
          </p:cNvPr>
          <p:cNvSpPr/>
          <p:nvPr userDrawn="1"/>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3000">
                <a:srgbClr val="113D34">
                  <a:alpha val="21000"/>
                </a:srgbClr>
              </a:gs>
              <a:gs pos="55000">
                <a:srgbClr val="3A7430">
                  <a:alpha val="39000"/>
                </a:srgbClr>
              </a:gs>
              <a:gs pos="75000">
                <a:srgbClr val="62AA2C">
                  <a:alpha val="72000"/>
                </a:srgbClr>
              </a:gs>
              <a:gs pos="13000">
                <a:srgbClr val="002733">
                  <a:alpha val="0"/>
                </a:srgbClr>
              </a:gs>
              <a:gs pos="100000">
                <a:srgbClr val="C2FE06"/>
              </a:gs>
            </a:gsLst>
            <a:lin ang="18600000" scaled="0"/>
            <a:tileRect/>
          </a:gradFill>
          <a:ln w="3175" cap="flat">
            <a:noFill/>
            <a:prstDash val="solid"/>
            <a:miter/>
          </a:ln>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1B64F51E-B747-F7E9-3F68-6CC2BE2C47B4}"/>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
        <p:nvSpPr>
          <p:cNvPr id="7" name="Rectangle 6">
            <a:extLst>
              <a:ext uri="{FF2B5EF4-FFF2-40B4-BE49-F238E27FC236}">
                <a16:creationId xmlns:a16="http://schemas.microsoft.com/office/drawing/2014/main" id="{A3158709-0FCB-7218-003C-977C76E12500}"/>
              </a:ext>
            </a:extLst>
          </p:cNvPr>
          <p:cNvSpPr/>
          <p:nvPr userDrawn="1"/>
        </p:nvSpPr>
        <p:spPr bwMode="ltGray">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spTree>
    <p:extLst>
      <p:ext uri="{BB962C8B-B14F-4D97-AF65-F5344CB8AC3E}">
        <p14:creationId xmlns:p14="http://schemas.microsoft.com/office/powerpoint/2010/main" val="34241053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th gradient 4">
    <p:bg bwMode="auto">
      <p:bgRef idx="1001">
        <a:schemeClr val="bg1"/>
      </p:bgRef>
    </p:bg>
    <p:spTree>
      <p:nvGrpSpPr>
        <p:cNvPr id="1" name=""/>
        <p:cNvGrpSpPr/>
        <p:nvPr/>
      </p:nvGrpSpPr>
      <p:grpSpPr>
        <a:xfrm>
          <a:off x="0" y="0"/>
          <a:ext cx="0" cy="0"/>
          <a:chOff x="0" y="0"/>
          <a:chExt cx="0" cy="0"/>
        </a:xfrm>
      </p:grpSpPr>
      <p:grpSp>
        <p:nvGrpSpPr>
          <p:cNvPr id="11" name="Graphic 6">
            <a:extLst>
              <a:ext uri="{FF2B5EF4-FFF2-40B4-BE49-F238E27FC236}">
                <a16:creationId xmlns:a16="http://schemas.microsoft.com/office/drawing/2014/main" id="{9C0B5A5C-0C0D-29FD-247F-D4ECF018E736}"/>
              </a:ext>
            </a:extLst>
          </p:cNvPr>
          <p:cNvGrpSpPr/>
          <p:nvPr/>
        </p:nvGrpSpPr>
        <p:grpSpPr bwMode="grayWhite">
          <a:xfrm>
            <a:off x="0" y="0"/>
            <a:ext cx="12192000" cy="6857999"/>
            <a:chOff x="0" y="0"/>
            <a:chExt cx="12192000" cy="6857999"/>
          </a:xfrm>
        </p:grpSpPr>
        <p:sp>
          <p:nvSpPr>
            <p:cNvPr id="12" name="Freeform 11">
              <a:extLst>
                <a:ext uri="{FF2B5EF4-FFF2-40B4-BE49-F238E27FC236}">
                  <a16:creationId xmlns:a16="http://schemas.microsoft.com/office/drawing/2014/main" id="{CCB37294-7069-BF12-031E-B5C72B31E71D}"/>
                </a:ext>
              </a:extLst>
            </p:cNvPr>
            <p:cNvSpPr/>
            <p:nvPr/>
          </p:nvSpPr>
          <p:spPr bwMode="grayWhite">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8A60D4E8-7106-0A8E-34F3-B5DAEF0345BF}"/>
                </a:ext>
              </a:extLst>
            </p:cNvPr>
            <p:cNvSpPr/>
            <p:nvPr/>
          </p:nvSpPr>
          <p:spPr bwMode="grayWhite">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BE8EAFE0-8E75-75F0-1B93-2BF143B8A445}"/>
                </a:ext>
              </a:extLst>
            </p:cNvPr>
            <p:cNvSpPr/>
            <p:nvPr userDrawn="1"/>
          </p:nvSpPr>
          <p:spPr bwMode="grayWhite">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9" name="Graphic 7">
            <a:extLst>
              <a:ext uri="{FF2B5EF4-FFF2-40B4-BE49-F238E27FC236}">
                <a16:creationId xmlns:a16="http://schemas.microsoft.com/office/drawing/2014/main" id="{A9C163E3-CE43-4B41-8D09-74D33B5A0162}"/>
              </a:ext>
            </a:extLst>
          </p:cNvPr>
          <p:cNvSpPr/>
          <p:nvPr userDrawn="1"/>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a:gsLst>
              <a:gs pos="0">
                <a:schemeClr val="accent2">
                  <a:alpha val="0"/>
                </a:schemeClr>
              </a:gs>
              <a:gs pos="35000">
                <a:schemeClr val="accent2"/>
              </a:gs>
              <a:gs pos="100000">
                <a:srgbClr val="FFFFFF">
                  <a:alpha val="65000"/>
                </a:srgbClr>
              </a:gs>
            </a:gsLst>
            <a:lin ang="16800000" scaled="0"/>
          </a:gradFill>
          <a:ln w="3175" cap="flat">
            <a:noFill/>
            <a:prstDash val="solid"/>
            <a:miter/>
          </a:ln>
          <a:effectLst>
            <a:softEdge rad="0"/>
          </a:effectLst>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auto">
          <a:xfrm>
            <a:off x="407036" y="1787174"/>
            <a:ext cx="7589520"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auto">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auto">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4388D7B5-0FBA-4A30-7E62-5EB0C42C62B8}"/>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7409252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th gradient 5">
    <p:bg>
      <p:bgPr>
        <a:solidFill>
          <a:srgbClr val="00806F"/>
        </a:solidFill>
        <a:effectLst/>
      </p:bgPr>
    </p:bg>
    <p:spTree>
      <p:nvGrpSpPr>
        <p:cNvPr id="1" name=""/>
        <p:cNvGrpSpPr/>
        <p:nvPr/>
      </p:nvGrpSpPr>
      <p:grpSpPr>
        <a:xfrm>
          <a:off x="0" y="0"/>
          <a:ext cx="0" cy="0"/>
          <a:chOff x="0" y="0"/>
          <a:chExt cx="0" cy="0"/>
        </a:xfrm>
      </p:grpSpPr>
      <p:grpSp>
        <p:nvGrpSpPr>
          <p:cNvPr id="11" name="Graphic 6">
            <a:extLst>
              <a:ext uri="{FF2B5EF4-FFF2-40B4-BE49-F238E27FC236}">
                <a16:creationId xmlns:a16="http://schemas.microsoft.com/office/drawing/2014/main" id="{F1FA61B7-B5B0-5230-E371-D7EA8628C18E}"/>
              </a:ext>
            </a:extLst>
          </p:cNvPr>
          <p:cNvGrpSpPr/>
          <p:nvPr userDrawn="1"/>
        </p:nvGrpSpPr>
        <p:grpSpPr bwMode="ltGray">
          <a:xfrm rot="10800000">
            <a:off x="0" y="0"/>
            <a:ext cx="12192000" cy="6858000"/>
            <a:chOff x="0" y="0"/>
            <a:chExt cx="12192000" cy="6857999"/>
          </a:xfrm>
        </p:grpSpPr>
        <p:sp>
          <p:nvSpPr>
            <p:cNvPr id="12" name="Freeform 11">
              <a:extLst>
                <a:ext uri="{FF2B5EF4-FFF2-40B4-BE49-F238E27FC236}">
                  <a16:creationId xmlns:a16="http://schemas.microsoft.com/office/drawing/2014/main" id="{B2348A31-C726-9BDF-1451-6CF623A941D7}"/>
                </a:ext>
              </a:extLst>
            </p:cNvPr>
            <p:cNvSpPr/>
            <p:nvPr/>
          </p:nvSpPr>
          <p:spPr bwMode="ltGray">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4FE33991-7AD6-971E-9D5C-54339AD9E597}"/>
                </a:ext>
              </a:extLst>
            </p:cNvPr>
            <p:cNvSpPr/>
            <p:nvPr/>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8E0EBFB9-FF63-B612-62AB-1B10CFD42E1A}"/>
                </a:ext>
              </a:extLst>
            </p:cNvPr>
            <p:cNvSpPr/>
            <p:nvPr userDrawn="1"/>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17" name="Freeform 16">
            <a:extLst>
              <a:ext uri="{FF2B5EF4-FFF2-40B4-BE49-F238E27FC236}">
                <a16:creationId xmlns:a16="http://schemas.microsoft.com/office/drawing/2014/main" id="{E69D9263-13BB-B7A8-0089-6FB3E53B9597}"/>
              </a:ext>
            </a:extLst>
          </p:cNvPr>
          <p:cNvSpPr/>
          <p:nvPr userDrawn="1"/>
        </p:nvSpPr>
        <p:spPr bwMode="ltGray">
          <a:xfrm rot="16200000">
            <a:off x="6605826" y="1271826"/>
            <a:ext cx="6857998" cy="4314351"/>
          </a:xfrm>
          <a:custGeom>
            <a:avLst/>
            <a:gdLst>
              <a:gd name="connsiteX0" fmla="*/ 6857998 w 6857998"/>
              <a:gd name="connsiteY0" fmla="*/ 0 h 4314351"/>
              <a:gd name="connsiteX1" fmla="*/ 6857998 w 6857998"/>
              <a:gd name="connsiteY1" fmla="*/ 4314351 h 4314351"/>
              <a:gd name="connsiteX2" fmla="*/ 0 w 6857998"/>
              <a:gd name="connsiteY2" fmla="*/ 4314351 h 4314351"/>
              <a:gd name="connsiteX3" fmla="*/ 0 w 6857998"/>
              <a:gd name="connsiteY3" fmla="*/ 2571665 h 4314351"/>
              <a:gd name="connsiteX4" fmla="*/ 438488 w 6857998"/>
              <a:gd name="connsiteY4" fmla="*/ 2546480 h 4314351"/>
              <a:gd name="connsiteX5" fmla="*/ 6857998 w 6857998"/>
              <a:gd name="connsiteY5" fmla="*/ 0 h 431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7998" h="4314351">
                <a:moveTo>
                  <a:pt x="6857998" y="0"/>
                </a:moveTo>
                <a:lnTo>
                  <a:pt x="6857998" y="4314351"/>
                </a:lnTo>
                <a:lnTo>
                  <a:pt x="0" y="4314351"/>
                </a:lnTo>
                <a:lnTo>
                  <a:pt x="0" y="2571665"/>
                </a:lnTo>
                <a:lnTo>
                  <a:pt x="438488" y="2546480"/>
                </a:lnTo>
                <a:cubicBezTo>
                  <a:pt x="6189193" y="2144405"/>
                  <a:pt x="6857998" y="0"/>
                  <a:pt x="6857998" y="0"/>
                </a:cubicBezTo>
                <a:close/>
              </a:path>
            </a:pathLst>
          </a:custGeom>
          <a:gradFill>
            <a:gsLst>
              <a:gs pos="0">
                <a:schemeClr val="accent2">
                  <a:alpha val="0"/>
                </a:schemeClr>
              </a:gs>
              <a:gs pos="34000">
                <a:schemeClr val="accent2">
                  <a:alpha val="99617"/>
                </a:schemeClr>
              </a:gs>
              <a:gs pos="100000">
                <a:srgbClr val="FFFFFF">
                  <a:alpha val="59000"/>
                </a:srgbClr>
              </a:gs>
            </a:gsLst>
            <a:lin ang="18600000" scaled="0"/>
          </a:gradFill>
          <a:ln w="3175" cap="flat">
            <a:noFill/>
            <a:prstDash val="solid"/>
            <a:miter/>
          </a:ln>
          <a:effectLst>
            <a:softEdge rad="0"/>
          </a:effectLst>
        </p:spPr>
        <p:txBody>
          <a:bodyPr wrap="square" rtlCol="0" anchor="ctr">
            <a:noAutofit/>
          </a:bodyPr>
          <a:lstStyle/>
          <a:p>
            <a:pPr lvl="0"/>
            <a:endParaRPr lang="en-GB"/>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589520" cy="1495794"/>
          </a:xfrm>
        </p:spPr>
        <p:txBody>
          <a:bodyPr wrap="square" anchor="b">
            <a:spAutoFit/>
          </a:bodyPr>
          <a:lstStyle>
            <a:lvl1pPr algn="l">
              <a:defRPr sz="3600">
                <a:solidFill>
                  <a:schemeClr val="tx1"/>
                </a:solidFill>
              </a:defRPr>
            </a:lvl1pPr>
          </a:lstStyle>
          <a:p>
            <a:r>
              <a:rPr lang="en-GB"/>
              <a:t>Title with gradient background in </a:t>
            </a:r>
            <a:br>
              <a:rPr lang="en-GB"/>
            </a:br>
            <a:r>
              <a:rPr lang="en-GB"/>
              <a:t>The Group Head Light 36pt, </a:t>
            </a:r>
            <a:br>
              <a:rPr lang="en-GB"/>
            </a:br>
            <a:r>
              <a:rPr lang="en-GB"/>
              <a:t>White, 3+ lines possible</a:t>
            </a:r>
            <a:endParaRPr lang="en-US" noProof="0"/>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9" name="Textplatzhalter 8">
            <a:extLst>
              <a:ext uri="{FF2B5EF4-FFF2-40B4-BE49-F238E27FC236}">
                <a16:creationId xmlns:a16="http://schemas.microsoft.com/office/drawing/2014/main" id="{B84C8E5B-2E39-6EFE-9F94-B0F2C5165CE4}"/>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5" name="Picture 5" descr="A black background with white text&#10;&#10;Description automatically generated with low confidence">
            <a:extLst>
              <a:ext uri="{FF2B5EF4-FFF2-40B4-BE49-F238E27FC236}">
                <a16:creationId xmlns:a16="http://schemas.microsoft.com/office/drawing/2014/main" id="{BBAE411E-C9E1-42BA-8D12-A4F5DF3DF3E7}"/>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1202360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with image 1">
    <p:bg>
      <p:bgRef idx="1001">
        <a:schemeClr val="bg1"/>
      </p:bgRef>
    </p:bg>
    <p:spTree>
      <p:nvGrpSpPr>
        <p:cNvPr id="1" name=""/>
        <p:cNvGrpSpPr/>
        <p:nvPr/>
      </p:nvGrpSpPr>
      <p:grpSpPr>
        <a:xfrm>
          <a:off x="0" y="0"/>
          <a:ext cx="0" cy="0"/>
          <a:chOff x="0" y="0"/>
          <a:chExt cx="0" cy="0"/>
        </a:xfrm>
      </p:grpSpPr>
      <p:pic>
        <p:nvPicPr>
          <p:cNvPr id="9" name="Grafik 8" descr="Ein Bild, das draußen, Baum, Wasser, Himmel enthält.&#10;&#10;Automatisch generierte Beschreibung">
            <a:extLst>
              <a:ext uri="{FF2B5EF4-FFF2-40B4-BE49-F238E27FC236}">
                <a16:creationId xmlns:a16="http://schemas.microsoft.com/office/drawing/2014/main" id="{70372D82-BEEE-A522-604B-3ADAB2C624F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a:stretch/>
        </p:blipFill>
        <p:spPr bwMode="ltGray">
          <a:xfrm>
            <a:off x="0" y="0"/>
            <a:ext cx="12192002" cy="6858000"/>
          </a:xfrm>
          <a:prstGeom prst="rect">
            <a:avLst/>
          </a:prstGeom>
        </p:spPr>
      </p:pic>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589520" cy="1495794"/>
          </a:xfrm>
        </p:spPr>
        <p:txBody>
          <a:bodyPr wrap="square" anchor="b">
            <a:spAutoFit/>
          </a:bodyPr>
          <a:lstStyle>
            <a:lvl1pPr algn="l">
              <a:defRPr sz="3600">
                <a:solidFill>
                  <a:schemeClr val="tx1"/>
                </a:solidFill>
              </a:defRPr>
            </a:lvl1pPr>
          </a:lstStyle>
          <a:p>
            <a:r>
              <a:rPr lang="en-GB"/>
              <a:t>Title with image in </a:t>
            </a:r>
            <a:br>
              <a:rPr lang="en-GB"/>
            </a:br>
            <a:r>
              <a:rPr lang="en-GB"/>
              <a:t>The Group Head Light 36pt, </a:t>
            </a:r>
            <a:br>
              <a:rPr lang="en-GB"/>
            </a:br>
            <a:r>
              <a:rPr lang="en-GB"/>
              <a:t>White, 3+ lines possible</a:t>
            </a:r>
            <a:endParaRPr lang="en-US" noProof="0"/>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8" name="Textplatzhalter 8">
            <a:extLst>
              <a:ext uri="{FF2B5EF4-FFF2-40B4-BE49-F238E27FC236}">
                <a16:creationId xmlns:a16="http://schemas.microsoft.com/office/drawing/2014/main" id="{F3942BF0-67C2-346B-A911-24544E7C103F}"/>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4" name="Picture 5" descr="A black background with white text&#10;&#10;Description automatically generated with low confidence">
            <a:extLst>
              <a:ext uri="{FF2B5EF4-FFF2-40B4-BE49-F238E27FC236}">
                <a16:creationId xmlns:a16="http://schemas.microsoft.com/office/drawing/2014/main" id="{13CA725E-09E4-CF35-B360-BA636494FD48}"/>
              </a:ext>
            </a:extLst>
          </p:cNvPr>
          <p:cNvPicPr>
            <a:picLocks noChangeAspect="1"/>
          </p:cNvPicPr>
          <p:nvPr userDrawn="1"/>
        </p:nvPicPr>
        <p:blipFill>
          <a:blip r:embed="rId3"/>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1516448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with image 2">
    <p:bg>
      <p:bgRef idx="1001">
        <a:schemeClr val="bg1"/>
      </p:bgRef>
    </p:bg>
    <p:spTree>
      <p:nvGrpSpPr>
        <p:cNvPr id="1" name=""/>
        <p:cNvGrpSpPr/>
        <p:nvPr/>
      </p:nvGrpSpPr>
      <p:grpSpPr>
        <a:xfrm>
          <a:off x="0" y="0"/>
          <a:ext cx="0" cy="0"/>
          <a:chOff x="0" y="0"/>
          <a:chExt cx="0" cy="0"/>
        </a:xfrm>
      </p:grpSpPr>
      <p:pic>
        <p:nvPicPr>
          <p:cNvPr id="5" name="Grafik 4" descr="Ein Bild, das Person enthält.&#10;&#10;Automatisch generierte Beschreibung">
            <a:extLst>
              <a:ext uri="{FF2B5EF4-FFF2-40B4-BE49-F238E27FC236}">
                <a16:creationId xmlns:a16="http://schemas.microsoft.com/office/drawing/2014/main" id="{06B69318-4517-71CC-AD9B-1C7737AA77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1"/>
          <a:stretch/>
        </p:blipFill>
        <p:spPr bwMode="ltGray">
          <a:xfrm>
            <a:off x="0" y="0"/>
            <a:ext cx="12192000" cy="6858000"/>
          </a:xfrm>
          <a:prstGeom prst="rect">
            <a:avLst/>
          </a:prstGeom>
        </p:spPr>
      </p:pic>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589520" cy="1495794"/>
          </a:xfrm>
        </p:spPr>
        <p:txBody>
          <a:bodyPr wrap="square" anchor="b">
            <a:spAutoFit/>
          </a:bodyPr>
          <a:lstStyle>
            <a:lvl1pPr marL="0" indent="0" algn="l">
              <a:tabLst>
                <a:tab pos="3954463" algn="l"/>
              </a:tabLst>
              <a:defRPr sz="3600">
                <a:solidFill>
                  <a:schemeClr val="tx1"/>
                </a:solidFill>
              </a:defRPr>
            </a:lvl1pPr>
          </a:lstStyle>
          <a:p>
            <a:r>
              <a:rPr lang="en-US" noProof="0"/>
              <a:t>Title with image in </a:t>
            </a:r>
            <a:br>
              <a:rPr lang="en-US" noProof="0"/>
            </a:br>
            <a:r>
              <a:rPr lang="en-US" noProof="0"/>
              <a:t>The Group Head Light 36pt, </a:t>
            </a:r>
            <a:br>
              <a:rPr lang="en-US" noProof="0"/>
            </a:br>
            <a:r>
              <a:rPr lang="en-US" noProof="0"/>
              <a:t>White, 3+ lines possibl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9" name="Textplatzhalter 8">
            <a:extLst>
              <a:ext uri="{FF2B5EF4-FFF2-40B4-BE49-F238E27FC236}">
                <a16:creationId xmlns:a16="http://schemas.microsoft.com/office/drawing/2014/main" id="{B84C8E5B-2E39-6EFE-9F94-B0F2C5165CE4}"/>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4" name="Picture 5" descr="A black background with white text&#10;&#10;Description automatically generated with low confidence">
            <a:extLst>
              <a:ext uri="{FF2B5EF4-FFF2-40B4-BE49-F238E27FC236}">
                <a16:creationId xmlns:a16="http://schemas.microsoft.com/office/drawing/2014/main" id="{BB497C4D-6C03-F11E-DDBD-15FF0909AB98}"/>
              </a:ext>
            </a:extLst>
          </p:cNvPr>
          <p:cNvPicPr>
            <a:picLocks noChangeAspect="1"/>
          </p:cNvPicPr>
          <p:nvPr userDrawn="1"/>
        </p:nvPicPr>
        <p:blipFill>
          <a:blip r:embed="rId3"/>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800279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1.xml"/><Relationship Id="rId8" Type="http://schemas.openxmlformats.org/officeDocument/2006/relationships/slideLayout" Target="../slideLayouts/slideLayout8.xml"/><Relationship Id="rId51" Type="http://schemas.openxmlformats.org/officeDocument/2006/relationships/image" Target="../media/image2.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9E5FC550-C3CE-9D47-42DB-2F1EF6BFA984}"/>
              </a:ext>
            </a:extLst>
          </p:cNvPr>
          <p:cNvGraphicFramePr>
            <a:graphicFrameLocks noChangeAspect="1"/>
          </p:cNvGraphicFramePr>
          <p:nvPr userDrawn="1">
            <p:custDataLst>
              <p:tags r:id="rId48"/>
            </p:custDataLst>
            <p:extLst>
              <p:ext uri="{D42A27DB-BD31-4B8C-83A1-F6EECF244321}">
                <p14:modId xmlns:p14="http://schemas.microsoft.com/office/powerpoint/2010/main" val="2856897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9" imgW="425" imgH="424" progId="TCLayout.ActiveDocument.1">
                  <p:embed/>
                </p:oleObj>
              </mc:Choice>
              <mc:Fallback>
                <p:oleObj name="think-cell Folie" r:id="rId49" imgW="425" imgH="424" progId="TCLayout.ActiveDocument.1">
                  <p:embed/>
                  <p:pic>
                    <p:nvPicPr>
                      <p:cNvPr id="16" name="think-cell data - do not delete" hidden="1">
                        <a:extLst>
                          <a:ext uri="{FF2B5EF4-FFF2-40B4-BE49-F238E27FC236}">
                            <a16:creationId xmlns:a16="http://schemas.microsoft.com/office/drawing/2014/main" id="{9E5FC550-C3CE-9D47-42DB-2F1EF6BFA984}"/>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3C56B7EF-4461-AB17-108A-8CC77F48E030}"/>
              </a:ext>
            </a:extLst>
          </p:cNvPr>
          <p:cNvSpPr>
            <a:spLocks noGrp="1"/>
          </p:cNvSpPr>
          <p:nvPr>
            <p:ph type="title"/>
          </p:nvPr>
        </p:nvSpPr>
        <p:spPr bwMode="gray">
          <a:xfrm>
            <a:off x="407987" y="644520"/>
            <a:ext cx="11376021" cy="387798"/>
          </a:xfrm>
          <a:prstGeom prst="rect">
            <a:avLst/>
          </a:prstGeom>
        </p:spPr>
        <p:txBody>
          <a:bodyPr vert="horz" wrap="square" lIns="0" tIns="0" rIns="0" bIns="0" rtlCol="0" anchor="t" anchorCtr="0">
            <a:spAutoFit/>
          </a:bodyPr>
          <a:lstStyle/>
          <a:p>
            <a:r>
              <a:rPr lang="en-GB" noProof="0"/>
              <a:t>Click to edit slide title (maximum two lines)</a:t>
            </a:r>
          </a:p>
        </p:txBody>
      </p:sp>
      <p:sp>
        <p:nvSpPr>
          <p:cNvPr id="3" name="Textplatzhalter 2">
            <a:extLst>
              <a:ext uri="{FF2B5EF4-FFF2-40B4-BE49-F238E27FC236}">
                <a16:creationId xmlns:a16="http://schemas.microsoft.com/office/drawing/2014/main" id="{AC8ACC66-43E9-95B0-51D1-0E28CC3AAC24}"/>
              </a:ext>
            </a:extLst>
          </p:cNvPr>
          <p:cNvSpPr>
            <a:spLocks noGrp="1"/>
          </p:cNvSpPr>
          <p:nvPr>
            <p:ph type="body" idx="1"/>
          </p:nvPr>
        </p:nvSpPr>
        <p:spPr bwMode="gray">
          <a:xfrm>
            <a:off x="407036" y="1853248"/>
            <a:ext cx="11380116" cy="4600734"/>
          </a:xfrm>
          <a:prstGeom prst="rect">
            <a:avLst/>
          </a:prstGeom>
        </p:spPr>
        <p:txBody>
          <a:bodyPr vert="horz" lIns="0" tIns="0" rIns="0" bIns="0" rtlCol="0">
            <a:noAutofit/>
          </a:bodyPr>
          <a:lstStyle/>
          <a:p>
            <a:pPr lvl="0"/>
            <a:r>
              <a:rPr lang="en-GB" noProof="0"/>
              <a:t>Click to edit text</a:t>
            </a:r>
          </a:p>
          <a:p>
            <a:pPr lvl="1"/>
            <a:r>
              <a:rPr lang="en-GB" noProof="0"/>
              <a:t>Second level</a:t>
            </a:r>
          </a:p>
          <a:p>
            <a:pPr lvl="2"/>
            <a:r>
              <a:rPr lang="en-GB" noProof="0"/>
              <a:t>Third level</a:t>
            </a:r>
          </a:p>
          <a:p>
            <a:pPr lvl="3"/>
            <a:r>
              <a:rPr lang="en-GB" noProof="0"/>
              <a:t>Fourth level</a:t>
            </a:r>
          </a:p>
          <a:p>
            <a:pPr lvl="4"/>
            <a:endParaRPr lang="en-GB" noProof="0"/>
          </a:p>
        </p:txBody>
      </p:sp>
      <p:sp>
        <p:nvSpPr>
          <p:cNvPr id="4" name="Datumsplatzhalter 3">
            <a:extLst>
              <a:ext uri="{FF2B5EF4-FFF2-40B4-BE49-F238E27FC236}">
                <a16:creationId xmlns:a16="http://schemas.microsoft.com/office/drawing/2014/main" id="{490B8C70-311F-31DF-AC29-834B1014A761}"/>
              </a:ext>
            </a:extLst>
          </p:cNvPr>
          <p:cNvSpPr>
            <a:spLocks noGrp="1"/>
          </p:cNvSpPr>
          <p:nvPr>
            <p:ph type="dt" sz="half" idx="2"/>
          </p:nvPr>
        </p:nvSpPr>
        <p:spPr bwMode="gray">
          <a:xfrm>
            <a:off x="10707152" y="6579881"/>
            <a:ext cx="720000" cy="126000"/>
          </a:xfrm>
          <a:prstGeom prst="rect">
            <a:avLst/>
          </a:prstGeom>
        </p:spPr>
        <p:txBody>
          <a:bodyPr vert="horz" wrap="square" lIns="0" tIns="0" rIns="0" bIns="0" rtlCol="0" anchor="ctr">
            <a:spAutoFit/>
          </a:bodyPr>
          <a:lstStyle>
            <a:lvl1pPr algn="r">
              <a:defRPr sz="800">
                <a:solidFill>
                  <a:schemeClr val="accent4"/>
                </a:solidFill>
              </a:defRPr>
            </a:lvl1pPr>
          </a:lstStyle>
          <a:p>
            <a:r>
              <a:rPr lang="en-GB"/>
              <a:t>19.07.2023</a:t>
            </a:r>
          </a:p>
        </p:txBody>
      </p:sp>
      <p:sp>
        <p:nvSpPr>
          <p:cNvPr id="5" name="Fußzeilenplatzhalter 4">
            <a:extLst>
              <a:ext uri="{FF2B5EF4-FFF2-40B4-BE49-F238E27FC236}">
                <a16:creationId xmlns:a16="http://schemas.microsoft.com/office/drawing/2014/main" id="{3EDB32B8-0E5C-5E72-D00A-DB2CFC81AEA2}"/>
              </a:ext>
            </a:extLst>
          </p:cNvPr>
          <p:cNvSpPr>
            <a:spLocks noGrp="1"/>
          </p:cNvSpPr>
          <p:nvPr>
            <p:ph type="ftr" sz="quarter" idx="3"/>
          </p:nvPr>
        </p:nvSpPr>
        <p:spPr bwMode="gray">
          <a:xfrm>
            <a:off x="407988" y="6584400"/>
            <a:ext cx="10108364" cy="126000"/>
          </a:xfrm>
          <a:prstGeom prst="rect">
            <a:avLst/>
          </a:prstGeom>
        </p:spPr>
        <p:txBody>
          <a:bodyPr vert="horz" wrap="square" lIns="0" tIns="0" rIns="0" bIns="0" rtlCol="0" anchor="ctr">
            <a:spAutoFit/>
          </a:bodyPr>
          <a:lstStyle>
            <a:lvl1pPr algn="r">
              <a:defRPr sz="800">
                <a:solidFill>
                  <a:schemeClr val="accent4"/>
                </a:solidFill>
              </a:defRPr>
            </a:lvl1pPr>
          </a:lstStyle>
          <a:p>
            <a:r>
              <a:rPr lang="en-GB"/>
              <a:t>Department K-OE  |  Presentation title  |  CSD-class</a:t>
            </a:r>
          </a:p>
        </p:txBody>
      </p:sp>
      <p:sp>
        <p:nvSpPr>
          <p:cNvPr id="6" name="Foliennummernplatzhalter 5">
            <a:extLst>
              <a:ext uri="{FF2B5EF4-FFF2-40B4-BE49-F238E27FC236}">
                <a16:creationId xmlns:a16="http://schemas.microsoft.com/office/drawing/2014/main" id="{7FB3F4DB-4231-A179-AD38-0B2FCE119BDA}"/>
              </a:ext>
            </a:extLst>
          </p:cNvPr>
          <p:cNvSpPr>
            <a:spLocks noGrp="1"/>
          </p:cNvSpPr>
          <p:nvPr>
            <p:ph type="sldNum" sz="quarter" idx="4"/>
          </p:nvPr>
        </p:nvSpPr>
        <p:spPr bwMode="gray">
          <a:xfrm>
            <a:off x="11427152" y="6579881"/>
            <a:ext cx="360000" cy="126000"/>
          </a:xfrm>
          <a:prstGeom prst="rect">
            <a:avLst/>
          </a:prstGeom>
        </p:spPr>
        <p:txBody>
          <a:bodyPr vert="horz" wrap="square" lIns="0" tIns="0" rIns="0" bIns="0" rtlCol="0" anchor="ctr">
            <a:spAutoFit/>
          </a:bodyPr>
          <a:lstStyle>
            <a:lvl1pPr algn="r">
              <a:defRPr sz="800">
                <a:solidFill>
                  <a:schemeClr val="accent4"/>
                </a:solidFill>
              </a:defRPr>
            </a:lvl1pPr>
          </a:lstStyle>
          <a:p>
            <a:fld id="{53C98C43-8B83-4748-BA0D-B0C90A16569F}" type="slidenum">
              <a:rPr lang="en-GB" smtClean="0"/>
              <a:pPr/>
              <a:t>‹Nr.›</a:t>
            </a:fld>
            <a:endParaRPr lang="en-GB"/>
          </a:p>
        </p:txBody>
      </p:sp>
      <p:cxnSp>
        <p:nvCxnSpPr>
          <p:cNvPr id="8" name="Gerader Verbinder 7">
            <a:extLst>
              <a:ext uri="{FF2B5EF4-FFF2-40B4-BE49-F238E27FC236}">
                <a16:creationId xmlns:a16="http://schemas.microsoft.com/office/drawing/2014/main" id="{EB9F9F1A-BF9E-1C9B-ECE0-00CBA4E944C3}"/>
              </a:ext>
            </a:extLst>
          </p:cNvPr>
          <p:cNvCxnSpPr/>
          <p:nvPr/>
        </p:nvCxnSpPr>
        <p:spPr bwMode="gray">
          <a:xfrm flipH="1">
            <a:off x="-304797" y="6453982"/>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Textfeld 8">
            <a:extLst>
              <a:ext uri="{FF2B5EF4-FFF2-40B4-BE49-F238E27FC236}">
                <a16:creationId xmlns:a16="http://schemas.microsoft.com/office/drawing/2014/main" id="{F1D39479-3EF6-481D-3F86-0392195505A4}"/>
              </a:ext>
            </a:extLst>
          </p:cNvPr>
          <p:cNvSpPr txBox="1"/>
          <p:nvPr userDrawn="1"/>
        </p:nvSpPr>
        <p:spPr bwMode="gray">
          <a:xfrm>
            <a:off x="-285747" y="6353974"/>
            <a:ext cx="203200"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20B0604020202020204" pitchFamily="34" charset="0"/>
              </a:rPr>
              <a:t>8,40</a:t>
            </a:r>
          </a:p>
        </p:txBody>
      </p:sp>
      <p:cxnSp>
        <p:nvCxnSpPr>
          <p:cNvPr id="10" name="Gerader Verbinder 9">
            <a:extLst>
              <a:ext uri="{FF2B5EF4-FFF2-40B4-BE49-F238E27FC236}">
                <a16:creationId xmlns:a16="http://schemas.microsoft.com/office/drawing/2014/main" id="{3380CEC4-6934-2632-FCBB-4D2C6D39CC10}"/>
              </a:ext>
            </a:extLst>
          </p:cNvPr>
          <p:cNvCxnSpPr/>
          <p:nvPr/>
        </p:nvCxnSpPr>
        <p:spPr bwMode="gray">
          <a:xfrm flipV="1">
            <a:off x="11784013"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6CFE6950-AE68-5FC6-76AE-86B39D651370}"/>
              </a:ext>
            </a:extLst>
          </p:cNvPr>
          <p:cNvSpPr txBox="1"/>
          <p:nvPr/>
        </p:nvSpPr>
        <p:spPr bwMode="gray">
          <a:xfrm>
            <a:off x="11831643" y="-211931"/>
            <a:ext cx="298449" cy="92333"/>
          </a:xfrm>
          <a:prstGeom prst="rect">
            <a:avLst/>
          </a:prstGeom>
          <a:noFill/>
        </p:spPr>
        <p:txBody>
          <a:bodyPr wrap="square" lIns="0" tIns="0" rIns="0" bIns="0" rtlCol="0">
            <a:noAutofit/>
          </a:bodyPr>
          <a:lstStyle/>
          <a:p>
            <a:r>
              <a:rPr lang="en-GB" sz="600" b="0" i="0" noProof="0">
                <a:solidFill>
                  <a:schemeClr val="accent4"/>
                </a:solidFill>
                <a:latin typeface="The Group TEXT" panose="00000500000000000000" pitchFamily="2" charset="0"/>
                <a:cs typeface="The Group TEXT" panose="020B0604020202020204" pitchFamily="34" charset="0"/>
              </a:rPr>
              <a:t>15,80</a:t>
            </a:r>
          </a:p>
        </p:txBody>
      </p:sp>
      <p:cxnSp>
        <p:nvCxnSpPr>
          <p:cNvPr id="12" name="Gerader Verbinder 11">
            <a:extLst>
              <a:ext uri="{FF2B5EF4-FFF2-40B4-BE49-F238E27FC236}">
                <a16:creationId xmlns:a16="http://schemas.microsoft.com/office/drawing/2014/main" id="{6CD33B17-2A7F-B878-99CD-DB0B61909B22}"/>
              </a:ext>
            </a:extLst>
          </p:cNvPr>
          <p:cNvCxnSpPr/>
          <p:nvPr/>
        </p:nvCxnSpPr>
        <p:spPr bwMode="gray">
          <a:xfrm flipH="1">
            <a:off x="-304797" y="1844622"/>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feld 12">
            <a:extLst>
              <a:ext uri="{FF2B5EF4-FFF2-40B4-BE49-F238E27FC236}">
                <a16:creationId xmlns:a16="http://schemas.microsoft.com/office/drawing/2014/main" id="{68240D4A-2FDF-B4D6-C1A4-EE11AB75BEA4}"/>
              </a:ext>
            </a:extLst>
          </p:cNvPr>
          <p:cNvSpPr txBox="1"/>
          <p:nvPr userDrawn="1"/>
        </p:nvSpPr>
        <p:spPr bwMode="gray">
          <a:xfrm>
            <a:off x="-304796" y="1874789"/>
            <a:ext cx="222248"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20B0604020202020204" pitchFamily="34" charset="0"/>
              </a:rPr>
              <a:t>4,40</a:t>
            </a:r>
          </a:p>
        </p:txBody>
      </p:sp>
      <p:cxnSp>
        <p:nvCxnSpPr>
          <p:cNvPr id="14" name="Gerader Verbinder 13">
            <a:extLst>
              <a:ext uri="{FF2B5EF4-FFF2-40B4-BE49-F238E27FC236}">
                <a16:creationId xmlns:a16="http://schemas.microsoft.com/office/drawing/2014/main" id="{CC422DBD-5A09-A843-A73D-20E87D2E4DE8}"/>
              </a:ext>
            </a:extLst>
          </p:cNvPr>
          <p:cNvCxnSpPr/>
          <p:nvPr/>
        </p:nvCxnSpPr>
        <p:spPr bwMode="gray">
          <a:xfrm flipH="1">
            <a:off x="-304798" y="1044837"/>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5" name="Textfeld 14">
            <a:extLst>
              <a:ext uri="{FF2B5EF4-FFF2-40B4-BE49-F238E27FC236}">
                <a16:creationId xmlns:a16="http://schemas.microsoft.com/office/drawing/2014/main" id="{4CB12F3C-03C3-49B2-85E0-B16A5349A213}"/>
              </a:ext>
            </a:extLst>
          </p:cNvPr>
          <p:cNvSpPr txBox="1"/>
          <p:nvPr userDrawn="1"/>
        </p:nvSpPr>
        <p:spPr bwMode="gray">
          <a:xfrm>
            <a:off x="-304797" y="1052513"/>
            <a:ext cx="222249"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20B0604020202020204" pitchFamily="34" charset="0"/>
              </a:rPr>
              <a:t>6,60</a:t>
            </a:r>
          </a:p>
        </p:txBody>
      </p:sp>
      <p:sp>
        <p:nvSpPr>
          <p:cNvPr id="22" name="Textfeld 21">
            <a:extLst>
              <a:ext uri="{FF2B5EF4-FFF2-40B4-BE49-F238E27FC236}">
                <a16:creationId xmlns:a16="http://schemas.microsoft.com/office/drawing/2014/main" id="{232F9980-A7F8-E587-210B-67BDCD747B44}"/>
              </a:ext>
            </a:extLst>
          </p:cNvPr>
          <p:cNvSpPr txBox="1"/>
          <p:nvPr userDrawn="1"/>
        </p:nvSpPr>
        <p:spPr bwMode="gray">
          <a:xfrm>
            <a:off x="60958" y="-211931"/>
            <a:ext cx="298449" cy="92333"/>
          </a:xfrm>
          <a:prstGeom prst="rect">
            <a:avLst/>
          </a:prstGeom>
          <a:noFill/>
        </p:spPr>
        <p:txBody>
          <a:bodyPr wrap="square" lIns="0" tIns="0" rIns="0" bIns="0" rtlCol="0">
            <a:noAutofit/>
          </a:bodyPr>
          <a:lstStyle/>
          <a:p>
            <a:pPr algn="r"/>
            <a:r>
              <a:rPr lang="en-GB" sz="600" b="0" i="0" noProof="0">
                <a:solidFill>
                  <a:schemeClr val="accent4"/>
                </a:solidFill>
                <a:latin typeface="The Group TEXT" panose="00000500000000000000" pitchFamily="2" charset="0"/>
                <a:cs typeface="The Group TEXT" panose="020B0604020202020204" pitchFamily="34" charset="0"/>
              </a:rPr>
              <a:t>15,80</a:t>
            </a:r>
          </a:p>
        </p:txBody>
      </p:sp>
      <p:cxnSp>
        <p:nvCxnSpPr>
          <p:cNvPr id="24" name="Gerader Verbinder 23">
            <a:extLst>
              <a:ext uri="{FF2B5EF4-FFF2-40B4-BE49-F238E27FC236}">
                <a16:creationId xmlns:a16="http://schemas.microsoft.com/office/drawing/2014/main" id="{F93BE442-19B8-0F29-53DE-FFC8335D8624}"/>
              </a:ext>
            </a:extLst>
          </p:cNvPr>
          <p:cNvCxnSpPr/>
          <p:nvPr userDrawn="1"/>
        </p:nvCxnSpPr>
        <p:spPr bwMode="gray">
          <a:xfrm flipV="1">
            <a:off x="407036"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574B7751-1650-A0F4-8B24-5D5E22F9CF0F}"/>
              </a:ext>
            </a:extLst>
          </p:cNvPr>
          <p:cNvCxnSpPr/>
          <p:nvPr userDrawn="1"/>
        </p:nvCxnSpPr>
        <p:spPr bwMode="gray">
          <a:xfrm flipV="1">
            <a:off x="407036"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8" name="Picture 5" descr="A picture containing font, screenshot, graphics, text&#10;&#10;Description automatically generated">
            <a:extLst>
              <a:ext uri="{FF2B5EF4-FFF2-40B4-BE49-F238E27FC236}">
                <a16:creationId xmlns:a16="http://schemas.microsoft.com/office/drawing/2014/main" id="{890C9229-FEB3-A487-38D6-95B1C7DC09F1}"/>
              </a:ext>
            </a:extLst>
          </p:cNvPr>
          <p:cNvPicPr>
            <a:picLocks noChangeAspect="1"/>
          </p:cNvPicPr>
          <p:nvPr userDrawn="1"/>
        </p:nvPicPr>
        <p:blipFill>
          <a:blip r:embed="rId51"/>
          <a:stretch>
            <a:fillRect/>
          </a:stretch>
        </p:blipFill>
        <p:spPr>
          <a:xfrm>
            <a:off x="10377521" y="167108"/>
            <a:ext cx="1494855" cy="484088"/>
          </a:xfrm>
          <a:prstGeom prst="rect">
            <a:avLst/>
          </a:prstGeom>
        </p:spPr>
      </p:pic>
      <p:sp>
        <p:nvSpPr>
          <p:cNvPr id="19" name="Textfeld 18">
            <a:extLst>
              <a:ext uri="{FF2B5EF4-FFF2-40B4-BE49-F238E27FC236}">
                <a16:creationId xmlns:a16="http://schemas.microsoft.com/office/drawing/2014/main" id="{0E488A74-6AF4-14C2-1652-393DC96FEE1C}"/>
              </a:ext>
            </a:extLst>
          </p:cNvPr>
          <p:cNvSpPr txBox="1"/>
          <p:nvPr userDrawn="1">
            <p:extLst>
              <p:ext uri="{1162E1C5-73C7-4A58-AE30-91384D911F3F}">
                <p184:classification xmlns:p184="http://schemas.microsoft.com/office/powerpoint/2018/4/main" val="ftr"/>
              </p:ext>
            </p:extLst>
          </p:nvPr>
        </p:nvSpPr>
        <p:spPr>
          <a:xfrm>
            <a:off x="63500" y="6672580"/>
            <a:ext cx="531813" cy="121920"/>
          </a:xfrm>
          <a:prstGeom prst="rect">
            <a:avLst/>
          </a:prstGeom>
        </p:spPr>
        <p:txBody>
          <a:bodyPr horzOverflow="overflow" lIns="0" tIns="0" rIns="0" bIns="0">
            <a:spAutoFit/>
          </a:bodyPr>
          <a:lstStyle/>
          <a:p>
            <a:pPr algn="l"/>
            <a:r>
              <a:rPr lang="de-DE" sz="800">
                <a:solidFill>
                  <a:srgbClr val="000000"/>
                </a:solidFill>
                <a:latin typeface="Arial" panose="020B0604020202020204" pitchFamily="34" charset="0"/>
                <a:cs typeface="Arial" panose="020B0604020202020204" pitchFamily="34" charset="0"/>
              </a:rPr>
              <a:t>INTERNAL</a:t>
            </a:r>
          </a:p>
        </p:txBody>
      </p:sp>
    </p:spTree>
    <p:extLst>
      <p:ext uri="{BB962C8B-B14F-4D97-AF65-F5344CB8AC3E}">
        <p14:creationId xmlns:p14="http://schemas.microsoft.com/office/powerpoint/2010/main" val="3171291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57">
          <p15:clr>
            <a:srgbClr val="F26B43"/>
          </p15:clr>
        </p15:guide>
        <p15:guide id="5" orient="horz" pos="1162">
          <p15:clr>
            <a:srgbClr val="F26B43"/>
          </p15:clr>
        </p15:guide>
        <p15:guide id="6" orient="horz" pos="4065">
          <p15:clr>
            <a:srgbClr val="F26B43"/>
          </p15:clr>
        </p15:guide>
        <p15:guide id="10" pos="7423">
          <p15:clr>
            <a:srgbClr val="F26B43"/>
          </p15:clr>
        </p15:guide>
        <p15:guide id="11" orient="horz" pos="663">
          <p15:clr>
            <a:srgbClr val="F26B43"/>
          </p15:clr>
        </p15:guide>
        <p15:guide id="12" orient="horz" pos="39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8.xml"/><Relationship Id="rId1" Type="http://schemas.openxmlformats.org/officeDocument/2006/relationships/tags" Target="../tags/tag2.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1.xml"/><Relationship Id="rId1" Type="http://schemas.openxmlformats.org/officeDocument/2006/relationships/tags" Target="../tags/tag9.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1.xml"/><Relationship Id="rId1" Type="http://schemas.openxmlformats.org/officeDocument/2006/relationships/tags" Target="../tags/tag10.xml"/><Relationship Id="rId5" Type="http://schemas.openxmlformats.org/officeDocument/2006/relationships/image" Target="../media/image127.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1.xml"/><Relationship Id="rId1" Type="http://schemas.openxmlformats.org/officeDocument/2006/relationships/tags" Target="../tags/tag11.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1.xml"/><Relationship Id="rId1" Type="http://schemas.openxmlformats.org/officeDocument/2006/relationships/tags" Target="../tags/tag12.xml"/><Relationship Id="rId5" Type="http://schemas.openxmlformats.org/officeDocument/2006/relationships/image" Target="../media/image128.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3.xml"/><Relationship Id="rId1" Type="http://schemas.openxmlformats.org/officeDocument/2006/relationships/tags" Target="../tags/tag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1.xml"/><Relationship Id="rId1" Type="http://schemas.openxmlformats.org/officeDocument/2006/relationships/tags" Target="../tags/tag4.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1.xml"/><Relationship Id="rId1" Type="http://schemas.openxmlformats.org/officeDocument/2006/relationships/tags" Target="../tags/tag5.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1.xml"/><Relationship Id="rId1" Type="http://schemas.openxmlformats.org/officeDocument/2006/relationships/tags" Target="../tags/tag6.xml"/><Relationship Id="rId5" Type="http://schemas.openxmlformats.org/officeDocument/2006/relationships/image" Target="../media/image123.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1.xml"/><Relationship Id="rId1" Type="http://schemas.openxmlformats.org/officeDocument/2006/relationships/tags" Target="../tags/tag7.xml"/><Relationship Id="rId5" Type="http://schemas.openxmlformats.org/officeDocument/2006/relationships/image" Target="../media/image123.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1.xml"/><Relationship Id="rId1" Type="http://schemas.openxmlformats.org/officeDocument/2006/relationships/tags" Target="../tags/tag8.xml"/><Relationship Id="rId5" Type="http://schemas.openxmlformats.org/officeDocument/2006/relationships/image" Target="../media/image124.tmp"/><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03FDEF5-565F-1D22-F460-71E2A1835F67}"/>
              </a:ext>
            </a:extLst>
          </p:cNvPr>
          <p:cNvGraphicFramePr>
            <a:graphicFrameLocks noChangeAspect="1"/>
          </p:cNvGraphicFramePr>
          <p:nvPr>
            <p:custDataLst>
              <p:tags r:id="rId1"/>
            </p:custDataLst>
            <p:extLst>
              <p:ext uri="{D42A27DB-BD31-4B8C-83A1-F6EECF244321}">
                <p14:modId xmlns:p14="http://schemas.microsoft.com/office/powerpoint/2010/main" val="800336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6" name="think-cell data - do not delete" hidden="1">
                        <a:extLst>
                          <a:ext uri="{FF2B5EF4-FFF2-40B4-BE49-F238E27FC236}">
                            <a16:creationId xmlns:a16="http://schemas.microsoft.com/office/drawing/2014/main" id="{603FDEF5-565F-1D22-F460-71E2A1835F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BFBA7C7-B699-C5A7-1DAF-86DDA51A25B4}"/>
              </a:ext>
            </a:extLst>
          </p:cNvPr>
          <p:cNvSpPr>
            <a:spLocks noGrp="1"/>
          </p:cNvSpPr>
          <p:nvPr>
            <p:ph type="ctrTitle"/>
          </p:nvPr>
        </p:nvSpPr>
        <p:spPr>
          <a:xfrm>
            <a:off x="407036" y="4592044"/>
            <a:ext cx="7589520" cy="997196"/>
          </a:xfrm>
        </p:spPr>
        <p:txBody>
          <a:bodyPr vert="horz"/>
          <a:lstStyle/>
          <a:p>
            <a:r>
              <a:rPr lang="de-DE" dirty="0"/>
              <a:t>Camp2Code Projektphase 1 </a:t>
            </a:r>
            <a:br>
              <a:rPr lang="de-DE" dirty="0"/>
            </a:br>
            <a:r>
              <a:rPr lang="de-DE" dirty="0"/>
              <a:t>Ergebnispräsentation</a:t>
            </a:r>
          </a:p>
        </p:txBody>
      </p:sp>
      <p:sp>
        <p:nvSpPr>
          <p:cNvPr id="3" name="Untertitel 2">
            <a:extLst>
              <a:ext uri="{FF2B5EF4-FFF2-40B4-BE49-F238E27FC236}">
                <a16:creationId xmlns:a16="http://schemas.microsoft.com/office/drawing/2014/main" id="{12024871-DB13-A700-9284-9614A3882CBC}"/>
              </a:ext>
            </a:extLst>
          </p:cNvPr>
          <p:cNvSpPr>
            <a:spLocks noGrp="1"/>
          </p:cNvSpPr>
          <p:nvPr>
            <p:ph type="subTitle" idx="1"/>
          </p:nvPr>
        </p:nvSpPr>
        <p:spPr/>
        <p:txBody>
          <a:bodyPr/>
          <a:lstStyle/>
          <a:p>
            <a:r>
              <a:rPr lang="de-DE" dirty="0"/>
              <a:t>17.01.2025 Gruppe 1</a:t>
            </a:r>
          </a:p>
        </p:txBody>
      </p:sp>
      <p:sp>
        <p:nvSpPr>
          <p:cNvPr id="4" name="Textplatzhalter 3">
            <a:extLst>
              <a:ext uri="{FF2B5EF4-FFF2-40B4-BE49-F238E27FC236}">
                <a16:creationId xmlns:a16="http://schemas.microsoft.com/office/drawing/2014/main" id="{E825A796-F5E7-0283-3E83-69524BBEF6CA}"/>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764167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AB9A81-9D84-0EBF-6B2F-104ED30BC7BB}"/>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00BCEE8-3563-2DF7-340B-113DAA5B6B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9" name="think-cell data - do not delete" hidden="1">
                        <a:extLst>
                          <a:ext uri="{FF2B5EF4-FFF2-40B4-BE49-F238E27FC236}">
                            <a16:creationId xmlns:a16="http://schemas.microsoft.com/office/drawing/2014/main" id="{F00BCEE8-3563-2DF7-340B-113DAA5B6B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B30E65D1-9B3C-3C2C-588E-14794670490C}"/>
              </a:ext>
            </a:extLst>
          </p:cNvPr>
          <p:cNvSpPr>
            <a:spLocks noGrp="1"/>
          </p:cNvSpPr>
          <p:nvPr>
            <p:ph type="sldNum" sz="quarter" idx="12"/>
          </p:nvPr>
        </p:nvSpPr>
        <p:spPr/>
        <p:txBody>
          <a:bodyPr/>
          <a:lstStyle/>
          <a:p>
            <a:fld id="{53C98C43-8B83-4748-BA0D-B0C90A16569F}" type="slidenum">
              <a:rPr lang="en-US" noProof="0" smtClean="0"/>
              <a:pPr/>
              <a:t>10</a:t>
            </a:fld>
            <a:endParaRPr lang="en-US" noProof="0"/>
          </a:p>
        </p:txBody>
      </p:sp>
      <p:sp>
        <p:nvSpPr>
          <p:cNvPr id="6" name="Titel 5">
            <a:extLst>
              <a:ext uri="{FF2B5EF4-FFF2-40B4-BE49-F238E27FC236}">
                <a16:creationId xmlns:a16="http://schemas.microsoft.com/office/drawing/2014/main" id="{DEAC61E2-C277-3729-9917-3C734F083FB0}"/>
              </a:ext>
            </a:extLst>
          </p:cNvPr>
          <p:cNvSpPr>
            <a:spLocks noGrp="1"/>
          </p:cNvSpPr>
          <p:nvPr>
            <p:ph type="title"/>
          </p:nvPr>
        </p:nvSpPr>
        <p:spPr/>
        <p:txBody>
          <a:bodyPr vert="horz"/>
          <a:lstStyle/>
          <a:p>
            <a:r>
              <a:rPr lang="de-DE" dirty="0"/>
              <a:t>Konzeption des Programmes</a:t>
            </a:r>
          </a:p>
        </p:txBody>
      </p:sp>
      <p:sp>
        <p:nvSpPr>
          <p:cNvPr id="7" name="Textplatzhalter 6">
            <a:extLst>
              <a:ext uri="{FF2B5EF4-FFF2-40B4-BE49-F238E27FC236}">
                <a16:creationId xmlns:a16="http://schemas.microsoft.com/office/drawing/2014/main" id="{81D72BC1-9563-D36D-BF91-8A1F23FAAD89}"/>
              </a:ext>
            </a:extLst>
          </p:cNvPr>
          <p:cNvSpPr>
            <a:spLocks noGrp="1"/>
          </p:cNvSpPr>
          <p:nvPr>
            <p:ph type="body" sz="quarter" idx="15"/>
          </p:nvPr>
        </p:nvSpPr>
        <p:spPr/>
        <p:txBody>
          <a:bodyPr/>
          <a:lstStyle/>
          <a:p>
            <a:r>
              <a:rPr lang="de-DE" dirty="0"/>
              <a:t>Dokumentation</a:t>
            </a:r>
          </a:p>
        </p:txBody>
      </p:sp>
      <p:sp>
        <p:nvSpPr>
          <p:cNvPr id="8" name="Rechteck 7">
            <a:extLst>
              <a:ext uri="{FF2B5EF4-FFF2-40B4-BE49-F238E27FC236}">
                <a16:creationId xmlns:a16="http://schemas.microsoft.com/office/drawing/2014/main" id="{61878342-05D7-AE82-B71B-D5E3ED11E3E2}"/>
              </a:ext>
            </a:extLst>
          </p:cNvPr>
          <p:cNvSpPr/>
          <p:nvPr/>
        </p:nvSpPr>
        <p:spPr>
          <a:xfrm>
            <a:off x="10160121" y="5907733"/>
            <a:ext cx="1955515" cy="61149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de-DE" sz="1400" dirty="0"/>
              <a:t>Live-Demonstration </a:t>
            </a:r>
          </a:p>
        </p:txBody>
      </p:sp>
      <p:pic>
        <p:nvPicPr>
          <p:cNvPr id="11" name="Grafik 10">
            <a:extLst>
              <a:ext uri="{FF2B5EF4-FFF2-40B4-BE49-F238E27FC236}">
                <a16:creationId xmlns:a16="http://schemas.microsoft.com/office/drawing/2014/main" id="{0CFB9FC7-6B4B-3C4A-44FC-3A7807467C9E}"/>
              </a:ext>
            </a:extLst>
          </p:cNvPr>
          <p:cNvPicPr>
            <a:picLocks noChangeAspect="1"/>
          </p:cNvPicPr>
          <p:nvPr/>
        </p:nvPicPr>
        <p:blipFill>
          <a:blip r:embed="rId5"/>
          <a:stretch>
            <a:fillRect/>
          </a:stretch>
        </p:blipFill>
        <p:spPr>
          <a:xfrm>
            <a:off x="404848" y="1761025"/>
            <a:ext cx="5569152" cy="4638239"/>
          </a:xfrm>
          <a:prstGeom prst="rect">
            <a:avLst/>
          </a:prstGeom>
        </p:spPr>
      </p:pic>
      <p:sp>
        <p:nvSpPr>
          <p:cNvPr id="13" name="Textfeld 12">
            <a:extLst>
              <a:ext uri="{FF2B5EF4-FFF2-40B4-BE49-F238E27FC236}">
                <a16:creationId xmlns:a16="http://schemas.microsoft.com/office/drawing/2014/main" id="{F8D60023-74C1-6AA4-ED32-AD7234439300}"/>
              </a:ext>
            </a:extLst>
          </p:cNvPr>
          <p:cNvSpPr txBox="1"/>
          <p:nvPr/>
        </p:nvSpPr>
        <p:spPr>
          <a:xfrm>
            <a:off x="404848" y="1427233"/>
            <a:ext cx="3696648" cy="215444"/>
          </a:xfrm>
          <a:prstGeom prst="rect">
            <a:avLst/>
          </a:prstGeom>
          <a:noFill/>
        </p:spPr>
        <p:txBody>
          <a:bodyPr wrap="square" lIns="0" tIns="0" rIns="0" bIns="0" rtlCol="0">
            <a:spAutoFit/>
          </a:bodyPr>
          <a:lstStyle/>
          <a:p>
            <a:pPr algn="l"/>
            <a:r>
              <a:rPr lang="de-DE" sz="1400" i="1" dirty="0">
                <a:solidFill>
                  <a:schemeClr val="tx2"/>
                </a:solidFill>
              </a:rPr>
              <a:t>1. Erstellt mit Doc-Strings und Sphinx:</a:t>
            </a:r>
          </a:p>
        </p:txBody>
      </p:sp>
      <p:sp>
        <p:nvSpPr>
          <p:cNvPr id="14" name="Datumsplatzhalter 1">
            <a:extLst>
              <a:ext uri="{FF2B5EF4-FFF2-40B4-BE49-F238E27FC236}">
                <a16:creationId xmlns:a16="http://schemas.microsoft.com/office/drawing/2014/main" id="{C9FEE6D5-0802-37DC-4267-0B3DB8C2F05F}"/>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15" name="Fußzeilenplatzhalter 2">
            <a:extLst>
              <a:ext uri="{FF2B5EF4-FFF2-40B4-BE49-F238E27FC236}">
                <a16:creationId xmlns:a16="http://schemas.microsoft.com/office/drawing/2014/main" id="{7122FF14-08D8-900B-C268-A7711FD9D061}"/>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
        <p:nvSpPr>
          <p:cNvPr id="2" name="Textfeld 1">
            <a:extLst>
              <a:ext uri="{FF2B5EF4-FFF2-40B4-BE49-F238E27FC236}">
                <a16:creationId xmlns:a16="http://schemas.microsoft.com/office/drawing/2014/main" id="{9D5A3622-0BF7-D0E8-8BBF-31D0E1ADC75B}"/>
              </a:ext>
            </a:extLst>
          </p:cNvPr>
          <p:cNvSpPr txBox="1"/>
          <p:nvPr/>
        </p:nvSpPr>
        <p:spPr>
          <a:xfrm>
            <a:off x="6124679" y="1427233"/>
            <a:ext cx="3077223" cy="215444"/>
          </a:xfrm>
          <a:prstGeom prst="rect">
            <a:avLst/>
          </a:prstGeom>
          <a:noFill/>
        </p:spPr>
        <p:txBody>
          <a:bodyPr wrap="square" lIns="0" tIns="0" rIns="0" bIns="0" rtlCol="0">
            <a:spAutoFit/>
          </a:bodyPr>
          <a:lstStyle/>
          <a:p>
            <a:pPr algn="l"/>
            <a:r>
              <a:rPr lang="de-DE" sz="1400" i="1" dirty="0">
                <a:solidFill>
                  <a:schemeClr val="tx2"/>
                </a:solidFill>
              </a:rPr>
              <a:t>2. Erstellt mit ChatGPT &amp; </a:t>
            </a:r>
            <a:r>
              <a:rPr lang="de-DE" sz="1400" i="1" dirty="0" err="1">
                <a:solidFill>
                  <a:schemeClr val="tx2"/>
                </a:solidFill>
              </a:rPr>
              <a:t>Markdown</a:t>
            </a:r>
            <a:r>
              <a:rPr lang="de-DE" sz="1400" i="1" dirty="0">
                <a:solidFill>
                  <a:schemeClr val="tx2"/>
                </a:solidFill>
              </a:rPr>
              <a:t>:</a:t>
            </a:r>
          </a:p>
        </p:txBody>
      </p:sp>
      <p:pic>
        <p:nvPicPr>
          <p:cNvPr id="1028" name="Picture 4">
            <a:extLst>
              <a:ext uri="{FF2B5EF4-FFF2-40B4-BE49-F238E27FC236}">
                <a16:creationId xmlns:a16="http://schemas.microsoft.com/office/drawing/2014/main" id="{536F48D7-4DED-2867-6235-F8FA865F4EC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96000" y="1761025"/>
            <a:ext cx="6023971" cy="40846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6446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68BA18-9203-E62D-28B2-12F41F4DC325}"/>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0C15D9CB-C648-F0FC-C4F4-DBE863C9FA33}"/>
              </a:ext>
            </a:extLst>
          </p:cNvPr>
          <p:cNvSpPr>
            <a:spLocks noGrp="1"/>
          </p:cNvSpPr>
          <p:nvPr>
            <p:ph type="sldNum" sz="quarter" idx="12"/>
          </p:nvPr>
        </p:nvSpPr>
        <p:spPr/>
        <p:txBody>
          <a:bodyPr/>
          <a:lstStyle/>
          <a:p>
            <a:fld id="{53C98C43-8B83-4748-BA0D-B0C90A16569F}" type="slidenum">
              <a:rPr lang="en-US" smtClean="0"/>
              <a:pPr/>
              <a:t>11</a:t>
            </a:fld>
            <a:endParaRPr lang="en-US"/>
          </a:p>
        </p:txBody>
      </p:sp>
      <p:sp>
        <p:nvSpPr>
          <p:cNvPr id="5" name="Textplatzhalter 4">
            <a:extLst>
              <a:ext uri="{FF2B5EF4-FFF2-40B4-BE49-F238E27FC236}">
                <a16:creationId xmlns:a16="http://schemas.microsoft.com/office/drawing/2014/main" id="{A9D41B70-3939-181B-89DA-5634107D593B}"/>
              </a:ext>
            </a:extLst>
          </p:cNvPr>
          <p:cNvSpPr>
            <a:spLocks noGrp="1"/>
          </p:cNvSpPr>
          <p:nvPr>
            <p:ph type="body" sz="quarter" idx="36"/>
          </p:nvPr>
        </p:nvSpPr>
        <p:spPr/>
        <p:txBody>
          <a:bodyPr/>
          <a:lstStyle/>
          <a:p>
            <a:r>
              <a:rPr lang="de-DE" dirty="0"/>
              <a:t>3</a:t>
            </a:r>
          </a:p>
        </p:txBody>
      </p:sp>
      <p:sp>
        <p:nvSpPr>
          <p:cNvPr id="6" name="Textplatzhalter 5">
            <a:extLst>
              <a:ext uri="{FF2B5EF4-FFF2-40B4-BE49-F238E27FC236}">
                <a16:creationId xmlns:a16="http://schemas.microsoft.com/office/drawing/2014/main" id="{207CE365-2464-2F20-7EAD-FB8ABB8D5B30}"/>
              </a:ext>
            </a:extLst>
          </p:cNvPr>
          <p:cNvSpPr>
            <a:spLocks noGrp="1"/>
          </p:cNvSpPr>
          <p:nvPr>
            <p:ph type="body" sz="quarter" idx="37"/>
          </p:nvPr>
        </p:nvSpPr>
        <p:spPr/>
        <p:txBody>
          <a:bodyPr/>
          <a:lstStyle/>
          <a:p>
            <a:endParaRPr lang="de-DE"/>
          </a:p>
        </p:txBody>
      </p:sp>
      <p:sp>
        <p:nvSpPr>
          <p:cNvPr id="7" name="Textplatzhalter 6">
            <a:extLst>
              <a:ext uri="{FF2B5EF4-FFF2-40B4-BE49-F238E27FC236}">
                <a16:creationId xmlns:a16="http://schemas.microsoft.com/office/drawing/2014/main" id="{C8AD67A3-6663-DA58-F76C-6F317C39F915}"/>
              </a:ext>
            </a:extLst>
          </p:cNvPr>
          <p:cNvSpPr>
            <a:spLocks noGrp="1"/>
          </p:cNvSpPr>
          <p:nvPr>
            <p:ph type="body" sz="quarter" idx="33"/>
          </p:nvPr>
        </p:nvSpPr>
        <p:spPr>
          <a:xfrm>
            <a:off x="407035" y="3005249"/>
            <a:ext cx="11376978" cy="609398"/>
          </a:xfrm>
        </p:spPr>
        <p:txBody>
          <a:bodyPr/>
          <a:lstStyle/>
          <a:p>
            <a:r>
              <a:rPr lang="de-DE" dirty="0"/>
              <a:t>Benutzerinterface</a:t>
            </a:r>
          </a:p>
        </p:txBody>
      </p:sp>
      <p:sp>
        <p:nvSpPr>
          <p:cNvPr id="8" name="Datumsplatzhalter 1">
            <a:extLst>
              <a:ext uri="{FF2B5EF4-FFF2-40B4-BE49-F238E27FC236}">
                <a16:creationId xmlns:a16="http://schemas.microsoft.com/office/drawing/2014/main" id="{A225D621-0BBF-C08E-532E-F4AA1C98E784}"/>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9" name="Fußzeilenplatzhalter 2">
            <a:extLst>
              <a:ext uri="{FF2B5EF4-FFF2-40B4-BE49-F238E27FC236}">
                <a16:creationId xmlns:a16="http://schemas.microsoft.com/office/drawing/2014/main" id="{940C05F5-D11B-98A7-FE56-BBE266FB606E}"/>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Tree>
    <p:extLst>
      <p:ext uri="{BB962C8B-B14F-4D97-AF65-F5344CB8AC3E}">
        <p14:creationId xmlns:p14="http://schemas.microsoft.com/office/powerpoint/2010/main" val="21158986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9418DF-DF6A-7E6B-AC1C-BD162CFC195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D81C9A3-070E-B3C4-3DFC-BEE97D70176F}"/>
              </a:ext>
            </a:extLst>
          </p:cNvPr>
          <p:cNvGraphicFramePr>
            <a:graphicFrameLocks noChangeAspect="1"/>
          </p:cNvGraphicFramePr>
          <p:nvPr>
            <p:custDataLst>
              <p:tags r:id="rId1"/>
            </p:custDataLst>
            <p:extLst>
              <p:ext uri="{D42A27DB-BD31-4B8C-83A1-F6EECF244321}">
                <p14:modId xmlns:p14="http://schemas.microsoft.com/office/powerpoint/2010/main" val="3666574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8" name="think-cell data - do not delete" hidden="1">
                        <a:extLst>
                          <a:ext uri="{FF2B5EF4-FFF2-40B4-BE49-F238E27FC236}">
                            <a16:creationId xmlns:a16="http://schemas.microsoft.com/office/drawing/2014/main" id="{7D81C9A3-070E-B3C4-3DFC-BEE97D7017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2E00F84E-80F2-B887-704D-31F685895FB2}"/>
              </a:ext>
            </a:extLst>
          </p:cNvPr>
          <p:cNvSpPr>
            <a:spLocks noGrp="1"/>
          </p:cNvSpPr>
          <p:nvPr>
            <p:ph type="sldNum" sz="quarter" idx="12"/>
          </p:nvPr>
        </p:nvSpPr>
        <p:spPr/>
        <p:txBody>
          <a:bodyPr/>
          <a:lstStyle/>
          <a:p>
            <a:fld id="{53C98C43-8B83-4748-BA0D-B0C90A16569F}" type="slidenum">
              <a:rPr lang="en-US" noProof="0" smtClean="0"/>
              <a:pPr/>
              <a:t>12</a:t>
            </a:fld>
            <a:endParaRPr lang="en-US" noProof="0"/>
          </a:p>
        </p:txBody>
      </p:sp>
      <p:sp>
        <p:nvSpPr>
          <p:cNvPr id="6" name="Titel 5">
            <a:extLst>
              <a:ext uri="{FF2B5EF4-FFF2-40B4-BE49-F238E27FC236}">
                <a16:creationId xmlns:a16="http://schemas.microsoft.com/office/drawing/2014/main" id="{8FD1B49B-257D-B32A-211D-E7C8D0791E93}"/>
              </a:ext>
            </a:extLst>
          </p:cNvPr>
          <p:cNvSpPr>
            <a:spLocks noGrp="1"/>
          </p:cNvSpPr>
          <p:nvPr>
            <p:ph type="title"/>
          </p:nvPr>
        </p:nvSpPr>
        <p:spPr/>
        <p:txBody>
          <a:bodyPr vert="horz"/>
          <a:lstStyle/>
          <a:p>
            <a:r>
              <a:rPr lang="de-DE" dirty="0"/>
              <a:t>Benutzerinterface</a:t>
            </a:r>
          </a:p>
        </p:txBody>
      </p:sp>
      <p:sp>
        <p:nvSpPr>
          <p:cNvPr id="7" name="Textplatzhalter 6">
            <a:extLst>
              <a:ext uri="{FF2B5EF4-FFF2-40B4-BE49-F238E27FC236}">
                <a16:creationId xmlns:a16="http://schemas.microsoft.com/office/drawing/2014/main" id="{8B1AA38B-83C6-CE4C-B24C-0F58D96DD94E}"/>
              </a:ext>
            </a:extLst>
          </p:cNvPr>
          <p:cNvSpPr>
            <a:spLocks noGrp="1"/>
          </p:cNvSpPr>
          <p:nvPr>
            <p:ph type="body" sz="quarter" idx="15"/>
          </p:nvPr>
        </p:nvSpPr>
        <p:spPr/>
        <p:txBody>
          <a:bodyPr/>
          <a:lstStyle/>
          <a:p>
            <a:r>
              <a:rPr lang="de-DE" dirty="0"/>
              <a:t>Überblick </a:t>
            </a:r>
          </a:p>
        </p:txBody>
      </p:sp>
      <p:sp>
        <p:nvSpPr>
          <p:cNvPr id="14" name="Datumsplatzhalter 1">
            <a:extLst>
              <a:ext uri="{FF2B5EF4-FFF2-40B4-BE49-F238E27FC236}">
                <a16:creationId xmlns:a16="http://schemas.microsoft.com/office/drawing/2014/main" id="{AD1BEB50-E842-D1B0-E54E-A105724D267F}"/>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15" name="Fußzeilenplatzhalter 2">
            <a:extLst>
              <a:ext uri="{FF2B5EF4-FFF2-40B4-BE49-F238E27FC236}">
                <a16:creationId xmlns:a16="http://schemas.microsoft.com/office/drawing/2014/main" id="{AC56393A-0F5A-2E8E-7E41-4DEB71E361C3}"/>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pic>
        <p:nvPicPr>
          <p:cNvPr id="2050" name="Picture 2">
            <a:extLst>
              <a:ext uri="{FF2B5EF4-FFF2-40B4-BE49-F238E27FC236}">
                <a16:creationId xmlns:a16="http://schemas.microsoft.com/office/drawing/2014/main" id="{B4E0E603-5C54-83A4-B30F-CE52384F83B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181" r="7071"/>
          <a:stretch/>
        </p:blipFill>
        <p:spPr bwMode="auto">
          <a:xfrm>
            <a:off x="406400" y="1449484"/>
            <a:ext cx="8667750" cy="5019961"/>
          </a:xfrm>
          <a:prstGeom prst="rect">
            <a:avLst/>
          </a:prstGeom>
          <a:noFill/>
          <a:extLst>
            <a:ext uri="{909E8E84-426E-40DD-AFC4-6F175D3DCCD1}">
              <a14:hiddenFill xmlns:a14="http://schemas.microsoft.com/office/drawing/2010/main">
                <a:solidFill>
                  <a:srgbClr val="FFFFFF"/>
                </a:solidFill>
              </a14:hiddenFill>
            </a:ext>
          </a:extLst>
        </p:spPr>
      </p:pic>
      <p:sp>
        <p:nvSpPr>
          <p:cNvPr id="10" name="Geschweifte Klammer rechts 9">
            <a:extLst>
              <a:ext uri="{FF2B5EF4-FFF2-40B4-BE49-F238E27FC236}">
                <a16:creationId xmlns:a16="http://schemas.microsoft.com/office/drawing/2014/main" id="{E0C945F1-B9B0-F2EA-04F2-CF14A812F2A0}"/>
              </a:ext>
            </a:extLst>
          </p:cNvPr>
          <p:cNvSpPr/>
          <p:nvPr/>
        </p:nvSpPr>
        <p:spPr>
          <a:xfrm>
            <a:off x="8899153" y="1862649"/>
            <a:ext cx="518912" cy="983907"/>
          </a:xfrm>
          <a:prstGeom prst="rightBrace">
            <a:avLst/>
          </a:prstGeom>
          <a:noFill/>
          <a:ln w="19050">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feld 10">
            <a:extLst>
              <a:ext uri="{FF2B5EF4-FFF2-40B4-BE49-F238E27FC236}">
                <a16:creationId xmlns:a16="http://schemas.microsoft.com/office/drawing/2014/main" id="{B56CA6B2-9E16-D1DF-A3AE-3E928DAAD3DD}"/>
              </a:ext>
            </a:extLst>
          </p:cNvPr>
          <p:cNvSpPr txBox="1"/>
          <p:nvPr/>
        </p:nvSpPr>
        <p:spPr>
          <a:xfrm>
            <a:off x="9532369" y="2247159"/>
            <a:ext cx="1910816" cy="246221"/>
          </a:xfrm>
          <a:prstGeom prst="rect">
            <a:avLst/>
          </a:prstGeom>
          <a:noFill/>
        </p:spPr>
        <p:txBody>
          <a:bodyPr wrap="square" lIns="0" tIns="0" rIns="0" bIns="0" rtlCol="0">
            <a:spAutoFit/>
          </a:bodyPr>
          <a:lstStyle/>
          <a:p>
            <a:pPr algn="l"/>
            <a:r>
              <a:rPr lang="de-DE" sz="1600" b="1" dirty="0">
                <a:solidFill>
                  <a:srgbClr val="008C82"/>
                </a:solidFill>
              </a:rPr>
              <a:t>Fahrzeugsteuerung</a:t>
            </a:r>
          </a:p>
        </p:txBody>
      </p:sp>
      <p:sp>
        <p:nvSpPr>
          <p:cNvPr id="12" name="Geschweifte Klammer rechts 11">
            <a:extLst>
              <a:ext uri="{FF2B5EF4-FFF2-40B4-BE49-F238E27FC236}">
                <a16:creationId xmlns:a16="http://schemas.microsoft.com/office/drawing/2014/main" id="{0B3ED25F-FB11-F9AE-6C9E-2C0213031838}"/>
              </a:ext>
            </a:extLst>
          </p:cNvPr>
          <p:cNvSpPr/>
          <p:nvPr/>
        </p:nvSpPr>
        <p:spPr>
          <a:xfrm>
            <a:off x="8899153" y="3003302"/>
            <a:ext cx="518912" cy="3396749"/>
          </a:xfrm>
          <a:prstGeom prst="rightBrace">
            <a:avLst/>
          </a:prstGeom>
          <a:noFill/>
          <a:ln w="19050">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1BD6DAC5-5B5E-0FCE-47D3-0D47FA9BAF8E}"/>
              </a:ext>
            </a:extLst>
          </p:cNvPr>
          <p:cNvSpPr txBox="1"/>
          <p:nvPr/>
        </p:nvSpPr>
        <p:spPr>
          <a:xfrm>
            <a:off x="9532369" y="4578565"/>
            <a:ext cx="1910816" cy="246221"/>
          </a:xfrm>
          <a:prstGeom prst="rect">
            <a:avLst/>
          </a:prstGeom>
          <a:noFill/>
        </p:spPr>
        <p:txBody>
          <a:bodyPr wrap="square" lIns="0" tIns="0" rIns="0" bIns="0" rtlCol="0">
            <a:spAutoFit/>
          </a:bodyPr>
          <a:lstStyle/>
          <a:p>
            <a:pPr algn="l"/>
            <a:r>
              <a:rPr lang="de-DE" sz="1600" b="1" dirty="0">
                <a:solidFill>
                  <a:srgbClr val="008C82"/>
                </a:solidFill>
              </a:rPr>
              <a:t>Historie</a:t>
            </a:r>
          </a:p>
        </p:txBody>
      </p:sp>
    </p:spTree>
    <p:extLst>
      <p:ext uri="{BB962C8B-B14F-4D97-AF65-F5344CB8AC3E}">
        <p14:creationId xmlns:p14="http://schemas.microsoft.com/office/powerpoint/2010/main" val="331928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8F9CAF-58BB-4FA4-DBF6-A66604307B37}"/>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3E725648-6C7C-65FA-89A8-86C915E73F7B}"/>
              </a:ext>
            </a:extLst>
          </p:cNvPr>
          <p:cNvSpPr>
            <a:spLocks noGrp="1"/>
          </p:cNvSpPr>
          <p:nvPr>
            <p:ph type="sldNum" sz="quarter" idx="12"/>
          </p:nvPr>
        </p:nvSpPr>
        <p:spPr/>
        <p:txBody>
          <a:bodyPr/>
          <a:lstStyle/>
          <a:p>
            <a:fld id="{53C98C43-8B83-4748-BA0D-B0C90A16569F}" type="slidenum">
              <a:rPr lang="en-US" smtClean="0"/>
              <a:pPr/>
              <a:t>13</a:t>
            </a:fld>
            <a:endParaRPr lang="en-US"/>
          </a:p>
        </p:txBody>
      </p:sp>
      <p:sp>
        <p:nvSpPr>
          <p:cNvPr id="5" name="Textplatzhalter 4">
            <a:extLst>
              <a:ext uri="{FF2B5EF4-FFF2-40B4-BE49-F238E27FC236}">
                <a16:creationId xmlns:a16="http://schemas.microsoft.com/office/drawing/2014/main" id="{BC1B326E-62CD-5432-ED6B-9B08A245FC6E}"/>
              </a:ext>
            </a:extLst>
          </p:cNvPr>
          <p:cNvSpPr>
            <a:spLocks noGrp="1"/>
          </p:cNvSpPr>
          <p:nvPr>
            <p:ph type="body" sz="quarter" idx="36"/>
          </p:nvPr>
        </p:nvSpPr>
        <p:spPr/>
        <p:txBody>
          <a:bodyPr/>
          <a:lstStyle/>
          <a:p>
            <a:r>
              <a:rPr lang="de-DE" dirty="0"/>
              <a:t>4</a:t>
            </a:r>
          </a:p>
        </p:txBody>
      </p:sp>
      <p:sp>
        <p:nvSpPr>
          <p:cNvPr id="6" name="Textplatzhalter 5">
            <a:extLst>
              <a:ext uri="{FF2B5EF4-FFF2-40B4-BE49-F238E27FC236}">
                <a16:creationId xmlns:a16="http://schemas.microsoft.com/office/drawing/2014/main" id="{5F0E1E42-F0D5-2FB0-47B2-857C81E9F2E0}"/>
              </a:ext>
            </a:extLst>
          </p:cNvPr>
          <p:cNvSpPr>
            <a:spLocks noGrp="1"/>
          </p:cNvSpPr>
          <p:nvPr>
            <p:ph type="body" sz="quarter" idx="37"/>
          </p:nvPr>
        </p:nvSpPr>
        <p:spPr/>
        <p:txBody>
          <a:bodyPr/>
          <a:lstStyle/>
          <a:p>
            <a:endParaRPr lang="de-DE"/>
          </a:p>
        </p:txBody>
      </p:sp>
      <p:sp>
        <p:nvSpPr>
          <p:cNvPr id="7" name="Textplatzhalter 6">
            <a:extLst>
              <a:ext uri="{FF2B5EF4-FFF2-40B4-BE49-F238E27FC236}">
                <a16:creationId xmlns:a16="http://schemas.microsoft.com/office/drawing/2014/main" id="{37DF0186-CA5E-5DDA-79F5-903DA7B7A25A}"/>
              </a:ext>
            </a:extLst>
          </p:cNvPr>
          <p:cNvSpPr>
            <a:spLocks noGrp="1"/>
          </p:cNvSpPr>
          <p:nvPr>
            <p:ph type="body" sz="quarter" idx="33"/>
          </p:nvPr>
        </p:nvSpPr>
        <p:spPr>
          <a:xfrm>
            <a:off x="407035" y="3005249"/>
            <a:ext cx="11376978" cy="609398"/>
          </a:xfrm>
        </p:spPr>
        <p:txBody>
          <a:bodyPr/>
          <a:lstStyle/>
          <a:p>
            <a:r>
              <a:rPr lang="de-DE" dirty="0"/>
              <a:t>Demonstration &amp; Ergebnisse</a:t>
            </a:r>
          </a:p>
        </p:txBody>
      </p:sp>
      <p:sp>
        <p:nvSpPr>
          <p:cNvPr id="8" name="Datumsplatzhalter 1">
            <a:extLst>
              <a:ext uri="{FF2B5EF4-FFF2-40B4-BE49-F238E27FC236}">
                <a16:creationId xmlns:a16="http://schemas.microsoft.com/office/drawing/2014/main" id="{F0468057-9841-42D7-7018-E4C0C39409D3}"/>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9" name="Fußzeilenplatzhalter 2">
            <a:extLst>
              <a:ext uri="{FF2B5EF4-FFF2-40B4-BE49-F238E27FC236}">
                <a16:creationId xmlns:a16="http://schemas.microsoft.com/office/drawing/2014/main" id="{55563B67-8E0C-1284-7FE9-2DB8E45BCEFD}"/>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Tree>
    <p:extLst>
      <p:ext uri="{BB962C8B-B14F-4D97-AF65-F5344CB8AC3E}">
        <p14:creationId xmlns:p14="http://schemas.microsoft.com/office/powerpoint/2010/main" val="3541127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E80A95-FBFC-E576-8D1E-FBCF39D39FFC}"/>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EF74859-E7B7-059C-B505-F891B54FDF39}"/>
              </a:ext>
            </a:extLst>
          </p:cNvPr>
          <p:cNvGraphicFramePr>
            <a:graphicFrameLocks noChangeAspect="1"/>
          </p:cNvGraphicFramePr>
          <p:nvPr>
            <p:custDataLst>
              <p:tags r:id="rId1"/>
            </p:custDataLst>
            <p:extLst>
              <p:ext uri="{D42A27DB-BD31-4B8C-83A1-F6EECF244321}">
                <p14:modId xmlns:p14="http://schemas.microsoft.com/office/powerpoint/2010/main" val="425305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8" name="think-cell data - do not delete" hidden="1">
                        <a:extLst>
                          <a:ext uri="{FF2B5EF4-FFF2-40B4-BE49-F238E27FC236}">
                            <a16:creationId xmlns:a16="http://schemas.microsoft.com/office/drawing/2014/main" id="{5EF74859-E7B7-059C-B505-F891B54FDF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678D7207-2CF3-0574-5902-28736E2E4226}"/>
              </a:ext>
            </a:extLst>
          </p:cNvPr>
          <p:cNvSpPr>
            <a:spLocks noGrp="1"/>
          </p:cNvSpPr>
          <p:nvPr>
            <p:ph type="sldNum" sz="quarter" idx="12"/>
          </p:nvPr>
        </p:nvSpPr>
        <p:spPr/>
        <p:txBody>
          <a:bodyPr/>
          <a:lstStyle/>
          <a:p>
            <a:fld id="{53C98C43-8B83-4748-BA0D-B0C90A16569F}" type="slidenum">
              <a:rPr lang="en-US" noProof="0" smtClean="0"/>
              <a:pPr/>
              <a:t>14</a:t>
            </a:fld>
            <a:endParaRPr lang="en-US" noProof="0"/>
          </a:p>
        </p:txBody>
      </p:sp>
      <p:sp>
        <p:nvSpPr>
          <p:cNvPr id="5" name="Inhaltsplatzhalter 4">
            <a:extLst>
              <a:ext uri="{FF2B5EF4-FFF2-40B4-BE49-F238E27FC236}">
                <a16:creationId xmlns:a16="http://schemas.microsoft.com/office/drawing/2014/main" id="{967D1ADD-5B5E-17DF-BCF3-FA810085164C}"/>
              </a:ext>
            </a:extLst>
          </p:cNvPr>
          <p:cNvSpPr>
            <a:spLocks noGrp="1"/>
          </p:cNvSpPr>
          <p:nvPr>
            <p:ph sz="quarter" idx="14"/>
          </p:nvPr>
        </p:nvSpPr>
        <p:spPr/>
        <p:txBody>
          <a:bodyPr/>
          <a:lstStyle/>
          <a:p>
            <a:r>
              <a:rPr lang="de-DE" dirty="0"/>
              <a:t>Dashboard-Funktionalität:</a:t>
            </a:r>
          </a:p>
          <a:p>
            <a:pPr marL="285750" indent="-285750">
              <a:buFont typeface="Arial" panose="020B0604020202020204" pitchFamily="34" charset="0"/>
              <a:buChar char="•"/>
            </a:pPr>
            <a:r>
              <a:rPr lang="de-DE" dirty="0"/>
              <a:t>Kalibrieren</a:t>
            </a:r>
          </a:p>
          <a:p>
            <a:pPr marL="285750" indent="-285750">
              <a:buFont typeface="Arial" panose="020B0604020202020204" pitchFamily="34" charset="0"/>
              <a:buChar char="•"/>
            </a:pPr>
            <a:r>
              <a:rPr lang="de-DE" dirty="0"/>
              <a:t>Fahrmodus auswählen (einfacher Fahrmodus)</a:t>
            </a:r>
          </a:p>
          <a:p>
            <a:pPr marL="285750" indent="-285750">
              <a:buFont typeface="Arial" panose="020B0604020202020204" pitchFamily="34" charset="0"/>
              <a:buChar char="•"/>
            </a:pPr>
            <a:r>
              <a:rPr lang="de-DE" dirty="0"/>
              <a:t>Fahrt Starten </a:t>
            </a:r>
          </a:p>
          <a:p>
            <a:pPr marL="285750" indent="-285750">
              <a:buFont typeface="Arial" panose="020B0604020202020204" pitchFamily="34" charset="0"/>
              <a:buChar char="•"/>
            </a:pPr>
            <a:r>
              <a:rPr lang="de-DE" dirty="0"/>
              <a:t>Graphiken erklären </a:t>
            </a:r>
          </a:p>
          <a:p>
            <a:pPr marL="285750" indent="-285750">
              <a:buFont typeface="Arial" panose="020B0604020202020204" pitchFamily="34" charset="0"/>
              <a:buChar char="•"/>
            </a:pPr>
            <a:r>
              <a:rPr lang="de-DE" dirty="0"/>
              <a:t>Fahrtauswahl </a:t>
            </a:r>
          </a:p>
          <a:p>
            <a:r>
              <a:rPr lang="de-DE" dirty="0"/>
              <a:t>Auto-Funktionalität:</a:t>
            </a:r>
          </a:p>
          <a:p>
            <a:pPr marL="285750" indent="-285750">
              <a:buFont typeface="Arial" panose="020B0604020202020204" pitchFamily="34" charset="0"/>
              <a:buChar char="•"/>
            </a:pPr>
            <a:r>
              <a:rPr lang="de-DE" dirty="0"/>
              <a:t>Schwierigen Fahrmodus wählen </a:t>
            </a:r>
          </a:p>
          <a:p>
            <a:pPr marL="285750" indent="-285750">
              <a:buFont typeface="Arial" panose="020B0604020202020204" pitchFamily="34" charset="0"/>
              <a:buChar char="•"/>
            </a:pPr>
            <a:r>
              <a:rPr lang="de-DE" dirty="0"/>
              <a:t>Umschalten auf Kamera </a:t>
            </a:r>
            <a:r>
              <a:rPr lang="de-DE" dirty="0">
                <a:sym typeface="Wingdings" panose="05000000000000000000" pitchFamily="2" charset="2"/>
              </a:rPr>
              <a:t> Fahrt zeigen</a:t>
            </a:r>
            <a:endParaRPr lang="de-DE" dirty="0"/>
          </a:p>
        </p:txBody>
      </p:sp>
      <p:sp>
        <p:nvSpPr>
          <p:cNvPr id="6" name="Titel 5">
            <a:extLst>
              <a:ext uri="{FF2B5EF4-FFF2-40B4-BE49-F238E27FC236}">
                <a16:creationId xmlns:a16="http://schemas.microsoft.com/office/drawing/2014/main" id="{5C5EA901-2C6E-76D9-A4E0-F46E7885766B}"/>
              </a:ext>
            </a:extLst>
          </p:cNvPr>
          <p:cNvSpPr>
            <a:spLocks noGrp="1"/>
          </p:cNvSpPr>
          <p:nvPr>
            <p:ph type="title"/>
          </p:nvPr>
        </p:nvSpPr>
        <p:spPr/>
        <p:txBody>
          <a:bodyPr vert="horz"/>
          <a:lstStyle/>
          <a:p>
            <a:r>
              <a:rPr lang="de-DE" dirty="0"/>
              <a:t>Vorgehensweise</a:t>
            </a:r>
          </a:p>
        </p:txBody>
      </p:sp>
      <p:sp>
        <p:nvSpPr>
          <p:cNvPr id="7" name="Textplatzhalter 6">
            <a:extLst>
              <a:ext uri="{FF2B5EF4-FFF2-40B4-BE49-F238E27FC236}">
                <a16:creationId xmlns:a16="http://schemas.microsoft.com/office/drawing/2014/main" id="{4B4EB565-8776-CF3C-4B4E-ED6CAC9D2A53}"/>
              </a:ext>
            </a:extLst>
          </p:cNvPr>
          <p:cNvSpPr>
            <a:spLocks noGrp="1"/>
          </p:cNvSpPr>
          <p:nvPr>
            <p:ph type="body" sz="quarter" idx="15"/>
          </p:nvPr>
        </p:nvSpPr>
        <p:spPr/>
        <p:txBody>
          <a:bodyPr/>
          <a:lstStyle/>
          <a:p>
            <a:endParaRPr lang="de-DE"/>
          </a:p>
        </p:txBody>
      </p:sp>
      <p:sp>
        <p:nvSpPr>
          <p:cNvPr id="10" name="Datumsplatzhalter 1">
            <a:extLst>
              <a:ext uri="{FF2B5EF4-FFF2-40B4-BE49-F238E27FC236}">
                <a16:creationId xmlns:a16="http://schemas.microsoft.com/office/drawing/2014/main" id="{43DFC938-E59B-FE4D-A9F0-742BF6B98E8B}"/>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11" name="Fußzeilenplatzhalter 2">
            <a:extLst>
              <a:ext uri="{FF2B5EF4-FFF2-40B4-BE49-F238E27FC236}">
                <a16:creationId xmlns:a16="http://schemas.microsoft.com/office/drawing/2014/main" id="{626CAC1C-FC05-A6B9-EAAD-18456D89406C}"/>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Tree>
    <p:extLst>
      <p:ext uri="{BB962C8B-B14F-4D97-AF65-F5344CB8AC3E}">
        <p14:creationId xmlns:p14="http://schemas.microsoft.com/office/powerpoint/2010/main" val="1406176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4F8317-EB9B-1076-BAA2-1DC202C1035A}"/>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3F0E7BCD-DB7D-D242-38A2-7735B5624AE8}"/>
              </a:ext>
            </a:extLst>
          </p:cNvPr>
          <p:cNvSpPr>
            <a:spLocks noGrp="1"/>
          </p:cNvSpPr>
          <p:nvPr>
            <p:ph type="sldNum" sz="quarter" idx="12"/>
          </p:nvPr>
        </p:nvSpPr>
        <p:spPr/>
        <p:txBody>
          <a:bodyPr/>
          <a:lstStyle/>
          <a:p>
            <a:fld id="{53C98C43-8B83-4748-BA0D-B0C90A16569F}" type="slidenum">
              <a:rPr lang="en-US" smtClean="0"/>
              <a:pPr/>
              <a:t>15</a:t>
            </a:fld>
            <a:endParaRPr lang="en-US"/>
          </a:p>
        </p:txBody>
      </p:sp>
      <p:sp>
        <p:nvSpPr>
          <p:cNvPr id="5" name="Textplatzhalter 4">
            <a:extLst>
              <a:ext uri="{FF2B5EF4-FFF2-40B4-BE49-F238E27FC236}">
                <a16:creationId xmlns:a16="http://schemas.microsoft.com/office/drawing/2014/main" id="{32BE4C56-3B7C-3887-92AB-F6634F524947}"/>
              </a:ext>
            </a:extLst>
          </p:cNvPr>
          <p:cNvSpPr>
            <a:spLocks noGrp="1"/>
          </p:cNvSpPr>
          <p:nvPr>
            <p:ph type="body" sz="quarter" idx="36"/>
          </p:nvPr>
        </p:nvSpPr>
        <p:spPr/>
        <p:txBody>
          <a:bodyPr/>
          <a:lstStyle/>
          <a:p>
            <a:r>
              <a:rPr lang="de-DE" dirty="0"/>
              <a:t>5</a:t>
            </a:r>
          </a:p>
        </p:txBody>
      </p:sp>
      <p:sp>
        <p:nvSpPr>
          <p:cNvPr id="6" name="Textplatzhalter 5">
            <a:extLst>
              <a:ext uri="{FF2B5EF4-FFF2-40B4-BE49-F238E27FC236}">
                <a16:creationId xmlns:a16="http://schemas.microsoft.com/office/drawing/2014/main" id="{1C522F69-9CC5-079D-8665-899D75B3BF52}"/>
              </a:ext>
            </a:extLst>
          </p:cNvPr>
          <p:cNvSpPr>
            <a:spLocks noGrp="1"/>
          </p:cNvSpPr>
          <p:nvPr>
            <p:ph type="body" sz="quarter" idx="37"/>
          </p:nvPr>
        </p:nvSpPr>
        <p:spPr/>
        <p:txBody>
          <a:bodyPr/>
          <a:lstStyle/>
          <a:p>
            <a:endParaRPr lang="de-DE"/>
          </a:p>
        </p:txBody>
      </p:sp>
      <p:sp>
        <p:nvSpPr>
          <p:cNvPr id="7" name="Textplatzhalter 6">
            <a:extLst>
              <a:ext uri="{FF2B5EF4-FFF2-40B4-BE49-F238E27FC236}">
                <a16:creationId xmlns:a16="http://schemas.microsoft.com/office/drawing/2014/main" id="{8742F311-20DB-2127-F10E-396A8F3E7EFC}"/>
              </a:ext>
            </a:extLst>
          </p:cNvPr>
          <p:cNvSpPr>
            <a:spLocks noGrp="1"/>
          </p:cNvSpPr>
          <p:nvPr>
            <p:ph type="body" sz="quarter" idx="33"/>
          </p:nvPr>
        </p:nvSpPr>
        <p:spPr>
          <a:xfrm>
            <a:off x="407035" y="3005249"/>
            <a:ext cx="11376978" cy="609398"/>
          </a:xfrm>
        </p:spPr>
        <p:txBody>
          <a:bodyPr/>
          <a:lstStyle/>
          <a:p>
            <a:r>
              <a:rPr lang="de-DE" dirty="0"/>
              <a:t>Fragen &amp; Diskussion </a:t>
            </a:r>
          </a:p>
        </p:txBody>
      </p:sp>
      <p:sp>
        <p:nvSpPr>
          <p:cNvPr id="8" name="Datumsplatzhalter 1">
            <a:extLst>
              <a:ext uri="{FF2B5EF4-FFF2-40B4-BE49-F238E27FC236}">
                <a16:creationId xmlns:a16="http://schemas.microsoft.com/office/drawing/2014/main" id="{3EB80975-A966-63DC-3C58-C241F430B3F4}"/>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9" name="Fußzeilenplatzhalter 2">
            <a:extLst>
              <a:ext uri="{FF2B5EF4-FFF2-40B4-BE49-F238E27FC236}">
                <a16:creationId xmlns:a16="http://schemas.microsoft.com/office/drawing/2014/main" id="{50CB7AF2-4677-C78A-F217-46CD7D587605}"/>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Tree>
    <p:extLst>
      <p:ext uri="{BB962C8B-B14F-4D97-AF65-F5344CB8AC3E}">
        <p14:creationId xmlns:p14="http://schemas.microsoft.com/office/powerpoint/2010/main" val="1545272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45E125-C98A-922A-6690-54DD65103F3D}"/>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41A7946-D0DF-4AC0-7A4D-59D4E489B519}"/>
              </a:ext>
            </a:extLst>
          </p:cNvPr>
          <p:cNvGraphicFramePr>
            <a:graphicFrameLocks noChangeAspect="1"/>
          </p:cNvGraphicFramePr>
          <p:nvPr>
            <p:custDataLst>
              <p:tags r:id="rId1"/>
            </p:custDataLst>
            <p:extLst>
              <p:ext uri="{D42A27DB-BD31-4B8C-83A1-F6EECF244321}">
                <p14:modId xmlns:p14="http://schemas.microsoft.com/office/powerpoint/2010/main" val="2810781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11" name="think-cell data - do not delete" hidden="1">
                        <a:extLst>
                          <a:ext uri="{FF2B5EF4-FFF2-40B4-BE49-F238E27FC236}">
                            <a16:creationId xmlns:a16="http://schemas.microsoft.com/office/drawing/2014/main" id="{441A7946-D0DF-4AC0-7A4D-59D4E489B5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38AC5B1E-3FAF-5DBD-F453-5FE5A1E21648}"/>
              </a:ext>
            </a:extLst>
          </p:cNvPr>
          <p:cNvSpPr>
            <a:spLocks noGrp="1"/>
          </p:cNvSpPr>
          <p:nvPr>
            <p:ph type="sldNum" sz="quarter" idx="12"/>
          </p:nvPr>
        </p:nvSpPr>
        <p:spPr/>
        <p:txBody>
          <a:bodyPr/>
          <a:lstStyle/>
          <a:p>
            <a:fld id="{53C98C43-8B83-4748-BA0D-B0C90A16569F}" type="slidenum">
              <a:rPr lang="en-US" noProof="0" smtClean="0"/>
              <a:pPr/>
              <a:t>16</a:t>
            </a:fld>
            <a:endParaRPr lang="en-US" noProof="0"/>
          </a:p>
        </p:txBody>
      </p:sp>
      <p:sp>
        <p:nvSpPr>
          <p:cNvPr id="6" name="Titel 5">
            <a:extLst>
              <a:ext uri="{FF2B5EF4-FFF2-40B4-BE49-F238E27FC236}">
                <a16:creationId xmlns:a16="http://schemas.microsoft.com/office/drawing/2014/main" id="{EAAEA2BD-4D12-4BA1-4438-62D776681456}"/>
              </a:ext>
            </a:extLst>
          </p:cNvPr>
          <p:cNvSpPr>
            <a:spLocks noGrp="1"/>
          </p:cNvSpPr>
          <p:nvPr>
            <p:ph type="title"/>
          </p:nvPr>
        </p:nvSpPr>
        <p:spPr/>
        <p:txBody>
          <a:bodyPr vert="horz"/>
          <a:lstStyle/>
          <a:p>
            <a:r>
              <a:rPr lang="de-DE" dirty="0"/>
              <a:t>Vorgehensweise</a:t>
            </a:r>
          </a:p>
        </p:txBody>
      </p:sp>
      <p:sp>
        <p:nvSpPr>
          <p:cNvPr id="7" name="Textplatzhalter 6">
            <a:extLst>
              <a:ext uri="{FF2B5EF4-FFF2-40B4-BE49-F238E27FC236}">
                <a16:creationId xmlns:a16="http://schemas.microsoft.com/office/drawing/2014/main" id="{B75D0B4D-1184-A8EB-D9B8-684B2C0EA667}"/>
              </a:ext>
            </a:extLst>
          </p:cNvPr>
          <p:cNvSpPr>
            <a:spLocks noGrp="1"/>
          </p:cNvSpPr>
          <p:nvPr>
            <p:ph type="body" sz="quarter" idx="15"/>
          </p:nvPr>
        </p:nvSpPr>
        <p:spPr/>
        <p:txBody>
          <a:bodyPr/>
          <a:lstStyle/>
          <a:p>
            <a:r>
              <a:rPr lang="de-DE" dirty="0"/>
              <a:t>Terminplan</a:t>
            </a:r>
          </a:p>
        </p:txBody>
      </p:sp>
      <p:pic>
        <p:nvPicPr>
          <p:cNvPr id="10" name="Grafik 9">
            <a:extLst>
              <a:ext uri="{FF2B5EF4-FFF2-40B4-BE49-F238E27FC236}">
                <a16:creationId xmlns:a16="http://schemas.microsoft.com/office/drawing/2014/main" id="{EA9EB116-D6BB-1030-E54A-3E35C267E4AA}"/>
              </a:ext>
            </a:extLst>
          </p:cNvPr>
          <p:cNvPicPr>
            <a:picLocks noChangeAspect="1"/>
          </p:cNvPicPr>
          <p:nvPr/>
        </p:nvPicPr>
        <p:blipFill>
          <a:blip r:embed="rId5"/>
          <a:stretch>
            <a:fillRect/>
          </a:stretch>
        </p:blipFill>
        <p:spPr>
          <a:xfrm>
            <a:off x="406400" y="1538065"/>
            <a:ext cx="8605520" cy="4745569"/>
          </a:xfrm>
          <a:prstGeom prst="rect">
            <a:avLst/>
          </a:prstGeom>
        </p:spPr>
      </p:pic>
      <p:sp>
        <p:nvSpPr>
          <p:cNvPr id="12" name="Datumsplatzhalter 1">
            <a:extLst>
              <a:ext uri="{FF2B5EF4-FFF2-40B4-BE49-F238E27FC236}">
                <a16:creationId xmlns:a16="http://schemas.microsoft.com/office/drawing/2014/main" id="{8527D65B-06EB-9D59-7ADB-F671970161E2}"/>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13" name="Fußzeilenplatzhalter 2">
            <a:extLst>
              <a:ext uri="{FF2B5EF4-FFF2-40B4-BE49-F238E27FC236}">
                <a16:creationId xmlns:a16="http://schemas.microsoft.com/office/drawing/2014/main" id="{6F772179-3C8D-6EF4-72BE-A5D9C3A660B0}"/>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Tree>
    <p:extLst>
      <p:ext uri="{BB962C8B-B14F-4D97-AF65-F5344CB8AC3E}">
        <p14:creationId xmlns:p14="http://schemas.microsoft.com/office/powerpoint/2010/main" val="4081804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F9464DB4-E61C-AD14-FBC4-F23E87568E5C}"/>
              </a:ext>
            </a:extLst>
          </p:cNvPr>
          <p:cNvGraphicFramePr>
            <a:graphicFrameLocks noChangeAspect="1"/>
          </p:cNvGraphicFramePr>
          <p:nvPr>
            <p:custDataLst>
              <p:tags r:id="rId1"/>
            </p:custDataLst>
            <p:extLst>
              <p:ext uri="{D42A27DB-BD31-4B8C-83A1-F6EECF244321}">
                <p14:modId xmlns:p14="http://schemas.microsoft.com/office/powerpoint/2010/main" val="686396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16" name="think-cell data - do not delete" hidden="1">
                        <a:extLst>
                          <a:ext uri="{FF2B5EF4-FFF2-40B4-BE49-F238E27FC236}">
                            <a16:creationId xmlns:a16="http://schemas.microsoft.com/office/drawing/2014/main" id="{F9464DB4-E61C-AD14-FBC4-F23E87568E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5229AD17-D7F7-BD9C-0626-0B72316B28CB}"/>
              </a:ext>
            </a:extLst>
          </p:cNvPr>
          <p:cNvSpPr>
            <a:spLocks noGrp="1"/>
          </p:cNvSpPr>
          <p:nvPr>
            <p:ph type="dt" sz="half" idx="10"/>
          </p:nvPr>
        </p:nvSpPr>
        <p:spPr/>
        <p:txBody>
          <a:bodyPr/>
          <a:lstStyle/>
          <a:p>
            <a:r>
              <a:rPr lang="en-GB" dirty="0"/>
              <a:t>17.01.2025</a:t>
            </a:r>
            <a:endParaRPr lang="en-US" dirty="0"/>
          </a:p>
        </p:txBody>
      </p:sp>
      <p:sp>
        <p:nvSpPr>
          <p:cNvPr id="3" name="Fußzeilenplatzhalter 2">
            <a:extLst>
              <a:ext uri="{FF2B5EF4-FFF2-40B4-BE49-F238E27FC236}">
                <a16:creationId xmlns:a16="http://schemas.microsoft.com/office/drawing/2014/main" id="{0BBBDD1E-205F-143A-8152-DE8421F2B754}"/>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
        <p:nvSpPr>
          <p:cNvPr id="4" name="Foliennummernplatzhalter 3">
            <a:extLst>
              <a:ext uri="{FF2B5EF4-FFF2-40B4-BE49-F238E27FC236}">
                <a16:creationId xmlns:a16="http://schemas.microsoft.com/office/drawing/2014/main" id="{5A4BB0FD-B74C-7F0A-6B20-E890B0F205B0}"/>
              </a:ext>
            </a:extLst>
          </p:cNvPr>
          <p:cNvSpPr>
            <a:spLocks noGrp="1"/>
          </p:cNvSpPr>
          <p:nvPr>
            <p:ph type="sldNum" sz="quarter" idx="12"/>
          </p:nvPr>
        </p:nvSpPr>
        <p:spPr/>
        <p:txBody>
          <a:bodyPr/>
          <a:lstStyle/>
          <a:p>
            <a:fld id="{53C98C43-8B83-4748-BA0D-B0C90A16569F}" type="slidenum">
              <a:rPr lang="en-US" smtClean="0"/>
              <a:pPr/>
              <a:t>2</a:t>
            </a:fld>
            <a:endParaRPr lang="en-US"/>
          </a:p>
        </p:txBody>
      </p:sp>
      <p:sp>
        <p:nvSpPr>
          <p:cNvPr id="5" name="Textplatzhalter 4">
            <a:extLst>
              <a:ext uri="{FF2B5EF4-FFF2-40B4-BE49-F238E27FC236}">
                <a16:creationId xmlns:a16="http://schemas.microsoft.com/office/drawing/2014/main" id="{1C6A66F9-45A2-0585-A053-BCE3FB9C4F30}"/>
              </a:ext>
            </a:extLst>
          </p:cNvPr>
          <p:cNvSpPr>
            <a:spLocks noGrp="1"/>
          </p:cNvSpPr>
          <p:nvPr>
            <p:ph type="body" sz="quarter" idx="13"/>
          </p:nvPr>
        </p:nvSpPr>
        <p:spPr/>
        <p:txBody>
          <a:bodyPr/>
          <a:lstStyle/>
          <a:p>
            <a:r>
              <a:rPr lang="de-DE" dirty="0"/>
              <a:t>1</a:t>
            </a:r>
          </a:p>
        </p:txBody>
      </p:sp>
      <p:sp>
        <p:nvSpPr>
          <p:cNvPr id="6" name="Textplatzhalter 5">
            <a:extLst>
              <a:ext uri="{FF2B5EF4-FFF2-40B4-BE49-F238E27FC236}">
                <a16:creationId xmlns:a16="http://schemas.microsoft.com/office/drawing/2014/main" id="{D4233773-00AD-8A4C-A3FA-42196336DB08}"/>
              </a:ext>
            </a:extLst>
          </p:cNvPr>
          <p:cNvSpPr>
            <a:spLocks noGrp="1"/>
          </p:cNvSpPr>
          <p:nvPr>
            <p:ph type="body" sz="quarter" idx="14"/>
          </p:nvPr>
        </p:nvSpPr>
        <p:spPr>
          <a:xfrm>
            <a:off x="1688854" y="1853032"/>
            <a:ext cx="10095159" cy="338554"/>
          </a:xfrm>
        </p:spPr>
        <p:txBody>
          <a:bodyPr/>
          <a:lstStyle/>
          <a:p>
            <a:r>
              <a:rPr lang="de-DE" dirty="0"/>
              <a:t>Projektziele - Fahrmodi</a:t>
            </a:r>
          </a:p>
        </p:txBody>
      </p:sp>
      <p:sp>
        <p:nvSpPr>
          <p:cNvPr id="7" name="Textplatzhalter 6">
            <a:extLst>
              <a:ext uri="{FF2B5EF4-FFF2-40B4-BE49-F238E27FC236}">
                <a16:creationId xmlns:a16="http://schemas.microsoft.com/office/drawing/2014/main" id="{6231FD60-7CBD-9496-56B2-74B70FE29959}"/>
              </a:ext>
            </a:extLst>
          </p:cNvPr>
          <p:cNvSpPr>
            <a:spLocks noGrp="1"/>
          </p:cNvSpPr>
          <p:nvPr>
            <p:ph type="body" sz="quarter" idx="25"/>
          </p:nvPr>
        </p:nvSpPr>
        <p:spPr/>
        <p:txBody>
          <a:bodyPr/>
          <a:lstStyle/>
          <a:p>
            <a:r>
              <a:rPr lang="de-DE" dirty="0"/>
              <a:t>2</a:t>
            </a:r>
          </a:p>
        </p:txBody>
      </p:sp>
      <p:sp>
        <p:nvSpPr>
          <p:cNvPr id="8" name="Textplatzhalter 7">
            <a:extLst>
              <a:ext uri="{FF2B5EF4-FFF2-40B4-BE49-F238E27FC236}">
                <a16:creationId xmlns:a16="http://schemas.microsoft.com/office/drawing/2014/main" id="{60A09392-3071-61D5-EAA9-AE195BEC268F}"/>
              </a:ext>
            </a:extLst>
          </p:cNvPr>
          <p:cNvSpPr>
            <a:spLocks noGrp="1"/>
          </p:cNvSpPr>
          <p:nvPr>
            <p:ph type="body" sz="quarter" idx="26"/>
          </p:nvPr>
        </p:nvSpPr>
        <p:spPr/>
        <p:txBody>
          <a:bodyPr/>
          <a:lstStyle/>
          <a:p>
            <a:r>
              <a:rPr lang="de-DE" dirty="0"/>
              <a:t>Konzeption des Programms</a:t>
            </a:r>
          </a:p>
        </p:txBody>
      </p:sp>
      <p:sp>
        <p:nvSpPr>
          <p:cNvPr id="9" name="Textplatzhalter 8">
            <a:extLst>
              <a:ext uri="{FF2B5EF4-FFF2-40B4-BE49-F238E27FC236}">
                <a16:creationId xmlns:a16="http://schemas.microsoft.com/office/drawing/2014/main" id="{87FCACEA-830D-4F5E-9728-EB7B80A41D94}"/>
              </a:ext>
            </a:extLst>
          </p:cNvPr>
          <p:cNvSpPr>
            <a:spLocks noGrp="1"/>
          </p:cNvSpPr>
          <p:nvPr>
            <p:ph type="body" sz="quarter" idx="27"/>
          </p:nvPr>
        </p:nvSpPr>
        <p:spPr/>
        <p:txBody>
          <a:bodyPr/>
          <a:lstStyle/>
          <a:p>
            <a:r>
              <a:rPr lang="de-DE" dirty="0"/>
              <a:t>3</a:t>
            </a:r>
          </a:p>
        </p:txBody>
      </p:sp>
      <p:sp>
        <p:nvSpPr>
          <p:cNvPr id="10" name="Textplatzhalter 9">
            <a:extLst>
              <a:ext uri="{FF2B5EF4-FFF2-40B4-BE49-F238E27FC236}">
                <a16:creationId xmlns:a16="http://schemas.microsoft.com/office/drawing/2014/main" id="{1BA8E950-83EB-E5D5-5397-B71150B3978C}"/>
              </a:ext>
            </a:extLst>
          </p:cNvPr>
          <p:cNvSpPr>
            <a:spLocks noGrp="1"/>
          </p:cNvSpPr>
          <p:nvPr>
            <p:ph type="body" sz="quarter" idx="28"/>
          </p:nvPr>
        </p:nvSpPr>
        <p:spPr/>
        <p:txBody>
          <a:bodyPr/>
          <a:lstStyle/>
          <a:p>
            <a:r>
              <a:rPr lang="de-DE" dirty="0"/>
              <a:t>Benutzerinterface </a:t>
            </a:r>
          </a:p>
        </p:txBody>
      </p:sp>
      <p:sp>
        <p:nvSpPr>
          <p:cNvPr id="11" name="Textplatzhalter 10">
            <a:extLst>
              <a:ext uri="{FF2B5EF4-FFF2-40B4-BE49-F238E27FC236}">
                <a16:creationId xmlns:a16="http://schemas.microsoft.com/office/drawing/2014/main" id="{885D918D-2EE2-05BA-152F-71797FBC1C7E}"/>
              </a:ext>
            </a:extLst>
          </p:cNvPr>
          <p:cNvSpPr>
            <a:spLocks noGrp="1"/>
          </p:cNvSpPr>
          <p:nvPr>
            <p:ph type="body" sz="quarter" idx="29"/>
          </p:nvPr>
        </p:nvSpPr>
        <p:spPr/>
        <p:txBody>
          <a:bodyPr/>
          <a:lstStyle/>
          <a:p>
            <a:r>
              <a:rPr lang="de-DE" dirty="0"/>
              <a:t>4</a:t>
            </a:r>
          </a:p>
        </p:txBody>
      </p:sp>
      <p:sp>
        <p:nvSpPr>
          <p:cNvPr id="12" name="Textplatzhalter 11">
            <a:extLst>
              <a:ext uri="{FF2B5EF4-FFF2-40B4-BE49-F238E27FC236}">
                <a16:creationId xmlns:a16="http://schemas.microsoft.com/office/drawing/2014/main" id="{53D8E275-E95B-8668-9BAC-1885CE207704}"/>
              </a:ext>
            </a:extLst>
          </p:cNvPr>
          <p:cNvSpPr>
            <a:spLocks noGrp="1"/>
          </p:cNvSpPr>
          <p:nvPr>
            <p:ph type="body" sz="quarter" idx="30"/>
          </p:nvPr>
        </p:nvSpPr>
        <p:spPr/>
        <p:txBody>
          <a:bodyPr/>
          <a:lstStyle/>
          <a:p>
            <a:r>
              <a:rPr lang="de-DE" dirty="0"/>
              <a:t>Demonstration &amp; Ergebnisse  </a:t>
            </a:r>
          </a:p>
        </p:txBody>
      </p:sp>
      <p:sp>
        <p:nvSpPr>
          <p:cNvPr id="15" name="Titel 14">
            <a:extLst>
              <a:ext uri="{FF2B5EF4-FFF2-40B4-BE49-F238E27FC236}">
                <a16:creationId xmlns:a16="http://schemas.microsoft.com/office/drawing/2014/main" id="{70AE1638-49A3-7DFE-BC89-42B07E547988}"/>
              </a:ext>
            </a:extLst>
          </p:cNvPr>
          <p:cNvSpPr>
            <a:spLocks noGrp="1"/>
          </p:cNvSpPr>
          <p:nvPr>
            <p:ph type="title"/>
          </p:nvPr>
        </p:nvSpPr>
        <p:spPr/>
        <p:txBody>
          <a:bodyPr vert="horz"/>
          <a:lstStyle/>
          <a:p>
            <a:r>
              <a:rPr lang="de-DE" dirty="0"/>
              <a:t>Agenda</a:t>
            </a:r>
          </a:p>
        </p:txBody>
      </p:sp>
      <p:sp>
        <p:nvSpPr>
          <p:cNvPr id="13" name="Textplatzhalter 10">
            <a:extLst>
              <a:ext uri="{FF2B5EF4-FFF2-40B4-BE49-F238E27FC236}">
                <a16:creationId xmlns:a16="http://schemas.microsoft.com/office/drawing/2014/main" id="{97154FE8-D5F7-26C4-6FAA-95C9CEC66D0B}"/>
              </a:ext>
            </a:extLst>
          </p:cNvPr>
          <p:cNvSpPr txBox="1">
            <a:spLocks/>
          </p:cNvSpPr>
          <p:nvPr/>
        </p:nvSpPr>
        <p:spPr bwMode="auto">
          <a:xfrm>
            <a:off x="1217680" y="5211572"/>
            <a:ext cx="434603" cy="33855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2200" b="0" kern="1200">
                <a:solidFill>
                  <a:schemeClr val="accent3"/>
                </a:solidFill>
                <a:latin typeface="+mn-lt"/>
                <a:ea typeface="+mn-ea"/>
                <a:cs typeface="+mn-cs"/>
              </a:defRPr>
            </a:lvl1pPr>
            <a:lvl2pPr marL="0" indent="0" algn="l" defTabSz="914400" rtl="0" eaLnBrk="1" latinLnBrk="0" hangingPunct="1">
              <a:lnSpc>
                <a:spcPct val="100000"/>
              </a:lnSpc>
              <a:spcBef>
                <a:spcPts val="0"/>
              </a:spcBef>
              <a:buFontTx/>
              <a:buNone/>
              <a:defRPr sz="2400" b="0" kern="1200">
                <a:solidFill>
                  <a:schemeClr val="tx2"/>
                </a:solidFill>
                <a:latin typeface="+mn-lt"/>
                <a:ea typeface="+mn-ea"/>
                <a:cs typeface="+mn-cs"/>
              </a:defRPr>
            </a:lvl2pPr>
            <a:lvl3pPr marL="0" indent="0" algn="l" defTabSz="914400" rtl="0" eaLnBrk="1" latinLnBrk="0" hangingPunct="1">
              <a:lnSpc>
                <a:spcPct val="100000"/>
              </a:lnSpc>
              <a:spcBef>
                <a:spcPts val="0"/>
              </a:spcBef>
              <a:buFontTx/>
              <a:buNone/>
              <a:defRPr sz="2400" b="0" kern="1200">
                <a:solidFill>
                  <a:schemeClr val="tx2"/>
                </a:solidFill>
                <a:latin typeface="+mn-lt"/>
                <a:ea typeface="+mn-ea"/>
                <a:cs typeface="+mn-cs"/>
              </a:defRPr>
            </a:lvl3pPr>
            <a:lvl4pPr marL="0" indent="0" algn="l" defTabSz="914400" rtl="0" eaLnBrk="1" latinLnBrk="0" hangingPunct="1">
              <a:lnSpc>
                <a:spcPct val="100000"/>
              </a:lnSpc>
              <a:spcBef>
                <a:spcPts val="0"/>
              </a:spcBef>
              <a:buFontTx/>
              <a:buNone/>
              <a:defRPr sz="24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24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de-DE" dirty="0"/>
              <a:t>5</a:t>
            </a:r>
          </a:p>
        </p:txBody>
      </p:sp>
      <p:sp>
        <p:nvSpPr>
          <p:cNvPr id="14" name="Textplatzhalter 11">
            <a:extLst>
              <a:ext uri="{FF2B5EF4-FFF2-40B4-BE49-F238E27FC236}">
                <a16:creationId xmlns:a16="http://schemas.microsoft.com/office/drawing/2014/main" id="{ECEC2E92-04FD-C2C5-FABC-C3AB23241B0D}"/>
              </a:ext>
            </a:extLst>
          </p:cNvPr>
          <p:cNvSpPr txBox="1">
            <a:spLocks/>
          </p:cNvSpPr>
          <p:nvPr/>
        </p:nvSpPr>
        <p:spPr bwMode="auto">
          <a:xfrm>
            <a:off x="1688854" y="5211572"/>
            <a:ext cx="10095159" cy="33855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2200" b="0" kern="1200">
                <a:solidFill>
                  <a:schemeClr val="tx1"/>
                </a:solidFill>
                <a:latin typeface="+mn-lt"/>
                <a:ea typeface="+mn-ea"/>
                <a:cs typeface="+mn-cs"/>
              </a:defRPr>
            </a:lvl1pPr>
            <a:lvl2pPr marL="0" indent="0" algn="l" defTabSz="914400" rtl="0" eaLnBrk="1" latinLnBrk="0" hangingPunct="1">
              <a:lnSpc>
                <a:spcPct val="100000"/>
              </a:lnSpc>
              <a:spcBef>
                <a:spcPts val="0"/>
              </a:spcBef>
              <a:buFontTx/>
              <a:buNone/>
              <a:defRPr sz="2400" b="0" kern="1200">
                <a:solidFill>
                  <a:schemeClr val="tx2"/>
                </a:solidFill>
                <a:latin typeface="+mn-lt"/>
                <a:ea typeface="+mn-ea"/>
                <a:cs typeface="+mn-cs"/>
              </a:defRPr>
            </a:lvl2pPr>
            <a:lvl3pPr marL="0" indent="0" algn="l" defTabSz="914400" rtl="0" eaLnBrk="1" latinLnBrk="0" hangingPunct="1">
              <a:lnSpc>
                <a:spcPct val="100000"/>
              </a:lnSpc>
              <a:spcBef>
                <a:spcPts val="0"/>
              </a:spcBef>
              <a:buFontTx/>
              <a:buNone/>
              <a:defRPr sz="2400" b="0" kern="1200">
                <a:solidFill>
                  <a:schemeClr val="tx2"/>
                </a:solidFill>
                <a:latin typeface="+mn-lt"/>
                <a:ea typeface="+mn-ea"/>
                <a:cs typeface="+mn-cs"/>
              </a:defRPr>
            </a:lvl3pPr>
            <a:lvl4pPr marL="0" indent="0" algn="l" defTabSz="914400" rtl="0" eaLnBrk="1" latinLnBrk="0" hangingPunct="1">
              <a:lnSpc>
                <a:spcPct val="100000"/>
              </a:lnSpc>
              <a:spcBef>
                <a:spcPts val="0"/>
              </a:spcBef>
              <a:buFontTx/>
              <a:buNone/>
              <a:defRPr sz="2400" b="0" kern="1200">
                <a:solidFill>
                  <a:schemeClr val="tx2"/>
                </a:solidFill>
                <a:latin typeface="+mn-lt"/>
                <a:ea typeface="+mn-ea"/>
                <a:cs typeface="+mn-cs"/>
              </a:defRPr>
            </a:lvl4pPr>
            <a:lvl5pPr marL="0" indent="0" algn="l" defTabSz="914400" rtl="0" eaLnBrk="1" latinLnBrk="0" hangingPunct="1">
              <a:lnSpc>
                <a:spcPct val="100000"/>
              </a:lnSpc>
              <a:spcBef>
                <a:spcPts val="0"/>
              </a:spcBef>
              <a:buFontTx/>
              <a:buNone/>
              <a:defRPr sz="2400" b="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de-DE" dirty="0"/>
              <a:t>Fragen &amp; Diskussion</a:t>
            </a:r>
          </a:p>
        </p:txBody>
      </p:sp>
    </p:spTree>
    <p:extLst>
      <p:ext uri="{BB962C8B-B14F-4D97-AF65-F5344CB8AC3E}">
        <p14:creationId xmlns:p14="http://schemas.microsoft.com/office/powerpoint/2010/main" val="731117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A8DA480B-3279-3123-64DE-408066C393C4}"/>
              </a:ext>
            </a:extLst>
          </p:cNvPr>
          <p:cNvSpPr>
            <a:spLocks noGrp="1"/>
          </p:cNvSpPr>
          <p:nvPr>
            <p:ph type="sldNum" sz="quarter" idx="12"/>
          </p:nvPr>
        </p:nvSpPr>
        <p:spPr/>
        <p:txBody>
          <a:bodyPr/>
          <a:lstStyle/>
          <a:p>
            <a:fld id="{53C98C43-8B83-4748-BA0D-B0C90A16569F}" type="slidenum">
              <a:rPr lang="en-US" smtClean="0"/>
              <a:pPr/>
              <a:t>3</a:t>
            </a:fld>
            <a:endParaRPr lang="en-US"/>
          </a:p>
        </p:txBody>
      </p:sp>
      <p:sp>
        <p:nvSpPr>
          <p:cNvPr id="5" name="Textplatzhalter 4">
            <a:extLst>
              <a:ext uri="{FF2B5EF4-FFF2-40B4-BE49-F238E27FC236}">
                <a16:creationId xmlns:a16="http://schemas.microsoft.com/office/drawing/2014/main" id="{02AD4808-6DA0-CDB7-C201-43BA8B7C8E69}"/>
              </a:ext>
            </a:extLst>
          </p:cNvPr>
          <p:cNvSpPr>
            <a:spLocks noGrp="1"/>
          </p:cNvSpPr>
          <p:nvPr>
            <p:ph type="body" sz="quarter" idx="36"/>
          </p:nvPr>
        </p:nvSpPr>
        <p:spPr/>
        <p:txBody>
          <a:bodyPr/>
          <a:lstStyle/>
          <a:p>
            <a:r>
              <a:rPr lang="de-DE" dirty="0"/>
              <a:t>1</a:t>
            </a:r>
          </a:p>
        </p:txBody>
      </p:sp>
      <p:sp>
        <p:nvSpPr>
          <p:cNvPr id="6" name="Textplatzhalter 5">
            <a:extLst>
              <a:ext uri="{FF2B5EF4-FFF2-40B4-BE49-F238E27FC236}">
                <a16:creationId xmlns:a16="http://schemas.microsoft.com/office/drawing/2014/main" id="{4428E82A-4CBD-9639-4595-90A920979364}"/>
              </a:ext>
            </a:extLst>
          </p:cNvPr>
          <p:cNvSpPr>
            <a:spLocks noGrp="1"/>
          </p:cNvSpPr>
          <p:nvPr>
            <p:ph type="body" sz="quarter" idx="37"/>
          </p:nvPr>
        </p:nvSpPr>
        <p:spPr/>
        <p:txBody>
          <a:bodyPr/>
          <a:lstStyle/>
          <a:p>
            <a:endParaRPr lang="de-DE"/>
          </a:p>
        </p:txBody>
      </p:sp>
      <p:sp>
        <p:nvSpPr>
          <p:cNvPr id="7" name="Textplatzhalter 6">
            <a:extLst>
              <a:ext uri="{FF2B5EF4-FFF2-40B4-BE49-F238E27FC236}">
                <a16:creationId xmlns:a16="http://schemas.microsoft.com/office/drawing/2014/main" id="{EA658B72-8941-5F4F-579B-44A83B0BA41C}"/>
              </a:ext>
            </a:extLst>
          </p:cNvPr>
          <p:cNvSpPr>
            <a:spLocks noGrp="1"/>
          </p:cNvSpPr>
          <p:nvPr>
            <p:ph type="body" sz="quarter" idx="33"/>
          </p:nvPr>
        </p:nvSpPr>
        <p:spPr>
          <a:xfrm>
            <a:off x="407035" y="3005249"/>
            <a:ext cx="11376978" cy="609398"/>
          </a:xfrm>
        </p:spPr>
        <p:txBody>
          <a:bodyPr/>
          <a:lstStyle/>
          <a:p>
            <a:r>
              <a:rPr lang="de-DE" dirty="0"/>
              <a:t>Projektziele</a:t>
            </a:r>
          </a:p>
        </p:txBody>
      </p:sp>
      <p:sp>
        <p:nvSpPr>
          <p:cNvPr id="8" name="Datumsplatzhalter 1">
            <a:extLst>
              <a:ext uri="{FF2B5EF4-FFF2-40B4-BE49-F238E27FC236}">
                <a16:creationId xmlns:a16="http://schemas.microsoft.com/office/drawing/2014/main" id="{3A2EF91C-4303-094C-CCD2-82DCA4BA0EA7}"/>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9" name="Fußzeilenplatzhalter 2">
            <a:extLst>
              <a:ext uri="{FF2B5EF4-FFF2-40B4-BE49-F238E27FC236}">
                <a16:creationId xmlns:a16="http://schemas.microsoft.com/office/drawing/2014/main" id="{9117D1B6-1042-E25D-4C36-698404B6A19F}"/>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Tree>
    <p:extLst>
      <p:ext uri="{BB962C8B-B14F-4D97-AF65-F5344CB8AC3E}">
        <p14:creationId xmlns:p14="http://schemas.microsoft.com/office/powerpoint/2010/main" val="967723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04E4DC3-67BC-DC94-E4A7-C955B304F24F}"/>
              </a:ext>
            </a:extLst>
          </p:cNvPr>
          <p:cNvGraphicFramePr>
            <a:graphicFrameLocks noChangeAspect="1"/>
          </p:cNvGraphicFramePr>
          <p:nvPr>
            <p:custDataLst>
              <p:tags r:id="rId1"/>
            </p:custDataLst>
            <p:extLst>
              <p:ext uri="{D42A27DB-BD31-4B8C-83A1-F6EECF244321}">
                <p14:modId xmlns:p14="http://schemas.microsoft.com/office/powerpoint/2010/main" val="1956495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8" name="think-cell data - do not delete" hidden="1">
                        <a:extLst>
                          <a:ext uri="{FF2B5EF4-FFF2-40B4-BE49-F238E27FC236}">
                            <a16:creationId xmlns:a16="http://schemas.microsoft.com/office/drawing/2014/main" id="{104E4DC3-67BC-DC94-E4A7-C955B304F2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6ECC39C8-8904-D17A-DDE0-AAA19F041747}"/>
              </a:ext>
            </a:extLst>
          </p:cNvPr>
          <p:cNvSpPr>
            <a:spLocks noGrp="1"/>
          </p:cNvSpPr>
          <p:nvPr>
            <p:ph type="sldNum" sz="quarter" idx="12"/>
          </p:nvPr>
        </p:nvSpPr>
        <p:spPr/>
        <p:txBody>
          <a:bodyPr/>
          <a:lstStyle/>
          <a:p>
            <a:fld id="{53C98C43-8B83-4748-BA0D-B0C90A16569F}" type="slidenum">
              <a:rPr lang="en-US" noProof="0" smtClean="0"/>
              <a:pPr/>
              <a:t>4</a:t>
            </a:fld>
            <a:endParaRPr lang="en-US" noProof="0"/>
          </a:p>
        </p:txBody>
      </p:sp>
      <p:sp>
        <p:nvSpPr>
          <p:cNvPr id="5" name="Inhaltsplatzhalter 4">
            <a:extLst>
              <a:ext uri="{FF2B5EF4-FFF2-40B4-BE49-F238E27FC236}">
                <a16:creationId xmlns:a16="http://schemas.microsoft.com/office/drawing/2014/main" id="{CC82CADE-D792-AE1B-84DA-41FD4BB51BF2}"/>
              </a:ext>
            </a:extLst>
          </p:cNvPr>
          <p:cNvSpPr>
            <a:spLocks noGrp="1"/>
          </p:cNvSpPr>
          <p:nvPr>
            <p:ph sz="quarter" idx="14"/>
          </p:nvPr>
        </p:nvSpPr>
        <p:spPr>
          <a:xfrm>
            <a:off x="406400" y="1356851"/>
            <a:ext cx="11380788" cy="5223030"/>
          </a:xfrm>
        </p:spPr>
        <p:txBody>
          <a:bodyPr/>
          <a:lstStyle/>
          <a:p>
            <a:pPr marL="285750" indent="-285750">
              <a:buFont typeface="Arial" panose="020B0604020202020204" pitchFamily="34" charset="0"/>
              <a:buChar char="•"/>
            </a:pPr>
            <a:r>
              <a:rPr lang="de-DE" dirty="0">
                <a:solidFill>
                  <a:srgbClr val="C2FE06"/>
                </a:solidFill>
              </a:rPr>
              <a:t>Fahrmodus 1 – Vorwärts und Rückwarts</a:t>
            </a:r>
          </a:p>
          <a:p>
            <a:pPr marL="465750" lvl="2" indent="-285750">
              <a:buFont typeface="Arial" panose="020B0604020202020204" pitchFamily="34" charset="0"/>
              <a:buChar char="•"/>
            </a:pPr>
            <a:r>
              <a:rPr lang="de-DE" dirty="0"/>
              <a:t>3s geradeaus </a:t>
            </a:r>
            <a:r>
              <a:rPr lang="de-DE" dirty="0">
                <a:sym typeface="Wingdings" panose="05000000000000000000" pitchFamily="2" charset="2"/>
              </a:rPr>
              <a:t> 1s Stopp  3s rückwärts</a:t>
            </a:r>
          </a:p>
          <a:p>
            <a:pPr marL="285750" indent="-285750">
              <a:buFont typeface="Arial" panose="020B0604020202020204" pitchFamily="34" charset="0"/>
              <a:buChar char="•"/>
            </a:pPr>
            <a:r>
              <a:rPr lang="de-DE" dirty="0">
                <a:solidFill>
                  <a:srgbClr val="C2FE06"/>
                </a:solidFill>
                <a:sym typeface="Wingdings" panose="05000000000000000000" pitchFamily="2" charset="2"/>
              </a:rPr>
              <a:t>Fahrmodus 2 – Kreisfahrt mit maximalem Lenkwinkel</a:t>
            </a:r>
          </a:p>
          <a:p>
            <a:pPr marL="465750" lvl="2" indent="-285750">
              <a:buFont typeface="Arial" panose="020B0604020202020204" pitchFamily="34" charset="0"/>
              <a:buChar char="•"/>
            </a:pPr>
            <a:r>
              <a:rPr lang="de-DE" dirty="0">
                <a:sym typeface="Wingdings" panose="05000000000000000000" pitchFamily="2" charset="2"/>
              </a:rPr>
              <a:t>1s geradeaus  8s max. Lenkwinkel im Uhrzeigersinn  Stopp  8s max. Lenkwinkel gegen Uhrzeigersinn  1s rückwärts  Ausgangspunkt &amp; andersherum (erst gegen Uhrzeigersinn)</a:t>
            </a:r>
          </a:p>
          <a:p>
            <a:pPr marL="285750" indent="-285750">
              <a:buFont typeface="Arial" panose="020B0604020202020204" pitchFamily="34" charset="0"/>
              <a:buChar char="•"/>
            </a:pPr>
            <a:r>
              <a:rPr lang="de-DE" dirty="0">
                <a:solidFill>
                  <a:srgbClr val="C2FE06"/>
                </a:solidFill>
                <a:sym typeface="Wingdings" panose="05000000000000000000" pitchFamily="2" charset="2"/>
              </a:rPr>
              <a:t>Fahrmodus 3 – Vorwärts bis Hindernis</a:t>
            </a:r>
          </a:p>
          <a:p>
            <a:pPr marL="465750" lvl="2" indent="-285750">
              <a:buFont typeface="Arial" panose="020B0604020202020204" pitchFamily="34" charset="0"/>
              <a:buChar char="•"/>
            </a:pPr>
            <a:r>
              <a:rPr lang="de-DE" dirty="0">
                <a:solidFill>
                  <a:srgbClr val="FFFFFF"/>
                </a:solidFill>
                <a:sym typeface="Wingdings" panose="05000000000000000000" pitchFamily="2" charset="2"/>
              </a:rPr>
              <a:t>Fahren bis Hindernis  Stopp</a:t>
            </a:r>
          </a:p>
          <a:p>
            <a:pPr marL="285750" indent="-285750">
              <a:buFont typeface="Arial" panose="020B0604020202020204" pitchFamily="34" charset="0"/>
              <a:buChar char="•"/>
            </a:pPr>
            <a:r>
              <a:rPr lang="de-DE" dirty="0">
                <a:solidFill>
                  <a:srgbClr val="C2FE06"/>
                </a:solidFill>
                <a:sym typeface="Wingdings" panose="05000000000000000000" pitchFamily="2" charset="2"/>
              </a:rPr>
              <a:t>Fahrmodus 4 – Erkundungstour</a:t>
            </a:r>
          </a:p>
          <a:p>
            <a:pPr marL="465750" lvl="2" indent="-285750">
              <a:buFont typeface="Arial" panose="020B0604020202020204" pitchFamily="34" charset="0"/>
              <a:buChar char="•"/>
            </a:pPr>
            <a:r>
              <a:rPr lang="de-DE" dirty="0">
                <a:solidFill>
                  <a:srgbClr val="FFFFFF"/>
                </a:solidFill>
              </a:rPr>
              <a:t>Fahrtrichtung bei freier Fahrt variieren </a:t>
            </a:r>
            <a:r>
              <a:rPr lang="de-DE" dirty="0">
                <a:solidFill>
                  <a:srgbClr val="FFFFFF"/>
                </a:solidFill>
                <a:sym typeface="Wingdings" panose="05000000000000000000" pitchFamily="2" charset="2"/>
              </a:rPr>
              <a:t> Hindernis  Fahrtrichtung ändern (max. Lenkwinkel &amp; rückwärts fahren)  Fahrt fortsetzen</a:t>
            </a:r>
          </a:p>
          <a:p>
            <a:pPr marL="285750" indent="-285750">
              <a:buFont typeface="Arial" panose="020B0604020202020204" pitchFamily="34" charset="0"/>
              <a:buChar char="•"/>
            </a:pPr>
            <a:r>
              <a:rPr lang="de-DE" dirty="0">
                <a:solidFill>
                  <a:srgbClr val="C2FE06"/>
                </a:solidFill>
                <a:sym typeface="Wingdings" panose="05000000000000000000" pitchFamily="2" charset="2"/>
              </a:rPr>
              <a:t>Fahrmodus 5 – Linienverfolgung</a:t>
            </a:r>
          </a:p>
          <a:p>
            <a:pPr marL="465750" lvl="2" indent="-285750">
              <a:buFont typeface="Arial" panose="020B0604020202020204" pitchFamily="34" charset="0"/>
              <a:buChar char="•"/>
            </a:pPr>
            <a:r>
              <a:rPr lang="de-DE" dirty="0">
                <a:solidFill>
                  <a:srgbClr val="FFFFFF"/>
                </a:solidFill>
                <a:sym typeface="Wingdings" panose="05000000000000000000" pitchFamily="2" charset="2"/>
              </a:rPr>
              <a:t>Folgen einer Linie (Breite: 1,5-2 cm) auf Boden  stoppen bei Ende der Linie </a:t>
            </a:r>
          </a:p>
          <a:p>
            <a:pPr marL="465750" lvl="2" indent="-285750">
              <a:buFont typeface="Arial" panose="020B0604020202020204" pitchFamily="34" charset="0"/>
              <a:buChar char="•"/>
            </a:pPr>
            <a:r>
              <a:rPr lang="de-DE" dirty="0">
                <a:solidFill>
                  <a:srgbClr val="FFFFFF"/>
                </a:solidFill>
                <a:sym typeface="Wingdings" panose="05000000000000000000" pitchFamily="2" charset="2"/>
              </a:rPr>
              <a:t>Rechts- &amp; Linkskurve  Kurvenradius &gt; max. Lenkradius </a:t>
            </a:r>
          </a:p>
          <a:p>
            <a:pPr marL="285750" indent="-285750">
              <a:buFont typeface="Arial" panose="020B0604020202020204" pitchFamily="34" charset="0"/>
              <a:buChar char="•"/>
            </a:pPr>
            <a:r>
              <a:rPr lang="de-DE" dirty="0">
                <a:solidFill>
                  <a:srgbClr val="C2FE06"/>
                </a:solidFill>
                <a:sym typeface="Wingdings" panose="05000000000000000000" pitchFamily="2" charset="2"/>
              </a:rPr>
              <a:t>Fahrmodus 6 – Erweiterte Linienverfolgung </a:t>
            </a:r>
          </a:p>
          <a:p>
            <a:pPr marL="465750" lvl="2" indent="-285750">
              <a:buFont typeface="Arial" panose="020B0604020202020204" pitchFamily="34" charset="0"/>
              <a:buChar char="•"/>
            </a:pPr>
            <a:r>
              <a:rPr lang="de-DE" dirty="0">
                <a:solidFill>
                  <a:srgbClr val="FFFFFF"/>
                </a:solidFill>
                <a:sym typeface="Wingdings" panose="05000000000000000000" pitchFamily="2" charset="2"/>
              </a:rPr>
              <a:t> Folgen einer geschlossenen Linie auf Boden  mehrfache Runden möglich</a:t>
            </a:r>
          </a:p>
          <a:p>
            <a:pPr marL="465750" lvl="2" indent="-285750">
              <a:buFont typeface="Arial" panose="020B0604020202020204" pitchFamily="34" charset="0"/>
              <a:buChar char="•"/>
            </a:pPr>
            <a:r>
              <a:rPr lang="de-DE" dirty="0">
                <a:solidFill>
                  <a:srgbClr val="FFFFFF"/>
                </a:solidFill>
                <a:sym typeface="Wingdings" panose="05000000000000000000" pitchFamily="2" charset="2"/>
              </a:rPr>
              <a:t>Kurvenradius &lt; max. Lenkradius  ausgleichende Fahrmanöver </a:t>
            </a:r>
          </a:p>
          <a:p>
            <a:pPr marL="285750" indent="-285750">
              <a:buFont typeface="Arial" panose="020B0604020202020204" pitchFamily="34" charset="0"/>
              <a:buChar char="•"/>
            </a:pPr>
            <a:r>
              <a:rPr lang="de-DE" dirty="0">
                <a:solidFill>
                  <a:srgbClr val="C2FE06"/>
                </a:solidFill>
                <a:sym typeface="Wingdings" panose="05000000000000000000" pitchFamily="2" charset="2"/>
              </a:rPr>
              <a:t>Fahrmodus 7 – Erweiterte Linienverfolgung mit Hinderniserkennung</a:t>
            </a:r>
          </a:p>
          <a:p>
            <a:pPr marL="465750" lvl="2" indent="-285750">
              <a:buFont typeface="Arial" panose="020B0604020202020204" pitchFamily="34" charset="0"/>
              <a:buChar char="•"/>
            </a:pPr>
            <a:r>
              <a:rPr lang="de-DE" dirty="0">
                <a:solidFill>
                  <a:srgbClr val="FFFFFF"/>
                </a:solidFill>
                <a:sym typeface="Wingdings" panose="05000000000000000000" pitchFamily="2" charset="2"/>
              </a:rPr>
              <a:t>Linienverfolgung  Hinderniserkennung  Stoppen </a:t>
            </a:r>
            <a:endParaRPr lang="de-DE" dirty="0">
              <a:solidFill>
                <a:srgbClr val="FFFFFF"/>
              </a:solidFill>
            </a:endParaRPr>
          </a:p>
        </p:txBody>
      </p:sp>
      <p:sp>
        <p:nvSpPr>
          <p:cNvPr id="6" name="Titel 5">
            <a:extLst>
              <a:ext uri="{FF2B5EF4-FFF2-40B4-BE49-F238E27FC236}">
                <a16:creationId xmlns:a16="http://schemas.microsoft.com/office/drawing/2014/main" id="{680341BA-902A-D6C3-E46B-ACAE6B173C14}"/>
              </a:ext>
            </a:extLst>
          </p:cNvPr>
          <p:cNvSpPr>
            <a:spLocks noGrp="1"/>
          </p:cNvSpPr>
          <p:nvPr>
            <p:ph type="title"/>
          </p:nvPr>
        </p:nvSpPr>
        <p:spPr/>
        <p:txBody>
          <a:bodyPr vert="horz"/>
          <a:lstStyle/>
          <a:p>
            <a:r>
              <a:rPr lang="de-DE" dirty="0"/>
              <a:t>Projektziele</a:t>
            </a:r>
          </a:p>
        </p:txBody>
      </p:sp>
      <p:sp>
        <p:nvSpPr>
          <p:cNvPr id="7" name="Textplatzhalter 6">
            <a:extLst>
              <a:ext uri="{FF2B5EF4-FFF2-40B4-BE49-F238E27FC236}">
                <a16:creationId xmlns:a16="http://schemas.microsoft.com/office/drawing/2014/main" id="{5E5336E8-0639-C774-1C30-ED284FA00B0E}"/>
              </a:ext>
            </a:extLst>
          </p:cNvPr>
          <p:cNvSpPr>
            <a:spLocks noGrp="1"/>
          </p:cNvSpPr>
          <p:nvPr>
            <p:ph type="body" sz="quarter" idx="15"/>
          </p:nvPr>
        </p:nvSpPr>
        <p:spPr/>
        <p:txBody>
          <a:bodyPr/>
          <a:lstStyle/>
          <a:p>
            <a:r>
              <a:rPr lang="de-DE" dirty="0"/>
              <a:t>Fahrmodi</a:t>
            </a:r>
          </a:p>
        </p:txBody>
      </p:sp>
      <p:sp>
        <p:nvSpPr>
          <p:cNvPr id="9" name="Datumsplatzhalter 1">
            <a:extLst>
              <a:ext uri="{FF2B5EF4-FFF2-40B4-BE49-F238E27FC236}">
                <a16:creationId xmlns:a16="http://schemas.microsoft.com/office/drawing/2014/main" id="{878531B7-1B16-C346-CE45-6C6FCE148B31}"/>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10" name="Fußzeilenplatzhalter 2">
            <a:extLst>
              <a:ext uri="{FF2B5EF4-FFF2-40B4-BE49-F238E27FC236}">
                <a16:creationId xmlns:a16="http://schemas.microsoft.com/office/drawing/2014/main" id="{159021DB-AAC8-E4E0-E53B-DBE191B6892A}"/>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Tree>
    <p:extLst>
      <p:ext uri="{BB962C8B-B14F-4D97-AF65-F5344CB8AC3E}">
        <p14:creationId xmlns:p14="http://schemas.microsoft.com/office/powerpoint/2010/main" val="2464844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3E64C9-88B8-8333-EE36-FC3E6CFADE85}"/>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6F8BCC29-4CDA-67C4-0A42-20E86307DDC0}"/>
              </a:ext>
            </a:extLst>
          </p:cNvPr>
          <p:cNvSpPr>
            <a:spLocks noGrp="1"/>
          </p:cNvSpPr>
          <p:nvPr>
            <p:ph type="sldNum" sz="quarter" idx="12"/>
          </p:nvPr>
        </p:nvSpPr>
        <p:spPr/>
        <p:txBody>
          <a:bodyPr/>
          <a:lstStyle/>
          <a:p>
            <a:fld id="{53C98C43-8B83-4748-BA0D-B0C90A16569F}" type="slidenum">
              <a:rPr lang="en-US" smtClean="0"/>
              <a:pPr/>
              <a:t>5</a:t>
            </a:fld>
            <a:endParaRPr lang="en-US"/>
          </a:p>
        </p:txBody>
      </p:sp>
      <p:sp>
        <p:nvSpPr>
          <p:cNvPr id="5" name="Textplatzhalter 4">
            <a:extLst>
              <a:ext uri="{FF2B5EF4-FFF2-40B4-BE49-F238E27FC236}">
                <a16:creationId xmlns:a16="http://schemas.microsoft.com/office/drawing/2014/main" id="{89D32E64-054C-064B-348C-F8FBD1F6B2FD}"/>
              </a:ext>
            </a:extLst>
          </p:cNvPr>
          <p:cNvSpPr>
            <a:spLocks noGrp="1"/>
          </p:cNvSpPr>
          <p:nvPr>
            <p:ph type="body" sz="quarter" idx="36"/>
          </p:nvPr>
        </p:nvSpPr>
        <p:spPr/>
        <p:txBody>
          <a:bodyPr/>
          <a:lstStyle/>
          <a:p>
            <a:r>
              <a:rPr lang="de-DE" dirty="0"/>
              <a:t>2</a:t>
            </a:r>
          </a:p>
        </p:txBody>
      </p:sp>
      <p:sp>
        <p:nvSpPr>
          <p:cNvPr id="6" name="Textplatzhalter 5">
            <a:extLst>
              <a:ext uri="{FF2B5EF4-FFF2-40B4-BE49-F238E27FC236}">
                <a16:creationId xmlns:a16="http://schemas.microsoft.com/office/drawing/2014/main" id="{C662C55A-B5DC-D16C-7347-57F7323ED1B4}"/>
              </a:ext>
            </a:extLst>
          </p:cNvPr>
          <p:cNvSpPr>
            <a:spLocks noGrp="1"/>
          </p:cNvSpPr>
          <p:nvPr>
            <p:ph type="body" sz="quarter" idx="37"/>
          </p:nvPr>
        </p:nvSpPr>
        <p:spPr/>
        <p:txBody>
          <a:bodyPr/>
          <a:lstStyle/>
          <a:p>
            <a:endParaRPr lang="de-DE"/>
          </a:p>
        </p:txBody>
      </p:sp>
      <p:sp>
        <p:nvSpPr>
          <p:cNvPr id="7" name="Textplatzhalter 6">
            <a:extLst>
              <a:ext uri="{FF2B5EF4-FFF2-40B4-BE49-F238E27FC236}">
                <a16:creationId xmlns:a16="http://schemas.microsoft.com/office/drawing/2014/main" id="{AB29DEB0-1912-D2B5-FF96-0437E2265D8E}"/>
              </a:ext>
            </a:extLst>
          </p:cNvPr>
          <p:cNvSpPr>
            <a:spLocks noGrp="1"/>
          </p:cNvSpPr>
          <p:nvPr>
            <p:ph type="body" sz="quarter" idx="33"/>
          </p:nvPr>
        </p:nvSpPr>
        <p:spPr>
          <a:xfrm>
            <a:off x="407035" y="3005249"/>
            <a:ext cx="11376978" cy="609398"/>
          </a:xfrm>
        </p:spPr>
        <p:txBody>
          <a:bodyPr/>
          <a:lstStyle/>
          <a:p>
            <a:r>
              <a:rPr lang="de-DE" dirty="0"/>
              <a:t>Konzeption des Programmes</a:t>
            </a:r>
          </a:p>
        </p:txBody>
      </p:sp>
      <p:sp>
        <p:nvSpPr>
          <p:cNvPr id="8" name="Datumsplatzhalter 1">
            <a:extLst>
              <a:ext uri="{FF2B5EF4-FFF2-40B4-BE49-F238E27FC236}">
                <a16:creationId xmlns:a16="http://schemas.microsoft.com/office/drawing/2014/main" id="{A5A74E51-AB70-D05B-1452-5C82CB46D9F6}"/>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9" name="Fußzeilenplatzhalter 2">
            <a:extLst>
              <a:ext uri="{FF2B5EF4-FFF2-40B4-BE49-F238E27FC236}">
                <a16:creationId xmlns:a16="http://schemas.microsoft.com/office/drawing/2014/main" id="{FBDBB952-E2B9-E8FA-5B58-76D52338469B}"/>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Tree>
    <p:extLst>
      <p:ext uri="{BB962C8B-B14F-4D97-AF65-F5344CB8AC3E}">
        <p14:creationId xmlns:p14="http://schemas.microsoft.com/office/powerpoint/2010/main" val="1260159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FFE641-92B5-4852-1098-1E82BCD7E1C7}"/>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D03DACA-10FC-DEED-F7C4-416319944E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9" name="think-cell data - do not delete" hidden="1">
                        <a:extLst>
                          <a:ext uri="{FF2B5EF4-FFF2-40B4-BE49-F238E27FC236}">
                            <a16:creationId xmlns:a16="http://schemas.microsoft.com/office/drawing/2014/main" id="{4D03DACA-10FC-DEED-F7C4-416319944E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A6F6B34D-C57C-6BD2-4880-9B0E351A4F43}"/>
              </a:ext>
            </a:extLst>
          </p:cNvPr>
          <p:cNvSpPr>
            <a:spLocks noGrp="1"/>
          </p:cNvSpPr>
          <p:nvPr>
            <p:ph type="sldNum" sz="quarter" idx="12"/>
          </p:nvPr>
        </p:nvSpPr>
        <p:spPr/>
        <p:txBody>
          <a:bodyPr/>
          <a:lstStyle/>
          <a:p>
            <a:fld id="{53C98C43-8B83-4748-BA0D-B0C90A16569F}" type="slidenum">
              <a:rPr lang="en-US" noProof="0" smtClean="0"/>
              <a:pPr/>
              <a:t>6</a:t>
            </a:fld>
            <a:endParaRPr lang="en-US" noProof="0"/>
          </a:p>
        </p:txBody>
      </p:sp>
      <p:sp>
        <p:nvSpPr>
          <p:cNvPr id="6" name="Titel 5">
            <a:extLst>
              <a:ext uri="{FF2B5EF4-FFF2-40B4-BE49-F238E27FC236}">
                <a16:creationId xmlns:a16="http://schemas.microsoft.com/office/drawing/2014/main" id="{AE10903B-D005-9FB2-C359-C179F5727655}"/>
              </a:ext>
            </a:extLst>
          </p:cNvPr>
          <p:cNvSpPr>
            <a:spLocks noGrp="1"/>
          </p:cNvSpPr>
          <p:nvPr>
            <p:ph type="title"/>
          </p:nvPr>
        </p:nvSpPr>
        <p:spPr/>
        <p:txBody>
          <a:bodyPr vert="horz"/>
          <a:lstStyle/>
          <a:p>
            <a:r>
              <a:rPr lang="de-DE" dirty="0"/>
              <a:t>Konzeption des Programmes</a:t>
            </a:r>
          </a:p>
        </p:txBody>
      </p:sp>
      <p:sp>
        <p:nvSpPr>
          <p:cNvPr id="7" name="Textplatzhalter 6">
            <a:extLst>
              <a:ext uri="{FF2B5EF4-FFF2-40B4-BE49-F238E27FC236}">
                <a16:creationId xmlns:a16="http://schemas.microsoft.com/office/drawing/2014/main" id="{8DC07F82-092A-440D-5A38-8D305A16D00A}"/>
              </a:ext>
            </a:extLst>
          </p:cNvPr>
          <p:cNvSpPr>
            <a:spLocks noGrp="1"/>
          </p:cNvSpPr>
          <p:nvPr>
            <p:ph type="body" sz="quarter" idx="15"/>
          </p:nvPr>
        </p:nvSpPr>
        <p:spPr/>
        <p:txBody>
          <a:bodyPr/>
          <a:lstStyle/>
          <a:p>
            <a:r>
              <a:rPr lang="de-DE" dirty="0"/>
              <a:t>Moduldiagramm*</a:t>
            </a:r>
          </a:p>
        </p:txBody>
      </p:sp>
      <p:pic>
        <p:nvPicPr>
          <p:cNvPr id="1026" name="Picture 2">
            <a:extLst>
              <a:ext uri="{FF2B5EF4-FFF2-40B4-BE49-F238E27FC236}">
                <a16:creationId xmlns:a16="http://schemas.microsoft.com/office/drawing/2014/main" id="{5E7457CC-7FD4-2FAD-7872-4F181EDB8C5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6400" y="1509514"/>
            <a:ext cx="6451600" cy="4893936"/>
          </a:xfrm>
          <a:prstGeom prst="rect">
            <a:avLst/>
          </a:prstGeom>
          <a:noFill/>
          <a:extLst>
            <a:ext uri="{909E8E84-426E-40DD-AFC4-6F175D3DCCD1}">
              <a14:hiddenFill xmlns:a14="http://schemas.microsoft.com/office/drawing/2010/main">
                <a:solidFill>
                  <a:srgbClr val="FFFFFF"/>
                </a:solidFill>
              </a14:hiddenFill>
            </a:ext>
          </a:extLst>
        </p:spPr>
      </p:pic>
      <p:sp>
        <p:nvSpPr>
          <p:cNvPr id="14" name="Textfeld 13">
            <a:extLst>
              <a:ext uri="{FF2B5EF4-FFF2-40B4-BE49-F238E27FC236}">
                <a16:creationId xmlns:a16="http://schemas.microsoft.com/office/drawing/2014/main" id="{DFA93444-ABCA-8A9B-072F-ECCE6F41BDAD}"/>
              </a:ext>
            </a:extLst>
          </p:cNvPr>
          <p:cNvSpPr txBox="1"/>
          <p:nvPr/>
        </p:nvSpPr>
        <p:spPr>
          <a:xfrm>
            <a:off x="8228112" y="3017713"/>
            <a:ext cx="2479040" cy="923330"/>
          </a:xfrm>
          <a:prstGeom prst="rect">
            <a:avLst/>
          </a:prstGeom>
          <a:noFill/>
        </p:spPr>
        <p:txBody>
          <a:bodyPr wrap="square" lIns="0" tIns="0" rIns="0" bIns="0" rtlCol="0">
            <a:spAutoFit/>
          </a:bodyPr>
          <a:lstStyle/>
          <a:p>
            <a:pPr algn="ctr"/>
            <a:r>
              <a:rPr lang="de-DE" sz="2000" dirty="0">
                <a:solidFill>
                  <a:srgbClr val="008C82"/>
                </a:solidFill>
              </a:rPr>
              <a:t>Beziehung der Module untereinander</a:t>
            </a:r>
          </a:p>
        </p:txBody>
      </p:sp>
      <p:sp>
        <p:nvSpPr>
          <p:cNvPr id="15" name="Textfeld 14">
            <a:extLst>
              <a:ext uri="{FF2B5EF4-FFF2-40B4-BE49-F238E27FC236}">
                <a16:creationId xmlns:a16="http://schemas.microsoft.com/office/drawing/2014/main" id="{9EA8239A-7129-CB20-8D91-382ED9D4AE96}"/>
              </a:ext>
            </a:extLst>
          </p:cNvPr>
          <p:cNvSpPr txBox="1"/>
          <p:nvPr/>
        </p:nvSpPr>
        <p:spPr>
          <a:xfrm>
            <a:off x="7122160" y="6105758"/>
            <a:ext cx="3696648" cy="215444"/>
          </a:xfrm>
          <a:prstGeom prst="rect">
            <a:avLst/>
          </a:prstGeom>
          <a:noFill/>
        </p:spPr>
        <p:txBody>
          <a:bodyPr wrap="square" lIns="0" tIns="0" rIns="0" bIns="0" rtlCol="0">
            <a:spAutoFit/>
          </a:bodyPr>
          <a:lstStyle/>
          <a:p>
            <a:pPr algn="l"/>
            <a:r>
              <a:rPr lang="de-DE" sz="1400" i="1" dirty="0">
                <a:solidFill>
                  <a:schemeClr val="tx2"/>
                </a:solidFill>
              </a:rPr>
              <a:t>* Erstellt mit </a:t>
            </a:r>
            <a:r>
              <a:rPr lang="de-DE" sz="1400" i="1" dirty="0" err="1">
                <a:solidFill>
                  <a:schemeClr val="tx2"/>
                </a:solidFill>
              </a:rPr>
              <a:t>Pyreverse</a:t>
            </a:r>
            <a:r>
              <a:rPr lang="de-DE" sz="1400" i="1" dirty="0">
                <a:solidFill>
                  <a:schemeClr val="tx2"/>
                </a:solidFill>
              </a:rPr>
              <a:t> und </a:t>
            </a:r>
            <a:r>
              <a:rPr lang="de-DE" sz="1400" i="1" dirty="0" err="1">
                <a:solidFill>
                  <a:schemeClr val="tx2"/>
                </a:solidFill>
              </a:rPr>
              <a:t>Graphviz</a:t>
            </a:r>
            <a:endParaRPr lang="de-DE" sz="1400" i="1" dirty="0">
              <a:solidFill>
                <a:schemeClr val="tx2"/>
              </a:solidFill>
            </a:endParaRPr>
          </a:p>
        </p:txBody>
      </p:sp>
      <mc:AlternateContent xmlns:mc="http://schemas.openxmlformats.org/markup-compatibility/2006" xmlns:a14="http://schemas.microsoft.com/office/drawing/2010/main">
        <mc:Choice Requires="a14">
          <p:sp>
            <p:nvSpPr>
              <p:cNvPr id="16" name="Textfeld 15">
                <a:extLst>
                  <a:ext uri="{FF2B5EF4-FFF2-40B4-BE49-F238E27FC236}">
                    <a16:creationId xmlns:a16="http://schemas.microsoft.com/office/drawing/2014/main" id="{2CC3E1C7-63A9-D1E0-6E6B-3EEEF31C4445}"/>
                  </a:ext>
                </a:extLst>
              </p:cNvPr>
              <p:cNvSpPr txBox="1"/>
              <p:nvPr/>
            </p:nvSpPr>
            <p:spPr>
              <a:xfrm>
                <a:off x="4612640" y="5915461"/>
                <a:ext cx="955040" cy="307777"/>
              </a:xfrm>
              <a:prstGeom prst="rect">
                <a:avLst/>
              </a:prstGeom>
              <a:noFill/>
            </p:spPr>
            <p:txBody>
              <a:bodyPr wrap="square" lIns="0" tIns="0" rIns="0" bIns="0" rtlCol="0">
                <a:spAutoFit/>
              </a:bodyPr>
              <a:lstStyle/>
              <a:p>
                <a14:m>
                  <m:oMath xmlns:m="http://schemas.openxmlformats.org/officeDocument/2006/math">
                    <m:acc>
                      <m:accPr>
                        <m:chr m:val="̂"/>
                        <m:ctrlPr>
                          <a:rPr lang="de-DE" sz="2000" i="1" smtClean="0">
                            <a:solidFill>
                              <a:srgbClr val="008C82"/>
                            </a:solidFill>
                            <a:latin typeface="Cambria Math" panose="02040503050406030204" pitchFamily="18" charset="0"/>
                          </a:rPr>
                        </m:ctrlPr>
                      </m:accPr>
                      <m:e>
                        <m:r>
                          <a:rPr lang="de-DE" sz="2000" b="0" i="1" smtClean="0">
                            <a:solidFill>
                              <a:srgbClr val="008C82"/>
                            </a:solidFill>
                            <a:latin typeface="Cambria Math" panose="02040503050406030204" pitchFamily="18" charset="0"/>
                          </a:rPr>
                          <m:t>=</m:t>
                        </m:r>
                      </m:e>
                    </m:acc>
                  </m:oMath>
                </a14:m>
                <a:r>
                  <a:rPr lang="de-DE" sz="2000" dirty="0">
                    <a:solidFill>
                      <a:srgbClr val="008C82"/>
                    </a:solidFill>
                  </a:rPr>
                  <a:t> Main</a:t>
                </a:r>
              </a:p>
            </p:txBody>
          </p:sp>
        </mc:Choice>
        <mc:Fallback xmlns="">
          <p:sp>
            <p:nvSpPr>
              <p:cNvPr id="16" name="Textfeld 15">
                <a:extLst>
                  <a:ext uri="{FF2B5EF4-FFF2-40B4-BE49-F238E27FC236}">
                    <a16:creationId xmlns:a16="http://schemas.microsoft.com/office/drawing/2014/main" id="{2CC3E1C7-63A9-D1E0-6E6B-3EEEF31C4445}"/>
                  </a:ext>
                </a:extLst>
              </p:cNvPr>
              <p:cNvSpPr txBox="1">
                <a:spLocks noRot="1" noChangeAspect="1" noMove="1" noResize="1" noEditPoints="1" noAdjustHandles="1" noChangeArrowheads="1" noChangeShapeType="1" noTextEdit="1"/>
              </p:cNvSpPr>
              <p:nvPr/>
            </p:nvSpPr>
            <p:spPr>
              <a:xfrm>
                <a:off x="4612640" y="5915461"/>
                <a:ext cx="955040" cy="307777"/>
              </a:xfrm>
              <a:prstGeom prst="rect">
                <a:avLst/>
              </a:prstGeom>
              <a:blipFill>
                <a:blip r:embed="rId6"/>
                <a:stretch>
                  <a:fillRect l="-8974" t="-23529" r="-2564" b="-50980"/>
                </a:stretch>
              </a:blipFill>
            </p:spPr>
            <p:txBody>
              <a:bodyPr/>
              <a:lstStyle/>
              <a:p>
                <a:r>
                  <a:rPr lang="de-DE">
                    <a:noFill/>
                  </a:rPr>
                  <a:t> </a:t>
                </a:r>
              </a:p>
            </p:txBody>
          </p:sp>
        </mc:Fallback>
      </mc:AlternateContent>
      <p:sp>
        <p:nvSpPr>
          <p:cNvPr id="19" name="Textfeld 18">
            <a:extLst>
              <a:ext uri="{FF2B5EF4-FFF2-40B4-BE49-F238E27FC236}">
                <a16:creationId xmlns:a16="http://schemas.microsoft.com/office/drawing/2014/main" id="{BE97AE1D-E85D-C1EC-213C-7EB267157323}"/>
              </a:ext>
            </a:extLst>
          </p:cNvPr>
          <p:cNvSpPr txBox="1"/>
          <p:nvPr/>
        </p:nvSpPr>
        <p:spPr>
          <a:xfrm>
            <a:off x="989872" y="1717196"/>
            <a:ext cx="2143760" cy="677108"/>
          </a:xfrm>
          <a:prstGeom prst="rect">
            <a:avLst/>
          </a:prstGeom>
          <a:noFill/>
        </p:spPr>
        <p:txBody>
          <a:bodyPr wrap="square" lIns="0" tIns="0" rIns="0" bIns="0" rtlCol="0">
            <a:spAutoFit/>
          </a:bodyPr>
          <a:lstStyle/>
          <a:p>
            <a:pPr algn="l"/>
            <a:r>
              <a:rPr lang="de-DE" sz="1100" i="1" dirty="0">
                <a:solidFill>
                  <a:schemeClr val="tx1">
                    <a:lumMod val="50000"/>
                  </a:schemeClr>
                </a:solidFill>
              </a:rPr>
              <a:t>Enthält Klasse „</a:t>
            </a:r>
            <a:r>
              <a:rPr lang="de-DE" sz="1100" i="1" dirty="0" err="1">
                <a:solidFill>
                  <a:schemeClr val="tx1">
                    <a:lumMod val="50000"/>
                  </a:schemeClr>
                </a:solidFill>
              </a:rPr>
              <a:t>BaseCar</a:t>
            </a:r>
            <a:r>
              <a:rPr lang="de-DE" sz="1100" i="1" dirty="0">
                <a:solidFill>
                  <a:schemeClr val="tx1">
                    <a:lumMod val="50000"/>
                  </a:schemeClr>
                </a:solidFill>
              </a:rPr>
              <a:t>“</a:t>
            </a:r>
          </a:p>
          <a:p>
            <a:pPr marL="285750" indent="-285750" algn="l">
              <a:buFont typeface="Arial" panose="020B0604020202020204" pitchFamily="34" charset="0"/>
              <a:buChar char="•"/>
            </a:pPr>
            <a:r>
              <a:rPr lang="de-DE" sz="1100" i="1" dirty="0">
                <a:solidFill>
                  <a:schemeClr val="tx1">
                    <a:lumMod val="50000"/>
                  </a:schemeClr>
                </a:solidFill>
              </a:rPr>
              <a:t>Kernfunktionen: </a:t>
            </a:r>
            <a:r>
              <a:rPr lang="de-DE" sz="1100" i="1" dirty="0" err="1">
                <a:solidFill>
                  <a:schemeClr val="tx1">
                    <a:lumMod val="50000"/>
                  </a:schemeClr>
                </a:solidFill>
              </a:rPr>
              <a:t>drive</a:t>
            </a:r>
            <a:r>
              <a:rPr lang="de-DE" sz="1100" i="1" dirty="0">
                <a:solidFill>
                  <a:schemeClr val="tx1">
                    <a:lumMod val="50000"/>
                  </a:schemeClr>
                </a:solidFill>
              </a:rPr>
              <a:t>(), </a:t>
            </a:r>
            <a:r>
              <a:rPr lang="de-DE" sz="1100" i="1" dirty="0" err="1">
                <a:solidFill>
                  <a:schemeClr val="tx1">
                    <a:lumMod val="50000"/>
                  </a:schemeClr>
                </a:solidFill>
              </a:rPr>
              <a:t>stop</a:t>
            </a:r>
            <a:r>
              <a:rPr lang="de-DE" sz="1100" i="1" dirty="0">
                <a:solidFill>
                  <a:schemeClr val="tx1">
                    <a:lumMod val="50000"/>
                  </a:schemeClr>
                </a:solidFill>
              </a:rPr>
              <a:t>(), </a:t>
            </a:r>
            <a:r>
              <a:rPr lang="de-DE" sz="1100" i="1" dirty="0" err="1">
                <a:solidFill>
                  <a:schemeClr val="tx1">
                    <a:lumMod val="50000"/>
                  </a:schemeClr>
                </a:solidFill>
              </a:rPr>
              <a:t>steering_angle</a:t>
            </a:r>
            <a:r>
              <a:rPr lang="de-DE" sz="1100" i="1" dirty="0">
                <a:solidFill>
                  <a:schemeClr val="tx1">
                    <a:lumMod val="50000"/>
                  </a:schemeClr>
                </a:solidFill>
              </a:rPr>
              <a:t>, </a:t>
            </a:r>
            <a:r>
              <a:rPr lang="de-DE" sz="1100" i="1" dirty="0" err="1">
                <a:solidFill>
                  <a:schemeClr val="tx1">
                    <a:lumMod val="50000"/>
                  </a:schemeClr>
                </a:solidFill>
              </a:rPr>
              <a:t>speed</a:t>
            </a:r>
            <a:endParaRPr lang="de-DE" sz="1100" i="1" dirty="0">
              <a:solidFill>
                <a:schemeClr val="tx1">
                  <a:lumMod val="50000"/>
                </a:schemeClr>
              </a:solidFill>
            </a:endParaRPr>
          </a:p>
          <a:p>
            <a:pPr marL="285750" indent="-285750" algn="l">
              <a:buFont typeface="Arial" panose="020B0604020202020204" pitchFamily="34" charset="0"/>
              <a:buChar char="•"/>
            </a:pPr>
            <a:r>
              <a:rPr lang="de-DE" sz="1100" i="1" dirty="0">
                <a:solidFill>
                  <a:schemeClr val="tx1">
                    <a:lumMod val="50000"/>
                  </a:schemeClr>
                </a:solidFill>
              </a:rPr>
              <a:t>Fahrmodi 1 &amp; 2</a:t>
            </a:r>
          </a:p>
        </p:txBody>
      </p:sp>
      <p:sp>
        <p:nvSpPr>
          <p:cNvPr id="20" name="Textfeld 19">
            <a:extLst>
              <a:ext uri="{FF2B5EF4-FFF2-40B4-BE49-F238E27FC236}">
                <a16:creationId xmlns:a16="http://schemas.microsoft.com/office/drawing/2014/main" id="{15EA96E9-DB0B-92E4-6FC9-8D97624FE339}"/>
              </a:ext>
            </a:extLst>
          </p:cNvPr>
          <p:cNvSpPr txBox="1"/>
          <p:nvPr/>
        </p:nvSpPr>
        <p:spPr>
          <a:xfrm>
            <a:off x="989871" y="2741547"/>
            <a:ext cx="2581125" cy="677108"/>
          </a:xfrm>
          <a:prstGeom prst="rect">
            <a:avLst/>
          </a:prstGeom>
          <a:noFill/>
        </p:spPr>
        <p:txBody>
          <a:bodyPr wrap="square" lIns="0" tIns="0" rIns="0" bIns="0" rtlCol="0">
            <a:spAutoFit/>
          </a:bodyPr>
          <a:lstStyle/>
          <a:p>
            <a:pPr algn="l"/>
            <a:r>
              <a:rPr lang="de-DE" sz="1100" i="1" dirty="0">
                <a:solidFill>
                  <a:schemeClr val="tx1">
                    <a:lumMod val="50000"/>
                  </a:schemeClr>
                </a:solidFill>
              </a:rPr>
              <a:t>Enthält Klasse „</a:t>
            </a:r>
            <a:r>
              <a:rPr lang="de-DE" sz="1100" i="1" dirty="0" err="1">
                <a:solidFill>
                  <a:schemeClr val="tx1">
                    <a:lumMod val="50000"/>
                  </a:schemeClr>
                </a:solidFill>
              </a:rPr>
              <a:t>SonicCar</a:t>
            </a:r>
            <a:r>
              <a:rPr lang="de-DE" sz="1100" i="1" dirty="0">
                <a:solidFill>
                  <a:schemeClr val="tx1">
                    <a:lumMod val="50000"/>
                  </a:schemeClr>
                </a:solidFill>
              </a:rPr>
              <a:t>“</a:t>
            </a:r>
          </a:p>
          <a:p>
            <a:pPr marL="285750" indent="-285750" algn="l">
              <a:buFont typeface="Arial" panose="020B0604020202020204" pitchFamily="34" charset="0"/>
              <a:buChar char="•"/>
            </a:pPr>
            <a:r>
              <a:rPr lang="de-DE" sz="1100" i="1" dirty="0">
                <a:solidFill>
                  <a:schemeClr val="tx1">
                    <a:lumMod val="50000"/>
                  </a:schemeClr>
                </a:solidFill>
              </a:rPr>
              <a:t>Ultraschall-Fahrmodi 3 &amp; 4</a:t>
            </a:r>
          </a:p>
          <a:p>
            <a:pPr marL="285750" indent="-285750" algn="l">
              <a:buFont typeface="Arial" panose="020B0604020202020204" pitchFamily="34" charset="0"/>
              <a:buChar char="•"/>
            </a:pPr>
            <a:r>
              <a:rPr lang="de-DE" sz="1100" i="1" dirty="0">
                <a:solidFill>
                  <a:schemeClr val="tx1">
                    <a:lumMod val="50000"/>
                  </a:schemeClr>
                </a:solidFill>
              </a:rPr>
              <a:t>Hinderniserkennung &amp; Erkundungstour</a:t>
            </a:r>
          </a:p>
        </p:txBody>
      </p:sp>
      <p:sp>
        <p:nvSpPr>
          <p:cNvPr id="21" name="Textfeld 20">
            <a:extLst>
              <a:ext uri="{FF2B5EF4-FFF2-40B4-BE49-F238E27FC236}">
                <a16:creationId xmlns:a16="http://schemas.microsoft.com/office/drawing/2014/main" id="{7D5078F2-83C1-456A-5DD9-2099EB4CA8FE}"/>
              </a:ext>
            </a:extLst>
          </p:cNvPr>
          <p:cNvSpPr txBox="1"/>
          <p:nvPr/>
        </p:nvSpPr>
        <p:spPr>
          <a:xfrm>
            <a:off x="989870" y="3765898"/>
            <a:ext cx="2581125" cy="846386"/>
          </a:xfrm>
          <a:prstGeom prst="rect">
            <a:avLst/>
          </a:prstGeom>
          <a:noFill/>
        </p:spPr>
        <p:txBody>
          <a:bodyPr wrap="square" lIns="0" tIns="0" rIns="0" bIns="0" rtlCol="0">
            <a:spAutoFit/>
          </a:bodyPr>
          <a:lstStyle/>
          <a:p>
            <a:pPr algn="l"/>
            <a:r>
              <a:rPr lang="de-DE" sz="1100" i="1" dirty="0">
                <a:solidFill>
                  <a:schemeClr val="tx1">
                    <a:lumMod val="50000"/>
                  </a:schemeClr>
                </a:solidFill>
              </a:rPr>
              <a:t>Enthält Klasse „</a:t>
            </a:r>
            <a:r>
              <a:rPr lang="de-DE" sz="1100" i="1" dirty="0" err="1">
                <a:solidFill>
                  <a:schemeClr val="tx1">
                    <a:lumMod val="50000"/>
                  </a:schemeClr>
                </a:solidFill>
              </a:rPr>
              <a:t>SensorCar</a:t>
            </a:r>
            <a:r>
              <a:rPr lang="de-DE" sz="1100" i="1" dirty="0">
                <a:solidFill>
                  <a:schemeClr val="tx1">
                    <a:lumMod val="50000"/>
                  </a:schemeClr>
                </a:solidFill>
              </a:rPr>
              <a:t>“</a:t>
            </a:r>
          </a:p>
          <a:p>
            <a:pPr marL="285750" indent="-285750" algn="l">
              <a:buFont typeface="Arial" panose="020B0604020202020204" pitchFamily="34" charset="0"/>
              <a:buChar char="•"/>
            </a:pPr>
            <a:r>
              <a:rPr lang="de-DE" sz="1100" i="1" dirty="0">
                <a:solidFill>
                  <a:schemeClr val="tx1">
                    <a:lumMod val="50000"/>
                  </a:schemeClr>
                </a:solidFill>
              </a:rPr>
              <a:t>IR-Linienverfolgung </a:t>
            </a:r>
            <a:br>
              <a:rPr lang="de-DE" sz="1100" i="1" dirty="0">
                <a:solidFill>
                  <a:schemeClr val="tx1">
                    <a:lumMod val="50000"/>
                  </a:schemeClr>
                </a:solidFill>
              </a:rPr>
            </a:br>
            <a:r>
              <a:rPr lang="de-DE" sz="1100" i="1" dirty="0">
                <a:solidFill>
                  <a:schemeClr val="tx1">
                    <a:lumMod val="50000"/>
                  </a:schemeClr>
                </a:solidFill>
              </a:rPr>
              <a:t>(Fahrmodi 5-7) </a:t>
            </a:r>
          </a:p>
          <a:p>
            <a:pPr marL="285750" indent="-285750" algn="l">
              <a:buFont typeface="Arial" panose="020B0604020202020204" pitchFamily="34" charset="0"/>
              <a:buChar char="•"/>
            </a:pPr>
            <a:r>
              <a:rPr lang="de-DE" sz="1100" i="1" dirty="0">
                <a:solidFill>
                  <a:schemeClr val="tx1">
                    <a:lumMod val="50000"/>
                  </a:schemeClr>
                </a:solidFill>
              </a:rPr>
              <a:t>Kombination aus IR- &amp; Ultraschallsensoren </a:t>
            </a:r>
          </a:p>
        </p:txBody>
      </p:sp>
      <p:cxnSp>
        <p:nvCxnSpPr>
          <p:cNvPr id="23" name="Gerade Verbindung mit Pfeil 22">
            <a:extLst>
              <a:ext uri="{FF2B5EF4-FFF2-40B4-BE49-F238E27FC236}">
                <a16:creationId xmlns:a16="http://schemas.microsoft.com/office/drawing/2014/main" id="{D373A4A7-6648-FD3E-5D51-2A5C8AE4ED01}"/>
              </a:ext>
            </a:extLst>
          </p:cNvPr>
          <p:cNvCxnSpPr>
            <a:cxnSpLocks/>
          </p:cNvCxnSpPr>
          <p:nvPr/>
        </p:nvCxnSpPr>
        <p:spPr>
          <a:xfrm flipH="1" flipV="1">
            <a:off x="2844800" y="1805454"/>
            <a:ext cx="1567058" cy="1035290"/>
          </a:xfrm>
          <a:prstGeom prst="straightConnector1">
            <a:avLst/>
          </a:prstGeom>
          <a:ln>
            <a:headEnd type="none" w="med" len="sm"/>
            <a:tailEnd type="triangle"/>
          </a:ln>
        </p:spPr>
        <p:style>
          <a:lnRef idx="1">
            <a:schemeClr val="accent6"/>
          </a:lnRef>
          <a:fillRef idx="0">
            <a:schemeClr val="accent6"/>
          </a:fillRef>
          <a:effectRef idx="0">
            <a:schemeClr val="accent6"/>
          </a:effectRef>
          <a:fontRef idx="minor">
            <a:schemeClr val="tx1"/>
          </a:fontRef>
        </p:style>
      </p:cxnSp>
      <p:cxnSp>
        <p:nvCxnSpPr>
          <p:cNvPr id="26" name="Gerade Verbindung mit Pfeil 25">
            <a:extLst>
              <a:ext uri="{FF2B5EF4-FFF2-40B4-BE49-F238E27FC236}">
                <a16:creationId xmlns:a16="http://schemas.microsoft.com/office/drawing/2014/main" id="{38167A5B-88C7-9D7B-A9DC-6E8C1C9CF9BD}"/>
              </a:ext>
            </a:extLst>
          </p:cNvPr>
          <p:cNvCxnSpPr>
            <a:cxnSpLocks/>
          </p:cNvCxnSpPr>
          <p:nvPr/>
        </p:nvCxnSpPr>
        <p:spPr>
          <a:xfrm flipH="1" flipV="1">
            <a:off x="2844800" y="2755196"/>
            <a:ext cx="1567058" cy="1035290"/>
          </a:xfrm>
          <a:prstGeom prst="straightConnector1">
            <a:avLst/>
          </a:prstGeom>
          <a:ln>
            <a:headEnd type="none" w="med" len="sm"/>
            <a:tailEnd type="triangle"/>
          </a:ln>
        </p:spPr>
        <p:style>
          <a:lnRef idx="1">
            <a:schemeClr val="accent6"/>
          </a:lnRef>
          <a:fillRef idx="0">
            <a:schemeClr val="accent6"/>
          </a:fillRef>
          <a:effectRef idx="0">
            <a:schemeClr val="accent6"/>
          </a:effectRef>
          <a:fontRef idx="minor">
            <a:schemeClr val="tx1"/>
          </a:fontRef>
        </p:style>
      </p:cxnSp>
      <p:cxnSp>
        <p:nvCxnSpPr>
          <p:cNvPr id="27" name="Gerade Verbindung mit Pfeil 26">
            <a:extLst>
              <a:ext uri="{FF2B5EF4-FFF2-40B4-BE49-F238E27FC236}">
                <a16:creationId xmlns:a16="http://schemas.microsoft.com/office/drawing/2014/main" id="{358BE14D-4D77-D7A8-BC84-CC2A853357FD}"/>
              </a:ext>
            </a:extLst>
          </p:cNvPr>
          <p:cNvCxnSpPr>
            <a:cxnSpLocks/>
          </p:cNvCxnSpPr>
          <p:nvPr/>
        </p:nvCxnSpPr>
        <p:spPr>
          <a:xfrm flipH="1" flipV="1">
            <a:off x="2829559" y="3817819"/>
            <a:ext cx="1567058" cy="1035290"/>
          </a:xfrm>
          <a:prstGeom prst="straightConnector1">
            <a:avLst/>
          </a:prstGeom>
          <a:ln>
            <a:headEnd type="none" w="med" len="sm"/>
            <a:tailEnd type="triangle"/>
          </a:ln>
        </p:spPr>
        <p:style>
          <a:lnRef idx="1">
            <a:schemeClr val="accent6"/>
          </a:lnRef>
          <a:fillRef idx="0">
            <a:schemeClr val="accent6"/>
          </a:fillRef>
          <a:effectRef idx="0">
            <a:schemeClr val="accent6"/>
          </a:effectRef>
          <a:fontRef idx="minor">
            <a:schemeClr val="tx1"/>
          </a:fontRef>
        </p:style>
      </p:cxnSp>
      <p:sp>
        <p:nvSpPr>
          <p:cNvPr id="28" name="Datumsplatzhalter 1">
            <a:extLst>
              <a:ext uri="{FF2B5EF4-FFF2-40B4-BE49-F238E27FC236}">
                <a16:creationId xmlns:a16="http://schemas.microsoft.com/office/drawing/2014/main" id="{914A2133-969C-B89E-1017-9CB7D52197A8}"/>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29" name="Fußzeilenplatzhalter 2">
            <a:extLst>
              <a:ext uri="{FF2B5EF4-FFF2-40B4-BE49-F238E27FC236}">
                <a16:creationId xmlns:a16="http://schemas.microsoft.com/office/drawing/2014/main" id="{339D2326-C9E7-7D00-F439-53E7F1BC2FEC}"/>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Tree>
    <p:extLst>
      <p:ext uri="{BB962C8B-B14F-4D97-AF65-F5344CB8AC3E}">
        <p14:creationId xmlns:p14="http://schemas.microsoft.com/office/powerpoint/2010/main" val="585062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09BE69-46BF-8FA1-2978-FE963E1A9267}"/>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C979CC-F877-A271-BF3E-E95520B3A8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9" name="think-cell data - do not delete" hidden="1">
                        <a:extLst>
                          <a:ext uri="{FF2B5EF4-FFF2-40B4-BE49-F238E27FC236}">
                            <a16:creationId xmlns:a16="http://schemas.microsoft.com/office/drawing/2014/main" id="{22C979CC-F877-A271-BF3E-E95520B3A8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012DF3B6-B8B9-73B3-9EDA-EA0EAEA56264}"/>
              </a:ext>
            </a:extLst>
          </p:cNvPr>
          <p:cNvSpPr>
            <a:spLocks noGrp="1"/>
          </p:cNvSpPr>
          <p:nvPr>
            <p:ph type="sldNum" sz="quarter" idx="12"/>
          </p:nvPr>
        </p:nvSpPr>
        <p:spPr/>
        <p:txBody>
          <a:bodyPr/>
          <a:lstStyle/>
          <a:p>
            <a:fld id="{53C98C43-8B83-4748-BA0D-B0C90A16569F}" type="slidenum">
              <a:rPr lang="en-US" noProof="0" smtClean="0"/>
              <a:pPr/>
              <a:t>7</a:t>
            </a:fld>
            <a:endParaRPr lang="en-US" noProof="0"/>
          </a:p>
        </p:txBody>
      </p:sp>
      <p:sp>
        <p:nvSpPr>
          <p:cNvPr id="6" name="Titel 5">
            <a:extLst>
              <a:ext uri="{FF2B5EF4-FFF2-40B4-BE49-F238E27FC236}">
                <a16:creationId xmlns:a16="http://schemas.microsoft.com/office/drawing/2014/main" id="{051E2526-C920-B93A-6B7E-7D8BB222B913}"/>
              </a:ext>
            </a:extLst>
          </p:cNvPr>
          <p:cNvSpPr>
            <a:spLocks noGrp="1"/>
          </p:cNvSpPr>
          <p:nvPr>
            <p:ph type="title"/>
          </p:nvPr>
        </p:nvSpPr>
        <p:spPr/>
        <p:txBody>
          <a:bodyPr vert="horz"/>
          <a:lstStyle/>
          <a:p>
            <a:r>
              <a:rPr lang="de-DE" dirty="0"/>
              <a:t>Konzeption des Programmes</a:t>
            </a:r>
          </a:p>
        </p:txBody>
      </p:sp>
      <p:sp>
        <p:nvSpPr>
          <p:cNvPr id="7" name="Textplatzhalter 6">
            <a:extLst>
              <a:ext uri="{FF2B5EF4-FFF2-40B4-BE49-F238E27FC236}">
                <a16:creationId xmlns:a16="http://schemas.microsoft.com/office/drawing/2014/main" id="{65B50D87-29BD-31D5-B0EF-D7874F09B758}"/>
              </a:ext>
            </a:extLst>
          </p:cNvPr>
          <p:cNvSpPr>
            <a:spLocks noGrp="1"/>
          </p:cNvSpPr>
          <p:nvPr>
            <p:ph type="body" sz="quarter" idx="15"/>
          </p:nvPr>
        </p:nvSpPr>
        <p:spPr/>
        <p:txBody>
          <a:bodyPr/>
          <a:lstStyle/>
          <a:p>
            <a:r>
              <a:rPr lang="de-DE" dirty="0"/>
              <a:t>Klassendiagramm*</a:t>
            </a:r>
          </a:p>
        </p:txBody>
      </p:sp>
      <p:pic>
        <p:nvPicPr>
          <p:cNvPr id="1028" name="Picture 4">
            <a:extLst>
              <a:ext uri="{FF2B5EF4-FFF2-40B4-BE49-F238E27FC236}">
                <a16:creationId xmlns:a16="http://schemas.microsoft.com/office/drawing/2014/main" id="{6AB66E50-3060-0EA3-1C00-A7C37AD56DE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6400" y="1576631"/>
            <a:ext cx="11257280" cy="4458938"/>
          </a:xfrm>
          <a:prstGeom prst="rect">
            <a:avLst/>
          </a:prstGeom>
          <a:noFill/>
          <a:extLst>
            <a:ext uri="{909E8E84-426E-40DD-AFC4-6F175D3DCCD1}">
              <a14:hiddenFill xmlns:a14="http://schemas.microsoft.com/office/drawing/2010/main">
                <a:solidFill>
                  <a:srgbClr val="FFFFFF"/>
                </a:solidFill>
              </a14:hiddenFill>
            </a:ext>
          </a:extLst>
        </p:spPr>
      </p:pic>
      <p:sp>
        <p:nvSpPr>
          <p:cNvPr id="5" name="Geschweifte Klammer rechts 4">
            <a:extLst>
              <a:ext uri="{FF2B5EF4-FFF2-40B4-BE49-F238E27FC236}">
                <a16:creationId xmlns:a16="http://schemas.microsoft.com/office/drawing/2014/main" id="{9A60E40D-BF87-40F0-9990-3985872B55DB}"/>
              </a:ext>
            </a:extLst>
          </p:cNvPr>
          <p:cNvSpPr/>
          <p:nvPr/>
        </p:nvSpPr>
        <p:spPr>
          <a:xfrm>
            <a:off x="2731008" y="1737360"/>
            <a:ext cx="103632" cy="292608"/>
          </a:xfrm>
          <a:prstGeom prst="rightBrac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Geschweifte Klammer rechts 7">
            <a:extLst>
              <a:ext uri="{FF2B5EF4-FFF2-40B4-BE49-F238E27FC236}">
                <a16:creationId xmlns:a16="http://schemas.microsoft.com/office/drawing/2014/main" id="{85330354-4B0B-E2F8-21B5-6F3904193D0E}"/>
              </a:ext>
            </a:extLst>
          </p:cNvPr>
          <p:cNvSpPr/>
          <p:nvPr/>
        </p:nvSpPr>
        <p:spPr>
          <a:xfrm>
            <a:off x="2731008" y="1598269"/>
            <a:ext cx="103632" cy="124666"/>
          </a:xfrm>
          <a:prstGeom prst="rightBrac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Geschweifte Klammer rechts 9">
            <a:extLst>
              <a:ext uri="{FF2B5EF4-FFF2-40B4-BE49-F238E27FC236}">
                <a16:creationId xmlns:a16="http://schemas.microsoft.com/office/drawing/2014/main" id="{F56654A4-4FE5-8424-66C7-0CE62F3351D4}"/>
              </a:ext>
            </a:extLst>
          </p:cNvPr>
          <p:cNvSpPr/>
          <p:nvPr/>
        </p:nvSpPr>
        <p:spPr>
          <a:xfrm>
            <a:off x="2731008" y="2044393"/>
            <a:ext cx="103632" cy="292608"/>
          </a:xfrm>
          <a:prstGeom prst="rightBrac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feld 10">
            <a:extLst>
              <a:ext uri="{FF2B5EF4-FFF2-40B4-BE49-F238E27FC236}">
                <a16:creationId xmlns:a16="http://schemas.microsoft.com/office/drawing/2014/main" id="{DCB7AED7-F2A2-7A58-31DA-48E3687A79E2}"/>
              </a:ext>
            </a:extLst>
          </p:cNvPr>
          <p:cNvSpPr txBox="1"/>
          <p:nvPr/>
        </p:nvSpPr>
        <p:spPr>
          <a:xfrm>
            <a:off x="2880360" y="1552880"/>
            <a:ext cx="1344930" cy="215444"/>
          </a:xfrm>
          <a:prstGeom prst="rect">
            <a:avLst/>
          </a:prstGeom>
          <a:noFill/>
        </p:spPr>
        <p:txBody>
          <a:bodyPr wrap="square" lIns="0" tIns="0" rIns="0" bIns="0" rtlCol="0">
            <a:spAutoFit/>
          </a:bodyPr>
          <a:lstStyle/>
          <a:p>
            <a:pPr algn="l"/>
            <a:r>
              <a:rPr lang="de-DE" sz="1400" dirty="0">
                <a:solidFill>
                  <a:srgbClr val="008C82"/>
                </a:solidFill>
              </a:rPr>
              <a:t>Klassenname</a:t>
            </a:r>
          </a:p>
        </p:txBody>
      </p:sp>
      <p:sp>
        <p:nvSpPr>
          <p:cNvPr id="12" name="Textfeld 11">
            <a:extLst>
              <a:ext uri="{FF2B5EF4-FFF2-40B4-BE49-F238E27FC236}">
                <a16:creationId xmlns:a16="http://schemas.microsoft.com/office/drawing/2014/main" id="{349FDCEA-F724-8FCF-5A95-F36A0D7A7387}"/>
              </a:ext>
            </a:extLst>
          </p:cNvPr>
          <p:cNvSpPr txBox="1"/>
          <p:nvPr/>
        </p:nvSpPr>
        <p:spPr>
          <a:xfrm>
            <a:off x="2880360" y="1796427"/>
            <a:ext cx="1344930" cy="215444"/>
          </a:xfrm>
          <a:prstGeom prst="rect">
            <a:avLst/>
          </a:prstGeom>
          <a:noFill/>
        </p:spPr>
        <p:txBody>
          <a:bodyPr wrap="square" lIns="0" tIns="0" rIns="0" bIns="0" rtlCol="0">
            <a:spAutoFit/>
          </a:bodyPr>
          <a:lstStyle/>
          <a:p>
            <a:pPr algn="l"/>
            <a:r>
              <a:rPr lang="de-DE" sz="1400" dirty="0">
                <a:solidFill>
                  <a:srgbClr val="008C82"/>
                </a:solidFill>
              </a:rPr>
              <a:t>Attribute </a:t>
            </a:r>
          </a:p>
        </p:txBody>
      </p:sp>
      <p:sp>
        <p:nvSpPr>
          <p:cNvPr id="13" name="Textfeld 12">
            <a:extLst>
              <a:ext uri="{FF2B5EF4-FFF2-40B4-BE49-F238E27FC236}">
                <a16:creationId xmlns:a16="http://schemas.microsoft.com/office/drawing/2014/main" id="{AC1C3454-9010-C3D5-0D73-B8962D56007B}"/>
              </a:ext>
            </a:extLst>
          </p:cNvPr>
          <p:cNvSpPr txBox="1"/>
          <p:nvPr/>
        </p:nvSpPr>
        <p:spPr>
          <a:xfrm>
            <a:off x="2880360" y="2082975"/>
            <a:ext cx="1344930" cy="215444"/>
          </a:xfrm>
          <a:prstGeom prst="rect">
            <a:avLst/>
          </a:prstGeom>
          <a:noFill/>
        </p:spPr>
        <p:txBody>
          <a:bodyPr wrap="square" lIns="0" tIns="0" rIns="0" bIns="0" rtlCol="0">
            <a:spAutoFit/>
          </a:bodyPr>
          <a:lstStyle/>
          <a:p>
            <a:pPr algn="l"/>
            <a:r>
              <a:rPr lang="de-DE" sz="1400" dirty="0">
                <a:solidFill>
                  <a:srgbClr val="008C82"/>
                </a:solidFill>
              </a:rPr>
              <a:t>Methoden</a:t>
            </a:r>
          </a:p>
        </p:txBody>
      </p:sp>
      <p:sp>
        <p:nvSpPr>
          <p:cNvPr id="14" name="Textfeld 13">
            <a:extLst>
              <a:ext uri="{FF2B5EF4-FFF2-40B4-BE49-F238E27FC236}">
                <a16:creationId xmlns:a16="http://schemas.microsoft.com/office/drawing/2014/main" id="{8C59A600-5776-1E54-DD93-594AAB733329}"/>
              </a:ext>
            </a:extLst>
          </p:cNvPr>
          <p:cNvSpPr txBox="1"/>
          <p:nvPr/>
        </p:nvSpPr>
        <p:spPr>
          <a:xfrm>
            <a:off x="404848" y="6364437"/>
            <a:ext cx="3696648" cy="215444"/>
          </a:xfrm>
          <a:prstGeom prst="rect">
            <a:avLst/>
          </a:prstGeom>
          <a:noFill/>
        </p:spPr>
        <p:txBody>
          <a:bodyPr wrap="square" lIns="0" tIns="0" rIns="0" bIns="0" rtlCol="0">
            <a:spAutoFit/>
          </a:bodyPr>
          <a:lstStyle/>
          <a:p>
            <a:pPr algn="l"/>
            <a:r>
              <a:rPr lang="de-DE" sz="1400" i="1" dirty="0">
                <a:solidFill>
                  <a:schemeClr val="tx2"/>
                </a:solidFill>
              </a:rPr>
              <a:t>* Erstellt mit </a:t>
            </a:r>
            <a:r>
              <a:rPr lang="de-DE" sz="1400" i="1" dirty="0" err="1">
                <a:solidFill>
                  <a:schemeClr val="tx2"/>
                </a:solidFill>
              </a:rPr>
              <a:t>Pyreverse</a:t>
            </a:r>
            <a:r>
              <a:rPr lang="de-DE" sz="1400" i="1" dirty="0">
                <a:solidFill>
                  <a:schemeClr val="tx2"/>
                </a:solidFill>
              </a:rPr>
              <a:t> und </a:t>
            </a:r>
            <a:r>
              <a:rPr lang="de-DE" sz="1400" i="1" dirty="0" err="1">
                <a:solidFill>
                  <a:schemeClr val="tx2"/>
                </a:solidFill>
              </a:rPr>
              <a:t>Graphviz</a:t>
            </a:r>
            <a:endParaRPr lang="de-DE" sz="1400" i="1" dirty="0">
              <a:solidFill>
                <a:schemeClr val="tx2"/>
              </a:solidFill>
            </a:endParaRPr>
          </a:p>
        </p:txBody>
      </p:sp>
      <p:sp>
        <p:nvSpPr>
          <p:cNvPr id="17" name="Datumsplatzhalter 1">
            <a:extLst>
              <a:ext uri="{FF2B5EF4-FFF2-40B4-BE49-F238E27FC236}">
                <a16:creationId xmlns:a16="http://schemas.microsoft.com/office/drawing/2014/main" id="{07E7D69F-C669-1305-CD83-01CBF38FF4C7}"/>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18" name="Fußzeilenplatzhalter 2">
            <a:extLst>
              <a:ext uri="{FF2B5EF4-FFF2-40B4-BE49-F238E27FC236}">
                <a16:creationId xmlns:a16="http://schemas.microsoft.com/office/drawing/2014/main" id="{933AC668-EBA9-35FF-1428-867860779757}"/>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Tree>
    <p:extLst>
      <p:ext uri="{BB962C8B-B14F-4D97-AF65-F5344CB8AC3E}">
        <p14:creationId xmlns:p14="http://schemas.microsoft.com/office/powerpoint/2010/main" val="3005583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34DD3-FDED-8F35-6B6A-B22D1A2CA7CE}"/>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B84BC33-2AA6-57F9-7B53-684C33BE07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9" name="think-cell data - do not delete" hidden="1">
                        <a:extLst>
                          <a:ext uri="{FF2B5EF4-FFF2-40B4-BE49-F238E27FC236}">
                            <a16:creationId xmlns:a16="http://schemas.microsoft.com/office/drawing/2014/main" id="{7B84BC33-2AA6-57F9-7B53-684C33BE07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4BDEF213-C92F-06E7-B07F-F0F7C7BA0946}"/>
              </a:ext>
            </a:extLst>
          </p:cNvPr>
          <p:cNvSpPr>
            <a:spLocks noGrp="1"/>
          </p:cNvSpPr>
          <p:nvPr>
            <p:ph type="sldNum" sz="quarter" idx="12"/>
          </p:nvPr>
        </p:nvSpPr>
        <p:spPr/>
        <p:txBody>
          <a:bodyPr/>
          <a:lstStyle/>
          <a:p>
            <a:fld id="{53C98C43-8B83-4748-BA0D-B0C90A16569F}" type="slidenum">
              <a:rPr lang="en-US" noProof="0" smtClean="0"/>
              <a:pPr/>
              <a:t>8</a:t>
            </a:fld>
            <a:endParaRPr lang="en-US" noProof="0"/>
          </a:p>
        </p:txBody>
      </p:sp>
      <p:sp>
        <p:nvSpPr>
          <p:cNvPr id="6" name="Titel 5">
            <a:extLst>
              <a:ext uri="{FF2B5EF4-FFF2-40B4-BE49-F238E27FC236}">
                <a16:creationId xmlns:a16="http://schemas.microsoft.com/office/drawing/2014/main" id="{AB983211-5B26-9EE3-A223-ACFC9D6F05AC}"/>
              </a:ext>
            </a:extLst>
          </p:cNvPr>
          <p:cNvSpPr>
            <a:spLocks noGrp="1"/>
          </p:cNvSpPr>
          <p:nvPr>
            <p:ph type="title"/>
          </p:nvPr>
        </p:nvSpPr>
        <p:spPr/>
        <p:txBody>
          <a:bodyPr vert="horz"/>
          <a:lstStyle/>
          <a:p>
            <a:r>
              <a:rPr lang="de-DE" dirty="0"/>
              <a:t>Konzeption des Programmes</a:t>
            </a:r>
          </a:p>
        </p:txBody>
      </p:sp>
      <p:sp>
        <p:nvSpPr>
          <p:cNvPr id="7" name="Textplatzhalter 6">
            <a:extLst>
              <a:ext uri="{FF2B5EF4-FFF2-40B4-BE49-F238E27FC236}">
                <a16:creationId xmlns:a16="http://schemas.microsoft.com/office/drawing/2014/main" id="{F450FD56-2FA2-3196-05F0-6C2A64FE5D37}"/>
              </a:ext>
            </a:extLst>
          </p:cNvPr>
          <p:cNvSpPr>
            <a:spLocks noGrp="1"/>
          </p:cNvSpPr>
          <p:nvPr>
            <p:ph type="body" sz="quarter" idx="15"/>
          </p:nvPr>
        </p:nvSpPr>
        <p:spPr/>
        <p:txBody>
          <a:bodyPr/>
          <a:lstStyle/>
          <a:p>
            <a:r>
              <a:rPr lang="de-DE" dirty="0"/>
              <a:t>Klassendiagramm*</a:t>
            </a:r>
          </a:p>
        </p:txBody>
      </p:sp>
      <p:pic>
        <p:nvPicPr>
          <p:cNvPr id="1028" name="Picture 4">
            <a:extLst>
              <a:ext uri="{FF2B5EF4-FFF2-40B4-BE49-F238E27FC236}">
                <a16:creationId xmlns:a16="http://schemas.microsoft.com/office/drawing/2014/main" id="{0A2E0BAC-7E7C-EB3D-F898-06558588790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6400" y="1576631"/>
            <a:ext cx="11257280" cy="4458938"/>
          </a:xfrm>
          <a:prstGeom prst="rect">
            <a:avLst/>
          </a:prstGeom>
          <a:noFill/>
          <a:extLst>
            <a:ext uri="{909E8E84-426E-40DD-AFC4-6F175D3DCCD1}">
              <a14:hiddenFill xmlns:a14="http://schemas.microsoft.com/office/drawing/2010/main">
                <a:solidFill>
                  <a:srgbClr val="FFFFFF"/>
                </a:solidFill>
              </a14:hiddenFill>
            </a:ext>
          </a:extLst>
        </p:spPr>
      </p:pic>
      <p:sp>
        <p:nvSpPr>
          <p:cNvPr id="5" name="Geschweifte Klammer rechts 4">
            <a:extLst>
              <a:ext uri="{FF2B5EF4-FFF2-40B4-BE49-F238E27FC236}">
                <a16:creationId xmlns:a16="http://schemas.microsoft.com/office/drawing/2014/main" id="{C5F57396-CDF2-100F-9242-E3D6FB776F54}"/>
              </a:ext>
            </a:extLst>
          </p:cNvPr>
          <p:cNvSpPr/>
          <p:nvPr/>
        </p:nvSpPr>
        <p:spPr>
          <a:xfrm>
            <a:off x="2731008" y="1737360"/>
            <a:ext cx="103632" cy="292608"/>
          </a:xfrm>
          <a:prstGeom prst="rightBrac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Geschweifte Klammer rechts 7">
            <a:extLst>
              <a:ext uri="{FF2B5EF4-FFF2-40B4-BE49-F238E27FC236}">
                <a16:creationId xmlns:a16="http://schemas.microsoft.com/office/drawing/2014/main" id="{C9075C7B-D3A8-830C-C69C-34D8D43F64AC}"/>
              </a:ext>
            </a:extLst>
          </p:cNvPr>
          <p:cNvSpPr/>
          <p:nvPr/>
        </p:nvSpPr>
        <p:spPr>
          <a:xfrm>
            <a:off x="2731008" y="1598269"/>
            <a:ext cx="103632" cy="124666"/>
          </a:xfrm>
          <a:prstGeom prst="rightBrac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Geschweifte Klammer rechts 9">
            <a:extLst>
              <a:ext uri="{FF2B5EF4-FFF2-40B4-BE49-F238E27FC236}">
                <a16:creationId xmlns:a16="http://schemas.microsoft.com/office/drawing/2014/main" id="{8714818A-D6FD-6BD8-BA5C-743EC2FF7AE5}"/>
              </a:ext>
            </a:extLst>
          </p:cNvPr>
          <p:cNvSpPr/>
          <p:nvPr/>
        </p:nvSpPr>
        <p:spPr>
          <a:xfrm>
            <a:off x="2731008" y="2044393"/>
            <a:ext cx="103632" cy="292608"/>
          </a:xfrm>
          <a:prstGeom prst="rightBrac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feld 10">
            <a:extLst>
              <a:ext uri="{FF2B5EF4-FFF2-40B4-BE49-F238E27FC236}">
                <a16:creationId xmlns:a16="http://schemas.microsoft.com/office/drawing/2014/main" id="{EEE94290-A057-624C-638D-7087A2BD1349}"/>
              </a:ext>
            </a:extLst>
          </p:cNvPr>
          <p:cNvSpPr txBox="1"/>
          <p:nvPr/>
        </p:nvSpPr>
        <p:spPr>
          <a:xfrm>
            <a:off x="2880360" y="1552880"/>
            <a:ext cx="1344930" cy="215444"/>
          </a:xfrm>
          <a:prstGeom prst="rect">
            <a:avLst/>
          </a:prstGeom>
          <a:noFill/>
        </p:spPr>
        <p:txBody>
          <a:bodyPr wrap="square" lIns="0" tIns="0" rIns="0" bIns="0" rtlCol="0">
            <a:spAutoFit/>
          </a:bodyPr>
          <a:lstStyle/>
          <a:p>
            <a:pPr algn="l"/>
            <a:r>
              <a:rPr lang="de-DE" sz="1400" dirty="0">
                <a:solidFill>
                  <a:srgbClr val="008C82"/>
                </a:solidFill>
              </a:rPr>
              <a:t>Klassenname</a:t>
            </a:r>
          </a:p>
        </p:txBody>
      </p:sp>
      <p:sp>
        <p:nvSpPr>
          <p:cNvPr id="12" name="Textfeld 11">
            <a:extLst>
              <a:ext uri="{FF2B5EF4-FFF2-40B4-BE49-F238E27FC236}">
                <a16:creationId xmlns:a16="http://schemas.microsoft.com/office/drawing/2014/main" id="{D1E07C60-FA6C-6248-D2B5-7C1F83F2E963}"/>
              </a:ext>
            </a:extLst>
          </p:cNvPr>
          <p:cNvSpPr txBox="1"/>
          <p:nvPr/>
        </p:nvSpPr>
        <p:spPr>
          <a:xfrm>
            <a:off x="2880360" y="1796427"/>
            <a:ext cx="1344930" cy="215444"/>
          </a:xfrm>
          <a:prstGeom prst="rect">
            <a:avLst/>
          </a:prstGeom>
          <a:noFill/>
        </p:spPr>
        <p:txBody>
          <a:bodyPr wrap="square" lIns="0" tIns="0" rIns="0" bIns="0" rtlCol="0">
            <a:spAutoFit/>
          </a:bodyPr>
          <a:lstStyle/>
          <a:p>
            <a:pPr algn="l"/>
            <a:r>
              <a:rPr lang="de-DE" sz="1400" dirty="0">
                <a:solidFill>
                  <a:srgbClr val="008C82"/>
                </a:solidFill>
              </a:rPr>
              <a:t>Attribute </a:t>
            </a:r>
          </a:p>
        </p:txBody>
      </p:sp>
      <p:sp>
        <p:nvSpPr>
          <p:cNvPr id="13" name="Textfeld 12">
            <a:extLst>
              <a:ext uri="{FF2B5EF4-FFF2-40B4-BE49-F238E27FC236}">
                <a16:creationId xmlns:a16="http://schemas.microsoft.com/office/drawing/2014/main" id="{9D6FBE04-6208-4CD9-1B65-181056DC3F14}"/>
              </a:ext>
            </a:extLst>
          </p:cNvPr>
          <p:cNvSpPr txBox="1"/>
          <p:nvPr/>
        </p:nvSpPr>
        <p:spPr>
          <a:xfrm>
            <a:off x="2880360" y="2082975"/>
            <a:ext cx="1344930" cy="215444"/>
          </a:xfrm>
          <a:prstGeom prst="rect">
            <a:avLst/>
          </a:prstGeom>
          <a:noFill/>
        </p:spPr>
        <p:txBody>
          <a:bodyPr wrap="square" lIns="0" tIns="0" rIns="0" bIns="0" rtlCol="0">
            <a:spAutoFit/>
          </a:bodyPr>
          <a:lstStyle/>
          <a:p>
            <a:pPr algn="l"/>
            <a:r>
              <a:rPr lang="de-DE" sz="1400" dirty="0">
                <a:solidFill>
                  <a:srgbClr val="008C82"/>
                </a:solidFill>
              </a:rPr>
              <a:t>Methoden</a:t>
            </a:r>
          </a:p>
        </p:txBody>
      </p:sp>
      <p:sp>
        <p:nvSpPr>
          <p:cNvPr id="14" name="Textfeld 13">
            <a:extLst>
              <a:ext uri="{FF2B5EF4-FFF2-40B4-BE49-F238E27FC236}">
                <a16:creationId xmlns:a16="http://schemas.microsoft.com/office/drawing/2014/main" id="{FD5708D8-5F82-18C2-D8E5-C396DF3DD2C2}"/>
              </a:ext>
            </a:extLst>
          </p:cNvPr>
          <p:cNvSpPr txBox="1"/>
          <p:nvPr/>
        </p:nvSpPr>
        <p:spPr>
          <a:xfrm>
            <a:off x="404848" y="6364437"/>
            <a:ext cx="3696648" cy="215444"/>
          </a:xfrm>
          <a:prstGeom prst="rect">
            <a:avLst/>
          </a:prstGeom>
          <a:noFill/>
        </p:spPr>
        <p:txBody>
          <a:bodyPr wrap="square" lIns="0" tIns="0" rIns="0" bIns="0" rtlCol="0">
            <a:spAutoFit/>
          </a:bodyPr>
          <a:lstStyle/>
          <a:p>
            <a:pPr algn="l"/>
            <a:r>
              <a:rPr lang="de-DE" sz="1400" i="1" dirty="0">
                <a:solidFill>
                  <a:schemeClr val="tx2"/>
                </a:solidFill>
              </a:rPr>
              <a:t>* Erstellt mit </a:t>
            </a:r>
            <a:r>
              <a:rPr lang="de-DE" sz="1400" i="1" dirty="0" err="1">
                <a:solidFill>
                  <a:schemeClr val="tx2"/>
                </a:solidFill>
              </a:rPr>
              <a:t>Pyreverse</a:t>
            </a:r>
            <a:r>
              <a:rPr lang="de-DE" sz="1400" i="1" dirty="0">
                <a:solidFill>
                  <a:schemeClr val="tx2"/>
                </a:solidFill>
              </a:rPr>
              <a:t> und </a:t>
            </a:r>
            <a:r>
              <a:rPr lang="de-DE" sz="1400" i="1" dirty="0" err="1">
                <a:solidFill>
                  <a:schemeClr val="tx2"/>
                </a:solidFill>
              </a:rPr>
              <a:t>Graphviz</a:t>
            </a:r>
            <a:endParaRPr lang="de-DE" sz="1400" i="1" dirty="0">
              <a:solidFill>
                <a:schemeClr val="tx2"/>
              </a:solidFill>
            </a:endParaRPr>
          </a:p>
        </p:txBody>
      </p:sp>
      <p:sp>
        <p:nvSpPr>
          <p:cNvPr id="15" name="Rechteck 14">
            <a:extLst>
              <a:ext uri="{FF2B5EF4-FFF2-40B4-BE49-F238E27FC236}">
                <a16:creationId xmlns:a16="http://schemas.microsoft.com/office/drawing/2014/main" id="{B5857D24-AE6C-C356-F9B6-D7F4EEF26E94}"/>
              </a:ext>
            </a:extLst>
          </p:cNvPr>
          <p:cNvSpPr/>
          <p:nvPr/>
        </p:nvSpPr>
        <p:spPr>
          <a:xfrm>
            <a:off x="2938145" y="5537721"/>
            <a:ext cx="714375" cy="215444"/>
          </a:xfrm>
          <a:prstGeom prst="rect">
            <a:avLst/>
          </a:prstGeom>
          <a:noFill/>
          <a:ln w="28575">
            <a:solidFill>
              <a:srgbClr val="DA0C1F"/>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e-DE" sz="1400" dirty="0" err="1"/>
          </a:p>
        </p:txBody>
      </p:sp>
      <p:sp>
        <p:nvSpPr>
          <p:cNvPr id="16" name="Rechteck 15">
            <a:extLst>
              <a:ext uri="{FF2B5EF4-FFF2-40B4-BE49-F238E27FC236}">
                <a16:creationId xmlns:a16="http://schemas.microsoft.com/office/drawing/2014/main" id="{78DCF0A3-5052-E4D2-A01B-CD8176F17BFB}"/>
              </a:ext>
            </a:extLst>
          </p:cNvPr>
          <p:cNvSpPr/>
          <p:nvPr/>
        </p:nvSpPr>
        <p:spPr>
          <a:xfrm>
            <a:off x="9461817" y="5281369"/>
            <a:ext cx="1245335" cy="215444"/>
          </a:xfrm>
          <a:prstGeom prst="rect">
            <a:avLst/>
          </a:prstGeom>
          <a:noFill/>
          <a:ln w="28575">
            <a:solidFill>
              <a:srgbClr val="DA0C1F"/>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e-DE" sz="1400" dirty="0" err="1"/>
          </a:p>
        </p:txBody>
      </p:sp>
      <p:sp>
        <p:nvSpPr>
          <p:cNvPr id="17" name="Rechteck 16">
            <a:extLst>
              <a:ext uri="{FF2B5EF4-FFF2-40B4-BE49-F238E27FC236}">
                <a16:creationId xmlns:a16="http://schemas.microsoft.com/office/drawing/2014/main" id="{8FE38F76-5C97-3927-C5C6-EA82C6690B88}"/>
              </a:ext>
            </a:extLst>
          </p:cNvPr>
          <p:cNvSpPr/>
          <p:nvPr/>
        </p:nvSpPr>
        <p:spPr>
          <a:xfrm>
            <a:off x="7937817" y="5379720"/>
            <a:ext cx="1328103" cy="106932"/>
          </a:xfrm>
          <a:prstGeom prst="rect">
            <a:avLst/>
          </a:prstGeom>
          <a:noFill/>
          <a:ln w="28575">
            <a:solidFill>
              <a:srgbClr val="DA0C1F"/>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e-DE" sz="1400" dirty="0" err="1"/>
          </a:p>
        </p:txBody>
      </p:sp>
      <p:sp>
        <p:nvSpPr>
          <p:cNvPr id="18" name="Rechteck 17">
            <a:extLst>
              <a:ext uri="{FF2B5EF4-FFF2-40B4-BE49-F238E27FC236}">
                <a16:creationId xmlns:a16="http://schemas.microsoft.com/office/drawing/2014/main" id="{5642D0E6-920C-96E4-E177-E5FEE8082A77}"/>
              </a:ext>
            </a:extLst>
          </p:cNvPr>
          <p:cNvSpPr/>
          <p:nvPr/>
        </p:nvSpPr>
        <p:spPr>
          <a:xfrm>
            <a:off x="7937816" y="5273040"/>
            <a:ext cx="1378904" cy="106680"/>
          </a:xfrm>
          <a:prstGeom prst="rect">
            <a:avLst/>
          </a:prstGeom>
          <a:noFill/>
          <a:ln w="28575">
            <a:solidFill>
              <a:srgbClr val="FCCD22"/>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e-DE" sz="1400" dirty="0" err="1"/>
          </a:p>
        </p:txBody>
      </p:sp>
      <p:sp>
        <p:nvSpPr>
          <p:cNvPr id="19" name="Textfeld 18">
            <a:extLst>
              <a:ext uri="{FF2B5EF4-FFF2-40B4-BE49-F238E27FC236}">
                <a16:creationId xmlns:a16="http://schemas.microsoft.com/office/drawing/2014/main" id="{14C254E0-F9A5-9E03-FDC4-C5C3023C1ECE}"/>
              </a:ext>
            </a:extLst>
          </p:cNvPr>
          <p:cNvSpPr txBox="1"/>
          <p:nvPr/>
        </p:nvSpPr>
        <p:spPr>
          <a:xfrm>
            <a:off x="7404148" y="5730199"/>
            <a:ext cx="2639696" cy="215444"/>
          </a:xfrm>
          <a:prstGeom prst="rect">
            <a:avLst/>
          </a:prstGeom>
          <a:noFill/>
        </p:spPr>
        <p:txBody>
          <a:bodyPr wrap="square" lIns="0" tIns="0" rIns="0" bIns="0" rtlCol="0">
            <a:spAutoFit/>
          </a:bodyPr>
          <a:lstStyle/>
          <a:p>
            <a:pPr algn="l"/>
            <a:r>
              <a:rPr lang="de-DE" sz="1400" dirty="0">
                <a:solidFill>
                  <a:srgbClr val="DA0C1F"/>
                </a:solidFill>
              </a:rPr>
              <a:t>Umsetzung einzelner Fahrmodi</a:t>
            </a:r>
          </a:p>
        </p:txBody>
      </p:sp>
      <p:sp>
        <p:nvSpPr>
          <p:cNvPr id="20" name="Textfeld 19">
            <a:extLst>
              <a:ext uri="{FF2B5EF4-FFF2-40B4-BE49-F238E27FC236}">
                <a16:creationId xmlns:a16="http://schemas.microsoft.com/office/drawing/2014/main" id="{AD830843-B178-193F-C099-F94C7B742DF8}"/>
              </a:ext>
            </a:extLst>
          </p:cNvPr>
          <p:cNvSpPr txBox="1"/>
          <p:nvPr/>
        </p:nvSpPr>
        <p:spPr>
          <a:xfrm>
            <a:off x="7585124" y="4307553"/>
            <a:ext cx="2499360" cy="215444"/>
          </a:xfrm>
          <a:prstGeom prst="rect">
            <a:avLst/>
          </a:prstGeom>
          <a:noFill/>
        </p:spPr>
        <p:txBody>
          <a:bodyPr wrap="square" lIns="0" tIns="0" rIns="0" bIns="0" rtlCol="0">
            <a:spAutoFit/>
          </a:bodyPr>
          <a:lstStyle/>
          <a:p>
            <a:pPr algn="l"/>
            <a:r>
              <a:rPr lang="de-DE" sz="1400" dirty="0">
                <a:solidFill>
                  <a:srgbClr val="FCCD22"/>
                </a:solidFill>
              </a:rPr>
              <a:t>Bündelung der Fahrmodi</a:t>
            </a:r>
          </a:p>
        </p:txBody>
      </p:sp>
      <p:sp>
        <p:nvSpPr>
          <p:cNvPr id="21" name="Datumsplatzhalter 1">
            <a:extLst>
              <a:ext uri="{FF2B5EF4-FFF2-40B4-BE49-F238E27FC236}">
                <a16:creationId xmlns:a16="http://schemas.microsoft.com/office/drawing/2014/main" id="{063D16FC-8612-98FE-86FD-91C6345B56EC}"/>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22" name="Fußzeilenplatzhalter 2">
            <a:extLst>
              <a:ext uri="{FF2B5EF4-FFF2-40B4-BE49-F238E27FC236}">
                <a16:creationId xmlns:a16="http://schemas.microsoft.com/office/drawing/2014/main" id="{42F4E8CD-64B5-BAC9-5291-2CBB162DF7E0}"/>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Tree>
    <p:extLst>
      <p:ext uri="{BB962C8B-B14F-4D97-AF65-F5344CB8AC3E}">
        <p14:creationId xmlns:p14="http://schemas.microsoft.com/office/powerpoint/2010/main" val="1797796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6A0E23-7728-812D-FD12-5CDD03D2562C}"/>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58B6BD7-CFEF-9501-FCCE-B56D3004F6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9" name="think-cell data - do not delete" hidden="1">
                        <a:extLst>
                          <a:ext uri="{FF2B5EF4-FFF2-40B4-BE49-F238E27FC236}">
                            <a16:creationId xmlns:a16="http://schemas.microsoft.com/office/drawing/2014/main" id="{7B84BC33-2AA6-57F9-7B53-684C33BE07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0C33D401-9817-0866-91EB-A4E1E2876E24}"/>
              </a:ext>
            </a:extLst>
          </p:cNvPr>
          <p:cNvSpPr>
            <a:spLocks noGrp="1"/>
          </p:cNvSpPr>
          <p:nvPr>
            <p:ph type="sldNum" sz="quarter" idx="12"/>
          </p:nvPr>
        </p:nvSpPr>
        <p:spPr/>
        <p:txBody>
          <a:bodyPr/>
          <a:lstStyle/>
          <a:p>
            <a:fld id="{53C98C43-8B83-4748-BA0D-B0C90A16569F}" type="slidenum">
              <a:rPr lang="en-US" noProof="0" smtClean="0"/>
              <a:pPr/>
              <a:t>9</a:t>
            </a:fld>
            <a:endParaRPr lang="en-US" noProof="0"/>
          </a:p>
        </p:txBody>
      </p:sp>
      <p:sp>
        <p:nvSpPr>
          <p:cNvPr id="6" name="Titel 5">
            <a:extLst>
              <a:ext uri="{FF2B5EF4-FFF2-40B4-BE49-F238E27FC236}">
                <a16:creationId xmlns:a16="http://schemas.microsoft.com/office/drawing/2014/main" id="{1B661C24-0CA2-160C-2C0E-42AFA5D84732}"/>
              </a:ext>
            </a:extLst>
          </p:cNvPr>
          <p:cNvSpPr>
            <a:spLocks noGrp="1"/>
          </p:cNvSpPr>
          <p:nvPr>
            <p:ph type="title"/>
          </p:nvPr>
        </p:nvSpPr>
        <p:spPr/>
        <p:txBody>
          <a:bodyPr vert="horz"/>
          <a:lstStyle/>
          <a:p>
            <a:r>
              <a:rPr lang="de-DE" dirty="0"/>
              <a:t>Konzeption des Programmes</a:t>
            </a:r>
          </a:p>
        </p:txBody>
      </p:sp>
      <p:sp>
        <p:nvSpPr>
          <p:cNvPr id="7" name="Textplatzhalter 6">
            <a:extLst>
              <a:ext uri="{FF2B5EF4-FFF2-40B4-BE49-F238E27FC236}">
                <a16:creationId xmlns:a16="http://schemas.microsoft.com/office/drawing/2014/main" id="{C1CE9DEE-78BA-F772-4904-8280D882E5C3}"/>
              </a:ext>
            </a:extLst>
          </p:cNvPr>
          <p:cNvSpPr>
            <a:spLocks noGrp="1"/>
          </p:cNvSpPr>
          <p:nvPr>
            <p:ph type="body" sz="quarter" idx="15"/>
          </p:nvPr>
        </p:nvSpPr>
        <p:spPr/>
        <p:txBody>
          <a:bodyPr/>
          <a:lstStyle/>
          <a:p>
            <a:r>
              <a:rPr lang="de-DE" dirty="0"/>
              <a:t>Ablaufdiagramm Fahrmodus 5, 6, 7*</a:t>
            </a:r>
          </a:p>
        </p:txBody>
      </p:sp>
      <p:sp>
        <p:nvSpPr>
          <p:cNvPr id="14" name="Textfeld 13">
            <a:extLst>
              <a:ext uri="{FF2B5EF4-FFF2-40B4-BE49-F238E27FC236}">
                <a16:creationId xmlns:a16="http://schemas.microsoft.com/office/drawing/2014/main" id="{F9E763A1-42C3-A02A-CD24-30E1D85BC2EE}"/>
              </a:ext>
            </a:extLst>
          </p:cNvPr>
          <p:cNvSpPr txBox="1"/>
          <p:nvPr/>
        </p:nvSpPr>
        <p:spPr>
          <a:xfrm>
            <a:off x="404848" y="6364437"/>
            <a:ext cx="3696648" cy="215444"/>
          </a:xfrm>
          <a:prstGeom prst="rect">
            <a:avLst/>
          </a:prstGeom>
          <a:noFill/>
        </p:spPr>
        <p:txBody>
          <a:bodyPr wrap="square" lIns="0" tIns="0" rIns="0" bIns="0" rtlCol="0">
            <a:spAutoFit/>
          </a:bodyPr>
          <a:lstStyle/>
          <a:p>
            <a:pPr algn="l"/>
            <a:r>
              <a:rPr lang="de-DE" sz="1400" i="1" dirty="0">
                <a:solidFill>
                  <a:schemeClr val="tx2"/>
                </a:solidFill>
              </a:rPr>
              <a:t>* Erstellt mit </a:t>
            </a:r>
            <a:r>
              <a:rPr lang="de-DE" sz="1400" i="1" dirty="0" err="1">
                <a:solidFill>
                  <a:schemeClr val="tx2"/>
                </a:solidFill>
              </a:rPr>
              <a:t>Mermaid</a:t>
            </a:r>
            <a:endParaRPr lang="de-DE" sz="1400" i="1" dirty="0">
              <a:solidFill>
                <a:schemeClr val="tx2"/>
              </a:solidFill>
            </a:endParaRPr>
          </a:p>
        </p:txBody>
      </p:sp>
      <p:sp>
        <p:nvSpPr>
          <p:cNvPr id="21" name="Datumsplatzhalter 1">
            <a:extLst>
              <a:ext uri="{FF2B5EF4-FFF2-40B4-BE49-F238E27FC236}">
                <a16:creationId xmlns:a16="http://schemas.microsoft.com/office/drawing/2014/main" id="{65567AFD-B8FC-662D-9003-96803525F6A2}"/>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22" name="Fußzeilenplatzhalter 2">
            <a:extLst>
              <a:ext uri="{FF2B5EF4-FFF2-40B4-BE49-F238E27FC236}">
                <a16:creationId xmlns:a16="http://schemas.microsoft.com/office/drawing/2014/main" id="{4A5D81DD-217B-22D7-07C0-08F298E1577C}"/>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pic>
        <p:nvPicPr>
          <p:cNvPr id="23" name="Grafik 22" descr="Ein Bild, das Text, Diagramm, Plan, Screenshot enthält.&#10;&#10;Automatisch generierte Beschreibung">
            <a:extLst>
              <a:ext uri="{FF2B5EF4-FFF2-40B4-BE49-F238E27FC236}">
                <a16:creationId xmlns:a16="http://schemas.microsoft.com/office/drawing/2014/main" id="{745FFAEB-A480-104E-2796-21CC71F6E97D}"/>
              </a:ext>
            </a:extLst>
          </p:cNvPr>
          <p:cNvPicPr>
            <a:picLocks noChangeAspect="1"/>
          </p:cNvPicPr>
          <p:nvPr/>
        </p:nvPicPr>
        <p:blipFill>
          <a:blip r:embed="rId5"/>
          <a:stretch>
            <a:fillRect/>
          </a:stretch>
        </p:blipFill>
        <p:spPr>
          <a:xfrm>
            <a:off x="5601202" y="270959"/>
            <a:ext cx="4475338" cy="6201200"/>
          </a:xfrm>
          <a:prstGeom prst="rect">
            <a:avLst/>
          </a:prstGeom>
        </p:spPr>
      </p:pic>
    </p:spTree>
    <p:extLst>
      <p:ext uri="{BB962C8B-B14F-4D97-AF65-F5344CB8AC3E}">
        <p14:creationId xmlns:p14="http://schemas.microsoft.com/office/powerpoint/2010/main" val="36816913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olkswagen Group Template">
  <a:themeElements>
    <a:clrScheme name="Volkswagen Group 2023">
      <a:dk1>
        <a:srgbClr val="000000"/>
      </a:dk1>
      <a:lt1>
        <a:srgbClr val="FFFFFF"/>
      </a:lt1>
      <a:dk2>
        <a:srgbClr val="002733"/>
      </a:dk2>
      <a:lt2>
        <a:srgbClr val="FFFFFF"/>
      </a:lt2>
      <a:accent1>
        <a:srgbClr val="002733"/>
      </a:accent1>
      <a:accent2>
        <a:srgbClr val="008C82"/>
      </a:accent2>
      <a:accent3>
        <a:srgbClr val="99D1CD"/>
      </a:accent3>
      <a:accent4>
        <a:srgbClr val="809399"/>
      </a:accent4>
      <a:accent5>
        <a:srgbClr val="CCD3D6"/>
      </a:accent5>
      <a:accent6>
        <a:srgbClr val="4C6870"/>
      </a:accent6>
      <a:hlink>
        <a:srgbClr val="008C82"/>
      </a:hlink>
      <a:folHlink>
        <a:srgbClr val="008C82"/>
      </a:folHlink>
    </a:clrScheme>
    <a:fontScheme name="Volkswagen Group Fonts">
      <a:majorFont>
        <a:latin typeface="The Group HEAD Light"/>
        <a:ea typeface=""/>
        <a:cs typeface=""/>
      </a:majorFont>
      <a:minorFont>
        <a:latin typeface="The Group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180000" tIns="180000" rIns="180000" bIns="180000" rtlCol="0" anchor="ctr"/>
      <a:lstStyle>
        <a:defPPr algn="ctr">
          <a:defRPr sz="1400"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noFill/>
        <a:ln w="9525">
          <a:solidFill>
            <a:schemeClr val="accent2"/>
          </a:solidFill>
          <a:headEnd type="none" w="med" len="sm"/>
          <a:tailEnd type="none" w="med" len="sm"/>
        </a:ln>
      </a:spPr>
      <a:bodyPr/>
      <a:lstStyle/>
      <a:style>
        <a:lnRef idx="2">
          <a:schemeClr val="accent1">
            <a:shade val="15000"/>
          </a:schemeClr>
        </a:lnRef>
        <a:fillRef idx="1">
          <a:schemeClr val="accent1"/>
        </a:fillRef>
        <a:effectRef idx="0">
          <a:schemeClr val="accent1"/>
        </a:effectRef>
        <a:fontRef idx="minor">
          <a:schemeClr val="lt1"/>
        </a:fontRef>
      </a:style>
    </a:lnDef>
    <a:txDef>
      <a:spPr>
        <a:noFill/>
      </a:spPr>
      <a:bodyPr wrap="square" lIns="0" tIns="0" rIns="0" bIns="0" rtlCol="0">
        <a:spAutoFit/>
      </a:bodyPr>
      <a:lstStyle>
        <a:defPPr algn="l">
          <a:defRPr sz="1400" dirty="0" err="1" smtClean="0">
            <a:solidFill>
              <a:schemeClr val="tx2"/>
            </a:solidFill>
          </a:defRPr>
        </a:defPPr>
      </a:lstStyle>
    </a:txDef>
  </a:objectDefaults>
  <a:extraClrSchemeLst/>
  <a:custClrLst>
    <a:custClr name="Deep Space Blue">
      <a:srgbClr val="002733"/>
    </a:custClr>
    <a:custClr name="Deep Space Blue 90%">
      <a:srgbClr val="193D47"/>
    </a:custClr>
    <a:custClr name="Deep Space Blue 60%">
      <a:srgbClr val="667D85"/>
    </a:custClr>
    <a:custClr name="Deep Space Blue 40%">
      <a:srgbClr val="99A9AD"/>
    </a:custClr>
    <a:custClr name="Deep Space Blue 20%">
      <a:srgbClr val="CCD4D6"/>
    </a:custClr>
    <a:custClr name="Deep Space Blue 10%">
      <a:srgbClr val="E5E9EB"/>
    </a:custClr>
    <a:custClr name="Blank">
      <a:srgbClr val="FFFFFF"/>
    </a:custClr>
    <a:custClr name="Blank">
      <a:srgbClr val="FFFFFF"/>
    </a:custClr>
    <a:custClr name="Blank">
      <a:srgbClr val="FFFFFF"/>
    </a:custClr>
    <a:custClr name="Blank">
      <a:srgbClr val="FFFFFF"/>
    </a:custClr>
    <a:custClr name="Vivid Green">
      <a:srgbClr val="008C82"/>
    </a:custClr>
    <a:custClr name="Vivid Green 80%">
      <a:srgbClr val="33A39B"/>
    </a:custClr>
    <a:custClr name="Vivid Green 60%">
      <a:srgbClr val="66BAB4"/>
    </a:custClr>
    <a:custClr name="Vivid Green 40%">
      <a:srgbClr val="99D1CD"/>
    </a:custClr>
    <a:custClr name="Vivid Green 20%">
      <a:srgbClr val="CCE8E6"/>
    </a:custClr>
    <a:custClr name="Vivid Green 10%">
      <a:srgbClr val="E5F3F2"/>
    </a:custClr>
    <a:custClr name="Blank">
      <a:srgbClr val="FFFFFF"/>
    </a:custClr>
    <a:custClr name="Blank">
      <a:srgbClr val="FFFFFF"/>
    </a:custClr>
    <a:custClr name="Blank">
      <a:srgbClr val="FFFFFF"/>
    </a:custClr>
    <a:custClr name="Blank">
      <a:srgbClr val="FFFFFF"/>
    </a:custClr>
    <a:custClr name="Electric Neon">
      <a:srgbClr val="C2FE06"/>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Coral">
      <a:srgbClr val="E67364"/>
    </a:custClr>
    <a:custClr name="Orange">
      <a:srgbClr val="FAAA3C"/>
    </a:custClr>
    <a:custClr name="Beige">
      <a:srgbClr val="FAD2AA"/>
    </a:custClr>
    <a:custClr name="Blue">
      <a:srgbClr val="8CBEE6"/>
    </a:custClr>
    <a:custClr name="Violet">
      <a:srgbClr val="C882BE"/>
    </a:custClr>
    <a:custClr name="Lavender">
      <a:srgbClr val="DCCDF0"/>
    </a:custClr>
    <a:custClr name="Blank">
      <a:srgbClr val="FFFFFF"/>
    </a:custClr>
    <a:custClr name="Traffic Light Red">
      <a:srgbClr val="DA0C1F"/>
    </a:custClr>
    <a:custClr name="Traffic Light Yellow">
      <a:srgbClr val="FCCD22"/>
    </a:custClr>
    <a:custClr name="Traffic Light Green">
      <a:srgbClr val="64A844"/>
    </a:custClr>
  </a:custClrLst>
  <a:extLst>
    <a:ext uri="{05A4C25C-085E-4340-85A3-A5531E510DB2}">
      <thm15:themeFamily xmlns:thm15="http://schemas.microsoft.com/office/thememl/2012/main" name="20230727_VWG_PPTTemplate.potx" id="{05E708AD-06CC-4BF9-9E95-5D4E449228B9}" vid="{05D48D56-FC27-4F4C-AA26-B9FB2902EAB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b930c0d3-ad7c-4118-80fa-f26975bc6a90">
      <Terms xmlns="http://schemas.microsoft.com/office/infopath/2007/PartnerControls"/>
    </lcf76f155ced4ddcb4097134ff3c332f>
    <TaxCatchAll xmlns="eee81c87-dba0-445d-8d27-e7c1c1ff001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950B391E1EC0D4C99EF5B2A104DE383" ma:contentTypeVersion="17" ma:contentTypeDescription="Create a new document." ma:contentTypeScope="" ma:versionID="8393e4dd65d374cfe61890b9e677bda1">
  <xsd:schema xmlns:xsd="http://www.w3.org/2001/XMLSchema" xmlns:xs="http://www.w3.org/2001/XMLSchema" xmlns:p="http://schemas.microsoft.com/office/2006/metadata/properties" xmlns:ns2="b930c0d3-ad7c-4118-80fa-f26975bc6a90" xmlns:ns3="eee81c87-dba0-445d-8d27-e7c1c1ff0015" targetNamespace="http://schemas.microsoft.com/office/2006/metadata/properties" ma:root="true" ma:fieldsID="04418f42b6f430f265ddd3ba73ba17f5" ns2:_="" ns3:_="">
    <xsd:import namespace="b930c0d3-ad7c-4118-80fa-f26975bc6a90"/>
    <xsd:import namespace="eee81c87-dba0-445d-8d27-e7c1c1ff001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2:MediaServiceOCR" minOccurs="0"/>
                <xsd:element ref="ns2:lcf76f155ced4ddcb4097134ff3c332f" minOccurs="0"/>
                <xsd:element ref="ns3:TaxCatchAll" minOccurs="0"/>
                <xsd:element ref="ns2:MediaServiceAutoKeyPoints" minOccurs="0"/>
                <xsd:element ref="ns2:MediaServiceKeyPoints" minOccurs="0"/>
                <xsd:element ref="ns2:MediaServiceLoca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30c0d3-ad7c-4118-80fa-f26975bc6a9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OCR" ma:index="17" nillable="true" ma:displayName="Extracted Text" ma:internalName="MediaServiceOCR"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60299b0d-7c8d-483c-881b-d84e0250e4ec" ma:termSetId="09814cd3-568e-fe90-9814-8d621ff8fb84" ma:anchorId="fba54fb3-c3e1-fe81-a776-ca4b69148c4d" ma:open="true" ma:isKeyword="false">
      <xsd:complexType>
        <xsd:sequence>
          <xsd:element ref="pc:Terms" minOccurs="0" maxOccurs="1"/>
        </xsd:sequence>
      </xsd:complex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ee81c87-dba0-445d-8d27-e7c1c1ff0015"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bf9656fb-08f2-4985-8188-ee0e5b8508c6}" ma:internalName="TaxCatchAll" ma:showField="CatchAllData" ma:web="eee81c87-dba0-445d-8d27-e7c1c1ff001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48D6C96-0588-4161-ADF7-DDF0B540F0EC}">
  <ds:schemaRefs>
    <ds:schemaRef ds:uri="http://schemas.microsoft.com/office/2006/metadata/properties"/>
    <ds:schemaRef ds:uri="http://schemas.microsoft.com/office/infopath/2007/PartnerControls"/>
    <ds:schemaRef ds:uri="b930c0d3-ad7c-4118-80fa-f26975bc6a90"/>
    <ds:schemaRef ds:uri="eee81c87-dba0-445d-8d27-e7c1c1ff0015"/>
  </ds:schemaRefs>
</ds:datastoreItem>
</file>

<file path=customXml/itemProps2.xml><?xml version="1.0" encoding="utf-8"?>
<ds:datastoreItem xmlns:ds="http://schemas.openxmlformats.org/officeDocument/2006/customXml" ds:itemID="{AF9E8F22-A635-43FD-96A3-D0DE94292365}">
  <ds:schemaRefs>
    <ds:schemaRef ds:uri="http://schemas.microsoft.com/sharepoint/v3/contenttype/forms"/>
  </ds:schemaRefs>
</ds:datastoreItem>
</file>

<file path=customXml/itemProps3.xml><?xml version="1.0" encoding="utf-8"?>
<ds:datastoreItem xmlns:ds="http://schemas.openxmlformats.org/officeDocument/2006/customXml" ds:itemID="{8EEE316A-F9CB-4555-9582-22892B2FA9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930c0d3-ad7c-4118-80fa-f26975bc6a90"/>
    <ds:schemaRef ds:uri="eee81c87-dba0-445d-8d27-e7c1c1ff00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b1c9b508-7c6e-42bd-bedf-808292653d6c}" enabled="1" method="Standard" siteId="{2882be50-2012-4d88-ac86-544124e120c8}" contentBits="3" removed="0"/>
</clbl:labelList>
</file>

<file path=docProps/app.xml><?xml version="1.0" encoding="utf-8"?>
<Properties xmlns="http://schemas.openxmlformats.org/officeDocument/2006/extended-properties" xmlns:vt="http://schemas.openxmlformats.org/officeDocument/2006/docPropsVTypes">
  <Template>blank</Template>
  <TotalTime>0</TotalTime>
  <Words>500</Words>
  <Application>Microsoft Office PowerPoint</Application>
  <PresentationFormat>Breitbild</PresentationFormat>
  <Paragraphs>138</Paragraphs>
  <Slides>16</Slides>
  <Notes>0</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16</vt:i4>
      </vt:variant>
    </vt:vector>
  </HeadingPairs>
  <TitlesOfParts>
    <vt:vector size="25" baseType="lpstr">
      <vt:lpstr>Arial</vt:lpstr>
      <vt:lpstr>Calibri</vt:lpstr>
      <vt:lpstr>Cambria Math</vt:lpstr>
      <vt:lpstr>Symbol</vt:lpstr>
      <vt:lpstr>The Group HEAD Light</vt:lpstr>
      <vt:lpstr>The Group TEXT</vt:lpstr>
      <vt:lpstr>Wingdings</vt:lpstr>
      <vt:lpstr>Volkswagen Group Template</vt:lpstr>
      <vt:lpstr>think-cell Folie</vt:lpstr>
      <vt:lpstr>Camp2Code Projektphase 1  Ergebnispräsentation</vt:lpstr>
      <vt:lpstr>Agenda</vt:lpstr>
      <vt:lpstr>PowerPoint-Präsentation</vt:lpstr>
      <vt:lpstr>Projektziele</vt:lpstr>
      <vt:lpstr>PowerPoint-Präsentation</vt:lpstr>
      <vt:lpstr>Konzeption des Programmes</vt:lpstr>
      <vt:lpstr>Konzeption des Programmes</vt:lpstr>
      <vt:lpstr>Konzeption des Programmes</vt:lpstr>
      <vt:lpstr>Konzeption des Programmes</vt:lpstr>
      <vt:lpstr>Konzeption des Programmes</vt:lpstr>
      <vt:lpstr>PowerPoint-Präsentation</vt:lpstr>
      <vt:lpstr>Benutzerinterface</vt:lpstr>
      <vt:lpstr>PowerPoint-Präsentation</vt:lpstr>
      <vt:lpstr>Vorgehensweise</vt:lpstr>
      <vt:lpstr>PowerPoint-Präsentation</vt:lpstr>
      <vt:lpstr>Vorgehensweise</vt:lpstr>
    </vt:vector>
  </TitlesOfParts>
  <Manager/>
  <Company>Volkswagen Grou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Doering, Floriane Annalena (K-TV/1)</dc:creator>
  <cp:keywords/>
  <dc:description/>
  <cp:lastModifiedBy>Kary, Alexander (EIHD/2)</cp:lastModifiedBy>
  <cp:revision>2</cp:revision>
  <dcterms:created xsi:type="dcterms:W3CDTF">2025-01-15T10:42:17Z</dcterms:created>
  <dcterms:modified xsi:type="dcterms:W3CDTF">2025-01-17T10:56:2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50B391E1EC0D4C99EF5B2A104DE383</vt:lpwstr>
  </property>
  <property fmtid="{D5CDD505-2E9C-101B-9397-08002B2CF9AE}" pid="3" name="ClassificationContentMarkingFooterLocations">
    <vt:lpwstr>Volkswagen Group Template:19</vt:lpwstr>
  </property>
  <property fmtid="{D5CDD505-2E9C-101B-9397-08002B2CF9AE}" pid="4" name="ClassificationContentMarkingFooterText">
    <vt:lpwstr>INTERNAL</vt:lpwstr>
  </property>
</Properties>
</file>